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5.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notesSlides/notesSlide8.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837" r:id="rId4"/>
  </p:sldMasterIdLst>
  <p:notesMasterIdLst>
    <p:notesMasterId r:id="rId16"/>
  </p:notesMasterIdLst>
  <p:sldIdLst>
    <p:sldId id="2134805439" r:id="rId5"/>
    <p:sldId id="398" r:id="rId6"/>
    <p:sldId id="2134805398" r:id="rId7"/>
    <p:sldId id="2134805389" r:id="rId8"/>
    <p:sldId id="2134805437" r:id="rId9"/>
    <p:sldId id="2134805392" r:id="rId10"/>
    <p:sldId id="5653" r:id="rId11"/>
    <p:sldId id="323" r:id="rId12"/>
    <p:sldId id="451" r:id="rId13"/>
    <p:sldId id="403" r:id="rId14"/>
    <p:sldId id="374" r:id="rId15"/>
  </p:sldIdLst>
  <p:sldSz cx="12192000" cy="6858000"/>
  <p:notesSz cx="6797675" cy="9926638"/>
  <p:custDataLst>
    <p:tags r:id="rId1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guide id="3" orient="horz" pos="410">
          <p15:clr>
            <a:srgbClr val="A4A3A4"/>
          </p15:clr>
        </p15:guide>
        <p15:guide id="4" orient="horz" pos="3774">
          <p15:clr>
            <a:srgbClr val="A4A3A4"/>
          </p15:clr>
        </p15:guide>
        <p15:guide id="5" orient="horz" pos="1111">
          <p15:clr>
            <a:srgbClr val="A4A3A4"/>
          </p15:clr>
        </p15:guide>
        <p15:guide id="6" orient="horz" pos="387">
          <p15:clr>
            <a:srgbClr val="A4A3A4"/>
          </p15:clr>
        </p15:guide>
        <p15:guide id="7" orient="horz" pos="2386">
          <p15:clr>
            <a:srgbClr val="A4A3A4"/>
          </p15:clr>
        </p15:guide>
        <p15:guide id="8" orient="horz" pos="2501">
          <p15:clr>
            <a:srgbClr val="A4A3A4"/>
          </p15:clr>
        </p15:guide>
        <p15:guide id="9" orient="horz" pos="4163">
          <p15:clr>
            <a:srgbClr val="A4A3A4"/>
          </p15:clr>
        </p15:guide>
        <p15:guide id="10" pos="307">
          <p15:clr>
            <a:srgbClr val="A4A3A4"/>
          </p15:clr>
        </p15:guide>
        <p15:guide id="11" pos="7371">
          <p15:clr>
            <a:srgbClr val="A4A3A4"/>
          </p15:clr>
        </p15:guide>
        <p15:guide id="12" pos="2541">
          <p15:clr>
            <a:srgbClr val="A4A3A4"/>
          </p15:clr>
        </p15:guide>
        <p15:guide id="13" pos="2721">
          <p15:clr>
            <a:srgbClr val="A4A3A4"/>
          </p15:clr>
        </p15:guide>
        <p15:guide id="14" pos="3749">
          <p15:clr>
            <a:srgbClr val="A4A3A4"/>
          </p15:clr>
        </p15:guide>
        <p15:guide id="15" pos="3930">
          <p15:clr>
            <a:srgbClr val="A4A3A4"/>
          </p15:clr>
        </p15:guide>
        <p15:guide id="16" pos="4957">
          <p15:clr>
            <a:srgbClr val="A4A3A4"/>
          </p15:clr>
        </p15:guide>
        <p15:guide id="17" pos="5138">
          <p15:clr>
            <a:srgbClr val="A4A3A4"/>
          </p15:clr>
        </p15:guide>
        <p15:guide id="18" pos="1937">
          <p15:clr>
            <a:srgbClr val="A4A3A4"/>
          </p15:clr>
        </p15:guide>
        <p15:guide id="19" pos="2137">
          <p15:clr>
            <a:srgbClr val="A4A3A4"/>
          </p15:clr>
        </p15:guide>
        <p15:guide id="20" pos="5560">
          <p15:clr>
            <a:srgbClr val="A4A3A4"/>
          </p15:clr>
        </p15:guide>
        <p15:guide id="21" pos="5742">
          <p15:clr>
            <a:srgbClr val="A4A3A4"/>
          </p15:clr>
        </p15:guide>
      </p15:sldGuideLst>
    </p:ext>
    <p:ext uri="{2D200454-40CA-4A62-9FC3-DE9A4176ACB9}">
      <p15:notesGuideLst xmlns:p15="http://schemas.microsoft.com/office/powerpoint/2012/main">
        <p15:guide id="1" orient="horz" pos="3127">
          <p15:clr>
            <a:srgbClr val="A4A3A4"/>
          </p15:clr>
        </p15:guide>
        <p15:guide id="2" pos="214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Author" initials="A" lastIdx="1"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p:extLst>
    <p:ext uri="{E76CE94A-603C-4142-B9EB-6D1370010A27}">
      <p14:discardImageEditData xmlns:p14="http://schemas.microsoft.com/office/powerpoint/2010/main" val="1"/>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890" autoAdjust="0"/>
    <p:restoredTop sz="92058" autoAdjust="0"/>
  </p:normalViewPr>
  <p:slideViewPr>
    <p:cSldViewPr snapToGrid="0" showGuides="1">
      <p:cViewPr varScale="1">
        <p:scale>
          <a:sx n="67" d="100"/>
          <a:sy n="67" d="100"/>
        </p:scale>
        <p:origin x="648" y="44"/>
      </p:cViewPr>
      <p:guideLst>
        <p:guide orient="horz" pos="2160"/>
        <p:guide pos="3840"/>
        <p:guide orient="horz" pos="410"/>
        <p:guide orient="horz" pos="3774"/>
        <p:guide orient="horz" pos="1111"/>
        <p:guide orient="horz" pos="387"/>
        <p:guide orient="horz" pos="2386"/>
        <p:guide orient="horz" pos="2501"/>
        <p:guide orient="horz" pos="4163"/>
        <p:guide pos="307"/>
        <p:guide pos="7371"/>
        <p:guide pos="2541"/>
        <p:guide pos="2721"/>
        <p:guide pos="3749"/>
        <p:guide pos="3930"/>
        <p:guide pos="4957"/>
        <p:guide pos="5138"/>
        <p:guide pos="1937"/>
        <p:guide pos="2137"/>
        <p:guide pos="5560"/>
        <p:guide pos="5742"/>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notesViewPr>
    <p:cSldViewPr snapToGrid="0" showGuides="1">
      <p:cViewPr varScale="1">
        <p:scale>
          <a:sx n="85" d="100"/>
          <a:sy n="85" d="100"/>
        </p:scale>
        <p:origin x="-3750" y="-96"/>
      </p:cViewPr>
      <p:guideLst>
        <p:guide orient="horz" pos="3127"/>
        <p:guide pos="2141"/>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commentAuthors" Target="commentAuthors.xml"/><Relationship Id="rId3" Type="http://schemas.openxmlformats.org/officeDocument/2006/relationships/customXml" Target="../customXml/item3.xml"/><Relationship Id="rId21"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notesMaster" Target="notesMasters/notesMaster1.xml"/><Relationship Id="rId20"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slide" Target="slides/slide11.xml"/><Relationship Id="rId23" Type="http://schemas.microsoft.com/office/2016/11/relationships/changesInfo" Target="changesInfos/changesInfo1.xml"/><Relationship Id="rId10" Type="http://schemas.openxmlformats.org/officeDocument/2006/relationships/slide" Target="slides/slide6.xml"/><Relationship Id="rId19"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LAJH (Lars Johansen)" userId="e48a59ec-d101-4cca-89fb-bdf02f942dcf" providerId="ADAL" clId="{A43C1393-A216-4004-B87E-AC6922414B2A}"/>
    <pc:docChg chg="undo custSel addSld delSld modSld">
      <pc:chgData name="LAJH (Lars Johansen)" userId="e48a59ec-d101-4cca-89fb-bdf02f942dcf" providerId="ADAL" clId="{A43C1393-A216-4004-B87E-AC6922414B2A}" dt="2021-10-11T18:03:19.499" v="9" actId="47"/>
      <pc:docMkLst>
        <pc:docMk/>
      </pc:docMkLst>
      <pc:sldChg chg="add del">
        <pc:chgData name="LAJH (Lars Johansen)" userId="e48a59ec-d101-4cca-89fb-bdf02f942dcf" providerId="ADAL" clId="{A43C1393-A216-4004-B87E-AC6922414B2A}" dt="2021-10-11T18:00:25.432" v="1" actId="47"/>
        <pc:sldMkLst>
          <pc:docMk/>
          <pc:sldMk cId="1896451649" sldId="374"/>
        </pc:sldMkLst>
      </pc:sldChg>
      <pc:sldChg chg="del">
        <pc:chgData name="LAJH (Lars Johansen)" userId="e48a59ec-d101-4cca-89fb-bdf02f942dcf" providerId="ADAL" clId="{A43C1393-A216-4004-B87E-AC6922414B2A}" dt="2021-10-11T18:01:47.642" v="7" actId="47"/>
        <pc:sldMkLst>
          <pc:docMk/>
          <pc:sldMk cId="3884585281" sldId="395"/>
        </pc:sldMkLst>
      </pc:sldChg>
      <pc:sldChg chg="del">
        <pc:chgData name="LAJH (Lars Johansen)" userId="e48a59ec-d101-4cca-89fb-bdf02f942dcf" providerId="ADAL" clId="{A43C1393-A216-4004-B87E-AC6922414B2A}" dt="2021-10-11T18:02:07.450" v="8" actId="47"/>
        <pc:sldMkLst>
          <pc:docMk/>
          <pc:sldMk cId="3254732129" sldId="408"/>
        </pc:sldMkLst>
      </pc:sldChg>
      <pc:sldChg chg="del">
        <pc:chgData name="LAJH (Lars Johansen)" userId="e48a59ec-d101-4cca-89fb-bdf02f942dcf" providerId="ADAL" clId="{A43C1393-A216-4004-B87E-AC6922414B2A}" dt="2021-10-11T18:02:07.450" v="8" actId="47"/>
        <pc:sldMkLst>
          <pc:docMk/>
          <pc:sldMk cId="1864752554" sldId="409"/>
        </pc:sldMkLst>
      </pc:sldChg>
      <pc:sldChg chg="modSp del mod">
        <pc:chgData name="LAJH (Lars Johansen)" userId="e48a59ec-d101-4cca-89fb-bdf02f942dcf" providerId="ADAL" clId="{A43C1393-A216-4004-B87E-AC6922414B2A}" dt="2021-10-11T18:02:07.450" v="8" actId="47"/>
        <pc:sldMkLst>
          <pc:docMk/>
          <pc:sldMk cId="3043204166" sldId="411"/>
        </pc:sldMkLst>
        <pc:picChg chg="mod">
          <ac:chgData name="LAJH (Lars Johansen)" userId="e48a59ec-d101-4cca-89fb-bdf02f942dcf" providerId="ADAL" clId="{A43C1393-A216-4004-B87E-AC6922414B2A}" dt="2021-10-11T18:01:21.727" v="5" actId="14100"/>
          <ac:picMkLst>
            <pc:docMk/>
            <pc:sldMk cId="3043204166" sldId="411"/>
            <ac:picMk id="5" creationId="{8CB79526-AF2C-4787-97EE-7C9ABCFA1772}"/>
          </ac:picMkLst>
        </pc:picChg>
        <pc:picChg chg="mod">
          <ac:chgData name="LAJH (Lars Johansen)" userId="e48a59ec-d101-4cca-89fb-bdf02f942dcf" providerId="ADAL" clId="{A43C1393-A216-4004-B87E-AC6922414B2A}" dt="2021-10-11T18:01:30.090" v="6" actId="14100"/>
          <ac:picMkLst>
            <pc:docMk/>
            <pc:sldMk cId="3043204166" sldId="411"/>
            <ac:picMk id="6" creationId="{328ADED4-D746-4E77-BA2E-C10F71B1C452}"/>
          </ac:picMkLst>
        </pc:picChg>
      </pc:sldChg>
      <pc:sldChg chg="del">
        <pc:chgData name="LAJH (Lars Johansen)" userId="e48a59ec-d101-4cca-89fb-bdf02f942dcf" providerId="ADAL" clId="{A43C1393-A216-4004-B87E-AC6922414B2A}" dt="2021-10-11T18:02:07.450" v="8" actId="47"/>
        <pc:sldMkLst>
          <pc:docMk/>
          <pc:sldMk cId="608842024" sldId="417"/>
        </pc:sldMkLst>
      </pc:sldChg>
      <pc:sldChg chg="del">
        <pc:chgData name="LAJH (Lars Johansen)" userId="e48a59ec-d101-4cca-89fb-bdf02f942dcf" providerId="ADAL" clId="{A43C1393-A216-4004-B87E-AC6922414B2A}" dt="2021-10-11T18:02:07.450" v="8" actId="47"/>
        <pc:sldMkLst>
          <pc:docMk/>
          <pc:sldMk cId="2053145108" sldId="422"/>
        </pc:sldMkLst>
      </pc:sldChg>
      <pc:sldChg chg="del">
        <pc:chgData name="LAJH (Lars Johansen)" userId="e48a59ec-d101-4cca-89fb-bdf02f942dcf" providerId="ADAL" clId="{A43C1393-A216-4004-B87E-AC6922414B2A}" dt="2021-10-11T18:02:07.450" v="8" actId="47"/>
        <pc:sldMkLst>
          <pc:docMk/>
          <pc:sldMk cId="2933669803" sldId="452"/>
        </pc:sldMkLst>
      </pc:sldChg>
      <pc:sldChg chg="add del">
        <pc:chgData name="LAJH (Lars Johansen)" userId="e48a59ec-d101-4cca-89fb-bdf02f942dcf" providerId="ADAL" clId="{A43C1393-A216-4004-B87E-AC6922414B2A}" dt="2021-10-11T18:00:29.605" v="2" actId="47"/>
        <pc:sldMkLst>
          <pc:docMk/>
          <pc:sldMk cId="0" sldId="473"/>
        </pc:sldMkLst>
      </pc:sldChg>
      <pc:sldChg chg="add del">
        <pc:chgData name="LAJH (Lars Johansen)" userId="e48a59ec-d101-4cca-89fb-bdf02f942dcf" providerId="ADAL" clId="{A43C1393-A216-4004-B87E-AC6922414B2A}" dt="2021-10-11T18:00:29.605" v="2" actId="47"/>
        <pc:sldMkLst>
          <pc:docMk/>
          <pc:sldMk cId="0" sldId="536"/>
        </pc:sldMkLst>
      </pc:sldChg>
      <pc:sldChg chg="add del">
        <pc:chgData name="LAJH (Lars Johansen)" userId="e48a59ec-d101-4cca-89fb-bdf02f942dcf" providerId="ADAL" clId="{A43C1393-A216-4004-B87E-AC6922414B2A}" dt="2021-10-11T18:00:29.605" v="2" actId="47"/>
        <pc:sldMkLst>
          <pc:docMk/>
          <pc:sldMk cId="0" sldId="541"/>
        </pc:sldMkLst>
      </pc:sldChg>
      <pc:sldChg chg="add del">
        <pc:chgData name="LAJH (Lars Johansen)" userId="e48a59ec-d101-4cca-89fb-bdf02f942dcf" providerId="ADAL" clId="{A43C1393-A216-4004-B87E-AC6922414B2A}" dt="2021-10-11T18:00:29.605" v="2" actId="47"/>
        <pc:sldMkLst>
          <pc:docMk/>
          <pc:sldMk cId="0" sldId="547"/>
        </pc:sldMkLst>
      </pc:sldChg>
      <pc:sldChg chg="add del">
        <pc:chgData name="LAJH (Lars Johansen)" userId="e48a59ec-d101-4cca-89fb-bdf02f942dcf" providerId="ADAL" clId="{A43C1393-A216-4004-B87E-AC6922414B2A}" dt="2021-10-11T18:00:29.605" v="2" actId="47"/>
        <pc:sldMkLst>
          <pc:docMk/>
          <pc:sldMk cId="864569412" sldId="567"/>
        </pc:sldMkLst>
      </pc:sldChg>
      <pc:sldChg chg="add del">
        <pc:chgData name="LAJH (Lars Johansen)" userId="e48a59ec-d101-4cca-89fb-bdf02f942dcf" providerId="ADAL" clId="{A43C1393-A216-4004-B87E-AC6922414B2A}" dt="2021-10-11T18:00:29.605" v="2" actId="47"/>
        <pc:sldMkLst>
          <pc:docMk/>
          <pc:sldMk cId="2226844943" sldId="568"/>
        </pc:sldMkLst>
      </pc:sldChg>
      <pc:sldChg chg="del">
        <pc:chgData name="LAJH (Lars Johansen)" userId="e48a59ec-d101-4cca-89fb-bdf02f942dcf" providerId="ADAL" clId="{A43C1393-A216-4004-B87E-AC6922414B2A}" dt="2021-10-11T18:03:19.499" v="9" actId="47"/>
        <pc:sldMkLst>
          <pc:docMk/>
          <pc:sldMk cId="3259430028" sldId="5598"/>
        </pc:sldMkLst>
      </pc:sldChg>
      <pc:sldChg chg="del">
        <pc:chgData name="LAJH (Lars Johansen)" userId="e48a59ec-d101-4cca-89fb-bdf02f942dcf" providerId="ADAL" clId="{A43C1393-A216-4004-B87E-AC6922414B2A}" dt="2021-10-11T18:03:19.499" v="9" actId="47"/>
        <pc:sldMkLst>
          <pc:docMk/>
          <pc:sldMk cId="3349554098" sldId="5599"/>
        </pc:sldMkLst>
      </pc:sldChg>
      <pc:sldChg chg="del">
        <pc:chgData name="LAJH (Lars Johansen)" userId="e48a59ec-d101-4cca-89fb-bdf02f942dcf" providerId="ADAL" clId="{A43C1393-A216-4004-B87E-AC6922414B2A}" dt="2021-10-11T18:00:34.674" v="3" actId="47"/>
        <pc:sldMkLst>
          <pc:docMk/>
          <pc:sldMk cId="878407910" sldId="5600"/>
        </pc:sldMkLst>
      </pc:sldChg>
      <pc:sldMasterChg chg="addSldLayout delSldLayout">
        <pc:chgData name="LAJH (Lars Johansen)" userId="e48a59ec-d101-4cca-89fb-bdf02f942dcf" providerId="ADAL" clId="{A43C1393-A216-4004-B87E-AC6922414B2A}" dt="2021-10-11T18:00:25.432" v="1" actId="47"/>
        <pc:sldMasterMkLst>
          <pc:docMk/>
          <pc:sldMasterMk cId="2143522105" sldId="2147483837"/>
        </pc:sldMasterMkLst>
        <pc:sldLayoutChg chg="add del">
          <pc:chgData name="LAJH (Lars Johansen)" userId="e48a59ec-d101-4cca-89fb-bdf02f942dcf" providerId="ADAL" clId="{A43C1393-A216-4004-B87E-AC6922414B2A}" dt="2021-10-11T18:00:25.432" v="1" actId="47"/>
          <pc:sldLayoutMkLst>
            <pc:docMk/>
            <pc:sldMasterMk cId="2143522105" sldId="2147483837"/>
            <pc:sldLayoutMk cId="3219847202" sldId="2147483885"/>
          </pc:sldLayoutMkLst>
        </pc:sldLayoutChg>
      </pc:sldMaster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6332"/>
          </a:xfrm>
          <a:prstGeom prst="rect">
            <a:avLst/>
          </a:prstGeom>
        </p:spPr>
        <p:txBody>
          <a:bodyPr vert="horz" lIns="91440" tIns="45720" rIns="91440" bIns="45720" rtlCol="0"/>
          <a:lstStyle>
            <a:lvl1pPr algn="l">
              <a:defRPr sz="1000">
                <a:latin typeface="Arial" panose="020B0604020202020204" pitchFamily="34" charset="0"/>
                <a:cs typeface="Arial" panose="020B0604020202020204" pitchFamily="34" charset="0"/>
              </a:defRPr>
            </a:lvl1pPr>
          </a:lstStyle>
          <a:p>
            <a:endParaRPr lang="en-US" dirty="0"/>
          </a:p>
        </p:txBody>
      </p:sp>
      <p:sp>
        <p:nvSpPr>
          <p:cNvPr id="3" name="Date Placeholder 2"/>
          <p:cNvSpPr>
            <a:spLocks noGrp="1"/>
          </p:cNvSpPr>
          <p:nvPr>
            <p:ph type="dt" idx="1"/>
          </p:nvPr>
        </p:nvSpPr>
        <p:spPr>
          <a:xfrm>
            <a:off x="3850443" y="0"/>
            <a:ext cx="2945659" cy="496332"/>
          </a:xfrm>
          <a:prstGeom prst="rect">
            <a:avLst/>
          </a:prstGeom>
        </p:spPr>
        <p:txBody>
          <a:bodyPr vert="horz" lIns="91440" tIns="45720" rIns="91440" bIns="45720" rtlCol="0"/>
          <a:lstStyle>
            <a:lvl1pPr algn="r">
              <a:defRPr sz="1000">
                <a:latin typeface="Arial" panose="020B0604020202020204" pitchFamily="34" charset="0"/>
                <a:cs typeface="Arial" panose="020B0604020202020204" pitchFamily="34" charset="0"/>
              </a:defRPr>
            </a:lvl1pPr>
          </a:lstStyle>
          <a:p>
            <a:fld id="{CD72A38B-F9FA-4036-A084-652409E98F08}" type="datetimeFigureOut">
              <a:rPr lang="en-US" smtClean="0"/>
              <a:pPr/>
              <a:t>10/11/2021</a:t>
            </a:fld>
            <a:endParaRPr lang="en-US" dirty="0"/>
          </a:p>
        </p:txBody>
      </p:sp>
      <p:sp>
        <p:nvSpPr>
          <p:cNvPr id="4" name="Slide Image Placeholder 3"/>
          <p:cNvSpPr>
            <a:spLocks noGrp="1" noRot="1" noChangeAspect="1"/>
          </p:cNvSpPr>
          <p:nvPr>
            <p:ph type="sldImg" idx="2"/>
          </p:nvPr>
        </p:nvSpPr>
        <p:spPr>
          <a:xfrm>
            <a:off x="90488" y="744538"/>
            <a:ext cx="6616700" cy="3722687"/>
          </a:xfrm>
          <a:prstGeom prst="rect">
            <a:avLst/>
          </a:prstGeom>
          <a:noFill/>
          <a:ln w="12700">
            <a:solidFill>
              <a:prstClr val="black"/>
            </a:solidFill>
          </a:ln>
        </p:spPr>
        <p:txBody>
          <a:bodyPr vert="horz" lIns="91440" tIns="45720" rIns="91440" bIns="45720" rtlCol="0" anchor="ctr"/>
          <a:lstStyle/>
          <a:p>
            <a:endParaRPr lang="en-GB" dirty="0"/>
          </a:p>
        </p:txBody>
      </p:sp>
      <p:sp>
        <p:nvSpPr>
          <p:cNvPr id="5" name="Notes Placeholder 4"/>
          <p:cNvSpPr>
            <a:spLocks noGrp="1"/>
          </p:cNvSpPr>
          <p:nvPr>
            <p:ph type="body" sz="quarter" idx="3"/>
          </p:nvPr>
        </p:nvSpPr>
        <p:spPr>
          <a:xfrm>
            <a:off x="397912" y="4715153"/>
            <a:ext cx="6023956" cy="4466987"/>
          </a:xfrm>
          <a:prstGeom prst="rect">
            <a:avLst/>
          </a:prstGeom>
        </p:spPr>
        <p:txBody>
          <a:bodyPr vert="horz" lIns="0" tIns="0" rIns="0" bIns="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9428583"/>
            <a:ext cx="2945659" cy="496332"/>
          </a:xfrm>
          <a:prstGeom prst="rect">
            <a:avLst/>
          </a:prstGeom>
        </p:spPr>
        <p:txBody>
          <a:bodyPr vert="horz" lIns="91440" tIns="45720" rIns="91440" bIns="45720" rtlCol="0" anchor="b"/>
          <a:lstStyle>
            <a:lvl1pPr algn="l">
              <a:defRPr sz="1000">
                <a:latin typeface="Arial" panose="020B0604020202020204" pitchFamily="34" charset="0"/>
                <a:cs typeface="Arial" panose="020B0604020202020204" pitchFamily="34" charset="0"/>
              </a:defRPr>
            </a:lvl1pPr>
          </a:lstStyle>
          <a:p>
            <a:endParaRPr lang="en-US" dirty="0"/>
          </a:p>
        </p:txBody>
      </p:sp>
      <p:sp>
        <p:nvSpPr>
          <p:cNvPr id="7" name="Slide Number Placeholder 6"/>
          <p:cNvSpPr>
            <a:spLocks noGrp="1"/>
          </p:cNvSpPr>
          <p:nvPr>
            <p:ph type="sldNum" sz="quarter" idx="5"/>
          </p:nvPr>
        </p:nvSpPr>
        <p:spPr>
          <a:xfrm>
            <a:off x="3850443" y="9428583"/>
            <a:ext cx="2945659" cy="496332"/>
          </a:xfrm>
          <a:prstGeom prst="rect">
            <a:avLst/>
          </a:prstGeom>
        </p:spPr>
        <p:txBody>
          <a:bodyPr vert="horz" lIns="91440" tIns="45720" rIns="91440" bIns="45720" rtlCol="0" anchor="b"/>
          <a:lstStyle>
            <a:lvl1pPr algn="r">
              <a:defRPr sz="1000">
                <a:latin typeface="Arial" panose="020B0604020202020204" pitchFamily="34" charset="0"/>
                <a:cs typeface="Arial" panose="020B0604020202020204" pitchFamily="34" charset="0"/>
              </a:defRPr>
            </a:lvl1pPr>
          </a:lstStyle>
          <a:p>
            <a:fld id="{49436F85-577F-4A92-A47F-D540A2BCC821}" type="slidenum">
              <a:rPr lang="en-US" smtClean="0"/>
              <a:pPr/>
              <a:t>‹#›</a:t>
            </a:fld>
            <a:endParaRPr lang="en-US" dirty="0"/>
          </a:p>
        </p:txBody>
      </p:sp>
    </p:spTree>
    <p:extLst>
      <p:ext uri="{BB962C8B-B14F-4D97-AF65-F5344CB8AC3E}">
        <p14:creationId xmlns:p14="http://schemas.microsoft.com/office/powerpoint/2010/main" val="337809116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200" kern="1200">
        <a:solidFill>
          <a:schemeClr val="tx1"/>
        </a:solidFill>
        <a:latin typeface="Arial" panose="020B0604020202020204" pitchFamily="34" charset="0"/>
        <a:ea typeface="+mn-ea"/>
        <a:cs typeface="Arial" panose="020B0604020202020204" pitchFamily="34" charset="0"/>
      </a:defRPr>
    </a:lvl2pPr>
    <a:lvl3pPr marL="914400" algn="l" defTabSz="914400" rtl="0" eaLnBrk="1" latinLnBrk="0" hangingPunct="1">
      <a:defRPr sz="1200" kern="1200">
        <a:solidFill>
          <a:schemeClr val="tx1"/>
        </a:solidFill>
        <a:latin typeface="Arial" panose="020B0604020202020204" pitchFamily="34" charset="0"/>
        <a:ea typeface="+mn-ea"/>
        <a:cs typeface="Arial" panose="020B0604020202020204" pitchFamily="34" charset="0"/>
      </a:defRPr>
    </a:lvl3pPr>
    <a:lvl4pPr marL="1371600" algn="l" defTabSz="914400" rtl="0" eaLnBrk="1" latinLnBrk="0" hangingPunct="1">
      <a:defRPr sz="1200" kern="1200">
        <a:solidFill>
          <a:schemeClr val="tx1"/>
        </a:solidFill>
        <a:latin typeface="Arial" panose="020B0604020202020204" pitchFamily="34" charset="0"/>
        <a:ea typeface="+mn-ea"/>
        <a:cs typeface="Arial" panose="020B0604020202020204" pitchFamily="34" charset="0"/>
      </a:defRPr>
    </a:lvl4pPr>
    <a:lvl5pPr marL="1828800" algn="l" defTabSz="914400" rtl="0" eaLnBrk="1" latinLnBrk="0" hangingPunct="1">
      <a:defRPr sz="1200"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lvl="0" indent="-171450">
              <a:spcAft>
                <a:spcPts val="0"/>
              </a:spcAft>
              <a:buFont typeface="Arial" panose="020B0604020202020204" pitchFamily="34" charset="0"/>
              <a:buChar char="•"/>
              <a:tabLst>
                <a:tab pos="457200" algn="l"/>
              </a:tabLst>
            </a:pPr>
            <a:r>
              <a:rPr lang="en-US" sz="1200" dirty="0">
                <a:effectLst/>
                <a:latin typeface="Arial" panose="020B0604020202020204" pitchFamily="34" charset="0"/>
                <a:ea typeface="Times New Roman"/>
                <a:cs typeface="Arial" panose="020B0604020202020204" pitchFamily="34" charset="0"/>
              </a:rPr>
              <a:t>The building blocks in the Novozymes’ technology come from a natural process -</a:t>
            </a:r>
            <a:r>
              <a:rPr lang="en-US" sz="1200" baseline="0" dirty="0">
                <a:effectLst/>
                <a:latin typeface="Arial" panose="020B0604020202020204" pitchFamily="34" charset="0"/>
                <a:ea typeface="Times New Roman"/>
                <a:cs typeface="Arial" panose="020B0604020202020204" pitchFamily="34" charset="0"/>
              </a:rPr>
              <a:t> </a:t>
            </a:r>
            <a:r>
              <a:rPr lang="en-US" sz="1200" dirty="0">
                <a:effectLst/>
                <a:latin typeface="Arial" panose="020B0604020202020204" pitchFamily="34" charset="0"/>
                <a:ea typeface="Times New Roman"/>
                <a:cs typeface="Arial" panose="020B0604020202020204" pitchFamily="34" charset="0"/>
              </a:rPr>
              <a:t>for example, the enzymes that catalyze processes in every living organism. But it takes insight, innovation, experience and capacity to be able to apply the enzymes in an industrial setting. </a:t>
            </a:r>
            <a:endParaRPr lang="da-DK" sz="1200" dirty="0">
              <a:effectLst/>
              <a:latin typeface="Arial" panose="020B0604020202020204" pitchFamily="34" charset="0"/>
              <a:ea typeface="Times New Roman"/>
              <a:cs typeface="Arial" panose="020B0604020202020204" pitchFamily="34" charset="0"/>
            </a:endParaRPr>
          </a:p>
          <a:p>
            <a:pPr marL="171450" lvl="0" indent="-171450">
              <a:spcAft>
                <a:spcPts val="0"/>
              </a:spcAft>
              <a:buFont typeface="Arial" panose="020B0604020202020204" pitchFamily="34" charset="0"/>
              <a:buChar char="•"/>
              <a:tabLst>
                <a:tab pos="457200" algn="l"/>
              </a:tabLst>
            </a:pPr>
            <a:r>
              <a:rPr lang="en-US" sz="1200" dirty="0">
                <a:effectLst/>
                <a:latin typeface="Arial" panose="020B0604020202020204" pitchFamily="34" charset="0"/>
                <a:ea typeface="Times New Roman"/>
                <a:cs typeface="Arial" panose="020B0604020202020204" pitchFamily="34" charset="0"/>
              </a:rPr>
              <a:t>Novozymes has years of experience in finding and further developing enzymes and microorganisms.</a:t>
            </a:r>
            <a:endParaRPr lang="da-DK" sz="1200" dirty="0">
              <a:effectLst/>
              <a:latin typeface="Arial" panose="020B0604020202020204" pitchFamily="34" charset="0"/>
              <a:ea typeface="Times New Roman"/>
              <a:cs typeface="Arial" panose="020B0604020202020204" pitchFamily="34" charset="0"/>
            </a:endParaRPr>
          </a:p>
          <a:p>
            <a:pPr marL="171450" lvl="0" indent="-171450">
              <a:spcAft>
                <a:spcPts val="0"/>
              </a:spcAft>
              <a:buFont typeface="Arial" panose="020B0604020202020204" pitchFamily="34" charset="0"/>
              <a:buChar char="•"/>
              <a:tabLst>
                <a:tab pos="457200" algn="l"/>
              </a:tabLst>
            </a:pPr>
            <a:r>
              <a:rPr lang="en-US" sz="1200" dirty="0">
                <a:effectLst/>
                <a:latin typeface="Arial" panose="020B0604020202020204" pitchFamily="34" charset="0"/>
                <a:ea typeface="Times New Roman"/>
                <a:cs typeface="Arial" panose="020B0604020202020204" pitchFamily="34" charset="0"/>
              </a:rPr>
              <a:t>When the basic product is developed, one string of enzymes needs to become trillions in order to create an efficient solution for our customers. Like one single grain of sand that needs to become a truckload. This demands extensive capacity for fermenting the enzymes and this is something that Novozymes excels at – we can create large, stable, high-quality solutions for industrial purposes.</a:t>
            </a:r>
            <a:endParaRPr lang="da-DK" sz="1200" dirty="0">
              <a:effectLst/>
              <a:latin typeface="Arial" panose="020B0604020202020204" pitchFamily="34" charset="0"/>
              <a:ea typeface="Times New Roman"/>
              <a:cs typeface="Arial" panose="020B0604020202020204" pitchFamily="34" charset="0"/>
            </a:endParaRPr>
          </a:p>
          <a:p>
            <a:pPr marL="171450" lvl="0" indent="-171450">
              <a:spcAft>
                <a:spcPts val="0"/>
              </a:spcAft>
              <a:buFont typeface="Arial" panose="020B0604020202020204" pitchFamily="34" charset="0"/>
              <a:buChar char="•"/>
              <a:tabLst>
                <a:tab pos="457200" algn="l"/>
              </a:tabLst>
            </a:pPr>
            <a:r>
              <a:rPr lang="en-US" sz="1200" dirty="0">
                <a:effectLst/>
                <a:latin typeface="Arial" panose="020B0604020202020204" pitchFamily="34" charset="0"/>
                <a:ea typeface="Times New Roman"/>
                <a:cs typeface="Arial" panose="020B0604020202020204" pitchFamily="34" charset="0"/>
              </a:rPr>
              <a:t>And we deliver on specification, on time, all over the world. </a:t>
            </a:r>
            <a:endParaRPr lang="da-DK" sz="1200" dirty="0">
              <a:effectLst/>
              <a:latin typeface="Arial" panose="020B0604020202020204" pitchFamily="34" charset="0"/>
              <a:ea typeface="Times New Roman"/>
              <a:cs typeface="Arial" panose="020B0604020202020204" pitchFamily="34" charset="0"/>
            </a:endParaRPr>
          </a:p>
          <a:p>
            <a:pPr marL="171450" lvl="0" indent="-171450">
              <a:spcAft>
                <a:spcPts val="0"/>
              </a:spcAft>
              <a:buFont typeface="Arial" panose="020B0604020202020204" pitchFamily="34" charset="0"/>
              <a:buChar char="•"/>
              <a:tabLst>
                <a:tab pos="457200" algn="l"/>
              </a:tabLst>
            </a:pPr>
            <a:r>
              <a:rPr lang="en-US" sz="1200" dirty="0">
                <a:effectLst/>
                <a:latin typeface="Arial" panose="020B0604020202020204" pitchFamily="34" charset="0"/>
                <a:ea typeface="Times New Roman"/>
                <a:cs typeface="Arial" panose="020B0604020202020204" pitchFamily="34" charset="0"/>
              </a:rPr>
              <a:t>The foundation for this is a global organization with production facilities spread over four continents. </a:t>
            </a:r>
            <a:endParaRPr lang="da-DK" sz="1200" dirty="0">
              <a:effectLst/>
              <a:latin typeface="Arial" panose="020B0604020202020204" pitchFamily="34" charset="0"/>
              <a:ea typeface="Times New Roman"/>
              <a:cs typeface="Arial" panose="020B0604020202020204" pitchFamily="34" charset="0"/>
            </a:endParaRPr>
          </a:p>
        </p:txBody>
      </p:sp>
      <p:sp>
        <p:nvSpPr>
          <p:cNvPr id="4" name="Slide Number Placeholder 3"/>
          <p:cNvSpPr>
            <a:spLocks noGrp="1"/>
          </p:cNvSpPr>
          <p:nvPr>
            <p:ph type="sldNum" sz="quarter" idx="10"/>
          </p:nvPr>
        </p:nvSpPr>
        <p:spPr/>
        <p:txBody>
          <a:bodyPr/>
          <a:lstStyle/>
          <a:p>
            <a:fld id="{49436F85-577F-4A92-A47F-D540A2BCC821}" type="slidenum">
              <a:rPr lang="en-US" smtClean="0"/>
              <a:pPr/>
              <a:t>2</a:t>
            </a:fld>
            <a:endParaRPr lang="en-US" dirty="0"/>
          </a:p>
        </p:txBody>
      </p:sp>
    </p:spTree>
    <p:extLst>
      <p:ext uri="{BB962C8B-B14F-4D97-AF65-F5344CB8AC3E}">
        <p14:creationId xmlns:p14="http://schemas.microsoft.com/office/powerpoint/2010/main" val="151874029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ales by business area in 2020 </a:t>
            </a:r>
          </a:p>
        </p:txBody>
      </p:sp>
      <p:sp>
        <p:nvSpPr>
          <p:cNvPr id="4" name="Slide Number Placeholder 3"/>
          <p:cNvSpPr>
            <a:spLocks noGrp="1"/>
          </p:cNvSpPr>
          <p:nvPr>
            <p:ph type="sldNum" sz="quarter" idx="5"/>
          </p:nvPr>
        </p:nvSpPr>
        <p:spPr/>
        <p:txBody>
          <a:bodyPr/>
          <a:lstStyle/>
          <a:p>
            <a:fld id="{49436F85-577F-4A92-A47F-D540A2BCC821}" type="slidenum">
              <a:rPr lang="en-US" smtClean="0"/>
              <a:pPr/>
              <a:t>3</a:t>
            </a:fld>
            <a:endParaRPr lang="en-US" dirty="0"/>
          </a:p>
        </p:txBody>
      </p:sp>
    </p:spTree>
    <p:extLst>
      <p:ext uri="{BB962C8B-B14F-4D97-AF65-F5344CB8AC3E}">
        <p14:creationId xmlns:p14="http://schemas.microsoft.com/office/powerpoint/2010/main" val="394830673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ovozymes in numbers</a:t>
            </a:r>
          </a:p>
        </p:txBody>
      </p:sp>
      <p:sp>
        <p:nvSpPr>
          <p:cNvPr id="4" name="Slide Number Placeholder 3"/>
          <p:cNvSpPr>
            <a:spLocks noGrp="1"/>
          </p:cNvSpPr>
          <p:nvPr>
            <p:ph type="sldNum" sz="quarter" idx="10"/>
          </p:nvPr>
        </p:nvSpPr>
        <p:spPr/>
        <p:txBody>
          <a:bodyPr/>
          <a:lstStyle/>
          <a:p>
            <a:fld id="{49436F85-577F-4A92-A47F-D540A2BCC821}" type="slidenum">
              <a:rPr lang="en-US" smtClean="0"/>
              <a:pPr/>
              <a:t>4</a:t>
            </a:fld>
            <a:endParaRPr lang="en-US" dirty="0"/>
          </a:p>
        </p:txBody>
      </p:sp>
    </p:spTree>
    <p:extLst>
      <p:ext uri="{BB962C8B-B14F-4D97-AF65-F5344CB8AC3E}">
        <p14:creationId xmlns:p14="http://schemas.microsoft.com/office/powerpoint/2010/main" val="218143404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Arial" panose="020B0604020202020204" pitchFamily="34" charset="0"/>
                <a:ea typeface="+mn-ea"/>
                <a:cs typeface="Arial" panose="020B0604020202020204" pitchFamily="34" charset="0"/>
              </a:rPr>
              <a:t>This map is illustrative and does not contain every location. You are free to add a location on the map that isn’t shown. </a:t>
            </a:r>
            <a:endParaRPr lang="en-US" dirty="0"/>
          </a:p>
        </p:txBody>
      </p:sp>
      <p:sp>
        <p:nvSpPr>
          <p:cNvPr id="4" name="Slide Number Placeholder 3"/>
          <p:cNvSpPr>
            <a:spLocks noGrp="1"/>
          </p:cNvSpPr>
          <p:nvPr>
            <p:ph type="sldNum" sz="quarter" idx="10"/>
          </p:nvPr>
        </p:nvSpPr>
        <p:spPr/>
        <p:txBody>
          <a:bodyPr/>
          <a:lstStyle/>
          <a:p>
            <a:fld id="{49436F85-577F-4A92-A47F-D540A2BCC821}" type="slidenum">
              <a:rPr lang="en-US" smtClean="0"/>
              <a:pPr/>
              <a:t>5</a:t>
            </a:fld>
            <a:endParaRPr lang="en-US" dirty="0"/>
          </a:p>
        </p:txBody>
      </p:sp>
    </p:spTree>
    <p:extLst>
      <p:ext uri="{BB962C8B-B14F-4D97-AF65-F5344CB8AC3E}">
        <p14:creationId xmlns:p14="http://schemas.microsoft.com/office/powerpoint/2010/main" val="160269906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ales by geography in 2020</a:t>
            </a:r>
          </a:p>
        </p:txBody>
      </p:sp>
      <p:sp>
        <p:nvSpPr>
          <p:cNvPr id="4" name="Slide Number Placeholder 3"/>
          <p:cNvSpPr>
            <a:spLocks noGrp="1"/>
          </p:cNvSpPr>
          <p:nvPr>
            <p:ph type="sldNum" sz="quarter" idx="5"/>
          </p:nvPr>
        </p:nvSpPr>
        <p:spPr/>
        <p:txBody>
          <a:bodyPr/>
          <a:lstStyle/>
          <a:p>
            <a:fld id="{49436F85-577F-4A92-A47F-D540A2BCC821}" type="slidenum">
              <a:rPr lang="en-US" smtClean="0"/>
              <a:pPr/>
              <a:t>6</a:t>
            </a:fld>
            <a:endParaRPr lang="en-US" dirty="0"/>
          </a:p>
        </p:txBody>
      </p:sp>
    </p:spTree>
    <p:extLst>
      <p:ext uri="{BB962C8B-B14F-4D97-AF65-F5344CB8AC3E}">
        <p14:creationId xmlns:p14="http://schemas.microsoft.com/office/powerpoint/2010/main" val="342885742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97000"/>
              </a:lnSpc>
              <a:spcBef>
                <a:spcPts val="0"/>
              </a:spcBef>
              <a:spcAft>
                <a:spcPts val="0"/>
              </a:spcAft>
              <a:buClrTx/>
              <a:buSzTx/>
              <a:buFont typeface="Arial" panose="020B0604020202020204" pitchFamily="34" charset="0"/>
              <a:buChar char="•"/>
              <a:tabLst/>
              <a:defRPr/>
            </a:pPr>
            <a:r>
              <a:rPr lang="en-US" sz="1200" b="1" i="0">
                <a:solidFill>
                  <a:schemeClr val="tx1"/>
                </a:solidFill>
                <a:latin typeface="Arial" panose="020B0604020202020204" pitchFamily="34" charset="0"/>
                <a:cs typeface="Arial" panose="020B0604020202020204" pitchFamily="34" charset="0"/>
              </a:rPr>
              <a:t>The UN Sustainable Development goals are also Novozymes goals </a:t>
            </a:r>
          </a:p>
          <a:p>
            <a:pPr marL="171450" marR="0" lvl="0" indent="-171450" algn="l" defTabSz="914400" rtl="0" eaLnBrk="1" fontAlgn="auto" latinLnBrk="0" hangingPunct="1">
              <a:lnSpc>
                <a:spcPct val="97000"/>
              </a:lnSpc>
              <a:spcBef>
                <a:spcPts val="0"/>
              </a:spcBef>
              <a:spcAft>
                <a:spcPts val="0"/>
              </a:spcAft>
              <a:buClrTx/>
              <a:buSzTx/>
              <a:buFont typeface="Arial" panose="020B0604020202020204" pitchFamily="34" charset="0"/>
              <a:buChar char="•"/>
              <a:tabLst/>
              <a:defRPr/>
            </a:pPr>
            <a:r>
              <a:rPr lang="en-US" sz="1200" i="0" dirty="0">
                <a:solidFill>
                  <a:schemeClr val="tx1"/>
                </a:solidFill>
                <a:latin typeface="Arial" panose="020B0604020202020204" pitchFamily="34" charset="0"/>
                <a:cs typeface="Arial" panose="020B0604020202020204" pitchFamily="34" charset="0"/>
              </a:rPr>
              <a:t>Novozymes 2030 commitments, and our 2022 targets, are guided by the UN’s Sustainable Development Goals – this helps us stay on course for a better world and helps us live our purpose</a:t>
            </a:r>
            <a:endParaRPr lang="en-US" sz="1200" dirty="0">
              <a:solidFill>
                <a:schemeClr val="tx1"/>
              </a:solidFill>
              <a:latin typeface="Arial" panose="020B0604020202020204" pitchFamily="34" charset="0"/>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1" dirty="0">
                <a:solidFill>
                  <a:schemeClr val="tx1"/>
                </a:solidFill>
                <a:latin typeface="Arial" panose="020B0604020202020204" pitchFamily="34" charset="0"/>
                <a:cs typeface="Arial" panose="020B0604020202020204" pitchFamily="34" charset="0"/>
              </a:rPr>
              <a:t>We hold ourselves accountable inside Novozymes for the impact that we are trying to create in the world on climate, water and production &amp; consumption</a:t>
            </a:r>
            <a:endParaRPr lang="en-US" sz="1200" b="1" i="1" dirty="0">
              <a:solidFill>
                <a:schemeClr val="tx1"/>
              </a:solidFill>
              <a:latin typeface="Arial" panose="020B0604020202020204" pitchFamily="34" charset="0"/>
              <a:cs typeface="Arial" panose="020B0604020202020204" pitchFamily="34" charset="0"/>
            </a:endParaRPr>
          </a:p>
          <a:p>
            <a:pPr marL="0" indent="0">
              <a:buFont typeface="Arial" panose="020B0604020202020204" pitchFamily="34" charset="0"/>
              <a:buNone/>
            </a:pPr>
            <a:r>
              <a:rPr lang="en-US" sz="1200" b="1" i="0" dirty="0">
                <a:solidFill>
                  <a:schemeClr val="tx1"/>
                </a:solidFill>
                <a:latin typeface="Arial" panose="020B0604020202020204" pitchFamily="34" charset="0"/>
                <a:cs typeface="Arial" panose="020B0604020202020204" pitchFamily="34" charset="0"/>
              </a:rPr>
              <a:t>Novozymes</a:t>
            </a:r>
          </a:p>
          <a:p>
            <a:pPr marL="171450" indent="-171450">
              <a:buFont typeface="Arial" panose="020B0604020202020204" pitchFamily="34" charset="0"/>
              <a:buChar char="•"/>
              <a:defRPr/>
            </a:pPr>
            <a:r>
              <a:rPr lang="en-US" b="1" i="0" dirty="0"/>
              <a:t>Climate: </a:t>
            </a:r>
            <a:r>
              <a:rPr lang="en-US" i="0" dirty="0"/>
              <a:t>In 2018, the IPCC released a report that the world needs to limit global warming to 1.5°C above pre-industrial levels to avoid catastrophic, irreversible effects of climate change. To meet this, the world must reduce emissions at a pace called the 1.5° pathway or science-based pathway. Novozymes is committed to playing its part in implementing the Paris Agreement and following a 1.5° reduction pathway. </a:t>
            </a:r>
            <a:r>
              <a:rPr lang="en-US" sz="1200" i="0" dirty="0">
                <a:solidFill>
                  <a:schemeClr val="tx1"/>
                </a:solidFill>
                <a:latin typeface="Arial" panose="020B0604020202020204" pitchFamily="34" charset="0"/>
                <a:cs typeface="Arial" panose="020B0604020202020204" pitchFamily="34" charset="0"/>
              </a:rPr>
              <a:t>By 2030, we will achieve a 50% reduction in absolute CO2 emissions from our own operations on our way to becoming carbon neutral by 2050. By 2022, we will reduce absolute CO2 emissions from our own operations by 25%</a:t>
            </a:r>
          </a:p>
          <a:p>
            <a:pPr marL="171450" indent="-171450">
              <a:buFont typeface="Arial" panose="020B0604020202020204" pitchFamily="34" charset="0"/>
              <a:buChar char="•"/>
            </a:pPr>
            <a:r>
              <a:rPr lang="en-US" sz="1200" b="1" i="0" dirty="0">
                <a:solidFill>
                  <a:schemeClr val="tx1"/>
                </a:solidFill>
                <a:latin typeface="Arial" panose="020B0604020202020204" pitchFamily="34" charset="0"/>
                <a:cs typeface="Arial" panose="020B0604020202020204" pitchFamily="34" charset="0"/>
              </a:rPr>
              <a:t>Water: </a:t>
            </a:r>
            <a:r>
              <a:rPr lang="en-US" sz="1200" i="0" dirty="0">
                <a:solidFill>
                  <a:schemeClr val="tx1"/>
                </a:solidFill>
                <a:latin typeface="Arial" panose="020B0604020202020204" pitchFamily="34" charset="0"/>
                <a:cs typeface="Arial" panose="020B0604020202020204" pitchFamily="34" charset="0"/>
              </a:rPr>
              <a:t>Novozymes operates in several regions worldwide where the water supply and demand conditions are very different. </a:t>
            </a:r>
            <a:r>
              <a:rPr lang="en-US" i="0" dirty="0"/>
              <a:t>We are committed to pioneering a context-based approach to water management, which includes building a thorough understanding of the local water conditions. By 2030, we will </a:t>
            </a:r>
            <a:r>
              <a:rPr lang="en-US" sz="1200" i="0" dirty="0">
                <a:solidFill>
                  <a:schemeClr val="tx1"/>
                </a:solidFill>
                <a:latin typeface="Arial" panose="020B0604020202020204" pitchFamily="34" charset="0"/>
                <a:cs typeface="Arial" panose="020B0604020202020204" pitchFamily="34" charset="0"/>
              </a:rPr>
              <a:t>ensure that we fully understand local conditions and manage our water use in balance with that, at all our sites. This includes understanding </a:t>
            </a:r>
            <a:r>
              <a:rPr lang="en-US" i="0" dirty="0"/>
              <a:t>the needs of other users in our watershed as well as the future availability of water in the water basin based on science. </a:t>
            </a:r>
            <a:r>
              <a:rPr lang="en-US" sz="1200" i="0" dirty="0">
                <a:solidFill>
                  <a:schemeClr val="tx1"/>
                </a:solidFill>
                <a:latin typeface="Arial" panose="020B0604020202020204" pitchFamily="34" charset="0"/>
                <a:cs typeface="Arial" panose="020B0604020202020204" pitchFamily="34" charset="0"/>
              </a:rPr>
              <a:t>By 2022, we will have context-based water management programs at all of our sites</a:t>
            </a:r>
          </a:p>
          <a:p>
            <a:pPr marL="171450" indent="-171450">
              <a:buFont typeface="Arial" panose="020B0604020202020204" pitchFamily="34" charset="0"/>
              <a:buChar char="•"/>
            </a:pPr>
            <a:r>
              <a:rPr lang="en-US" sz="1200" b="1" i="0" dirty="0">
                <a:solidFill>
                  <a:schemeClr val="tx1"/>
                </a:solidFill>
                <a:latin typeface="Arial" panose="020B0604020202020204" pitchFamily="34" charset="0"/>
                <a:cs typeface="Arial" panose="020B0604020202020204" pitchFamily="34" charset="0"/>
              </a:rPr>
              <a:t>Production &amp; Consumption: </a:t>
            </a:r>
            <a:r>
              <a:rPr lang="en-US" sz="1200" i="0" dirty="0">
                <a:solidFill>
                  <a:schemeClr val="tx1"/>
                </a:solidFill>
                <a:latin typeface="Arial" panose="020B0604020202020204" pitchFamily="34" charset="0"/>
                <a:cs typeface="Arial" panose="020B0604020202020204" pitchFamily="34" charset="0"/>
              </a:rPr>
              <a:t>Novozymes aims to drive our business towards more circularity. This means that we choose material and design processes to minimize waste and maximize reuse and recycling. By 2030, all of our key materials and waste will be managed in circular systems. By 2022, all of our biomass will be managed in circular systems. We will also be engaging with key customers to develop plans for circular management of key packaging materials</a:t>
            </a:r>
          </a:p>
          <a:p>
            <a:pPr marL="171450" indent="-171450">
              <a:buFont typeface="Arial" panose="020B0604020202020204" pitchFamily="34" charset="0"/>
              <a:buChar char="•"/>
            </a:pPr>
            <a:endParaRPr lang="en-US" sz="1200" i="1" dirty="0">
              <a:solidFill>
                <a:schemeClr val="tx1"/>
              </a:solidFill>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97000"/>
              </a:lnSpc>
              <a:spcBef>
                <a:spcPts val="0"/>
              </a:spcBef>
              <a:spcAft>
                <a:spcPts val="0"/>
              </a:spcAft>
              <a:buClrTx/>
              <a:buSzTx/>
              <a:buFont typeface="Arial" panose="020B0604020202020204" pitchFamily="34" charset="0"/>
              <a:buNone/>
              <a:tabLst/>
              <a:defRPr/>
            </a:pPr>
            <a:r>
              <a:rPr lang="en-US" sz="1200" i="1" dirty="0">
                <a:solidFill>
                  <a:schemeClr val="tx1"/>
                </a:solidFill>
                <a:latin typeface="Arial" panose="020B0604020202020204" pitchFamily="34" charset="0"/>
                <a:cs typeface="Arial" panose="020B0604020202020204" pitchFamily="34" charset="0"/>
              </a:rPr>
              <a:t>If not covered earlier in the presentation:</a:t>
            </a:r>
            <a:endParaRPr lang="en-US" sz="1200" dirty="0">
              <a:solidFill>
                <a:schemeClr val="tx1"/>
              </a:solidFill>
              <a:latin typeface="Arial" panose="020B0604020202020204" pitchFamily="34" charset="0"/>
              <a:cs typeface="Arial" panose="020B0604020202020204" pitchFamily="34" charset="0"/>
            </a:endParaRPr>
          </a:p>
          <a:p>
            <a:pPr marL="171450" indent="-171450">
              <a:buFont typeface="Arial" panose="020B0604020202020204" pitchFamily="34" charset="0"/>
              <a:buChar char="•"/>
            </a:pPr>
            <a:r>
              <a:rPr lang="en-US" i="1" dirty="0">
                <a:latin typeface="Arial" panose="020B0604020202020204" pitchFamily="34" charset="0"/>
                <a:cs typeface="Arial" panose="020B0604020202020204" pitchFamily="34" charset="0"/>
              </a:rPr>
              <a:t>Novozymes is committed to helping solve three global challenges: </a:t>
            </a:r>
            <a:r>
              <a:rPr lang="en-US" b="1" i="1" dirty="0">
                <a:latin typeface="Arial" panose="020B0604020202020204" pitchFamily="34" charset="0"/>
                <a:cs typeface="Arial" panose="020B0604020202020204" pitchFamily="34" charset="0"/>
              </a:rPr>
              <a:t>Climate</a:t>
            </a:r>
            <a:r>
              <a:rPr lang="en-US" i="1" dirty="0">
                <a:latin typeface="Arial" panose="020B0604020202020204" pitchFamily="34" charset="0"/>
                <a:cs typeface="Arial" panose="020B0604020202020204" pitchFamily="34" charset="0"/>
              </a:rPr>
              <a:t>, </a:t>
            </a:r>
            <a:r>
              <a:rPr lang="en-US" b="1" i="1" dirty="0">
                <a:latin typeface="Arial" panose="020B0604020202020204" pitchFamily="34" charset="0"/>
                <a:cs typeface="Arial" panose="020B0604020202020204" pitchFamily="34" charset="0"/>
              </a:rPr>
              <a:t>Water</a:t>
            </a:r>
            <a:r>
              <a:rPr lang="en-US" i="1" dirty="0">
                <a:latin typeface="Arial" panose="020B0604020202020204" pitchFamily="34" charset="0"/>
                <a:cs typeface="Arial" panose="020B0604020202020204" pitchFamily="34" charset="0"/>
              </a:rPr>
              <a:t> and sustainable </a:t>
            </a:r>
            <a:r>
              <a:rPr lang="en-US" b="1" i="1" dirty="0">
                <a:latin typeface="Arial" panose="020B0604020202020204" pitchFamily="34" charset="0"/>
                <a:cs typeface="Arial" panose="020B0604020202020204" pitchFamily="34" charset="0"/>
              </a:rPr>
              <a:t>Production &amp; Consumption</a:t>
            </a:r>
            <a:r>
              <a:rPr lang="en-US" i="1" dirty="0">
                <a:latin typeface="Arial" panose="020B0604020202020204" pitchFamily="34" charset="0"/>
                <a:cs typeface="Arial" panose="020B0604020202020204" pitchFamily="34" charset="0"/>
              </a:rPr>
              <a:t>, and to helping people, inside and outside the company, learn and thrive.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i="1" dirty="0">
                <a:latin typeface="Arial" panose="020B0604020202020204" pitchFamily="34" charset="0"/>
                <a:cs typeface="Arial" panose="020B0604020202020204" pitchFamily="34" charset="0"/>
              </a:rPr>
              <a:t>For each of the global challenge areas, we have defined 2020-22 targets where we can make the greatest difference with our biological solutions and reliably measure our progress. We commit to grow the positive impacts from our commercial solutions and to reduce the negative impact from our operation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1" u="none" strike="noStrike" kern="1200" cap="none" spc="-33" normalizeH="0" baseline="0" noProof="0" dirty="0">
                <a:ln>
                  <a:noFill/>
                </a:ln>
                <a:solidFill>
                  <a:srgbClr val="213728"/>
                </a:solidFill>
                <a:effectLst/>
                <a:uLnTx/>
                <a:uFillTx/>
                <a:latin typeface="Arial" panose="020B0604020202020204" pitchFamily="34" charset="0"/>
                <a:ea typeface="+mn-ea"/>
                <a:cs typeface="Arial" panose="020B0604020202020204" pitchFamily="34" charset="0"/>
              </a:rPr>
              <a:t>These replace current non-financial targets</a:t>
            </a:r>
            <a:endParaRPr lang="en-US" i="1" dirty="0">
              <a:latin typeface="Arial" panose="020B0604020202020204" pitchFamily="34" charset="0"/>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1" i="1" dirty="0">
                <a:solidFill>
                  <a:schemeClr val="tx1"/>
                </a:solidFill>
                <a:latin typeface="Arial" panose="020B0604020202020204" pitchFamily="34" charset="0"/>
                <a:cs typeface="Arial" panose="020B0604020202020204" pitchFamily="34" charset="0"/>
              </a:rPr>
              <a:t>Climate:</a:t>
            </a:r>
            <a:r>
              <a:rPr lang="en-US" sz="1200" i="1" dirty="0">
                <a:solidFill>
                  <a:schemeClr val="tx1"/>
                </a:solidFill>
                <a:latin typeface="Arial" panose="020B0604020202020204" pitchFamily="34" charset="0"/>
                <a:cs typeface="Arial" panose="020B0604020202020204" pitchFamily="34" charset="0"/>
              </a:rPr>
              <a:t> </a:t>
            </a:r>
            <a:r>
              <a:rPr lang="en-US" i="1" dirty="0">
                <a:latin typeface="Arial" panose="020B0604020202020204" pitchFamily="34" charset="0"/>
                <a:cs typeface="Arial" panose="020B0604020202020204" pitchFamily="34" charset="0"/>
              </a:rPr>
              <a:t>To avoid severe consequences from climate change, the world needs to limit global warming increase to 1.5°C. Novozymes is committed to playing its part by 2030 and thereby help realize the Paris Agreement. Our solutions have a big impact, especially within transportation. Transportation accounts for about 25% of total energy-related global CO2 emissions. To realize the Paris Agreement, the transport sector will need a range of solutions, including low-carbon fuels</a:t>
            </a:r>
            <a:r>
              <a:rPr lang="en-US" sz="1200" i="1" dirty="0">
                <a:solidFill>
                  <a:schemeClr val="tx1"/>
                </a:solidFill>
                <a:latin typeface="Arial" panose="020B0604020202020204" pitchFamily="34" charset="0"/>
                <a:cs typeface="Arial" panose="020B0604020202020204" pitchFamily="34" charset="0"/>
              </a:rPr>
              <a:t>. In 2022, we will help the transport sector save 60 million tons of CO2 emissions by enabling the production of bio-based, low-carbon fuels</a:t>
            </a:r>
          </a:p>
          <a:p>
            <a:pPr marL="171450" indent="-171450">
              <a:buFont typeface="Arial" panose="020B0604020202020204" pitchFamily="34" charset="0"/>
              <a:buChar char="•"/>
            </a:pPr>
            <a:r>
              <a:rPr lang="en-US" sz="1200" b="1" i="1" dirty="0">
                <a:solidFill>
                  <a:schemeClr val="tx1"/>
                </a:solidFill>
                <a:latin typeface="Arial" panose="020B0604020202020204" pitchFamily="34" charset="0"/>
                <a:cs typeface="Arial" panose="020B0604020202020204" pitchFamily="34" charset="0"/>
              </a:rPr>
              <a:t>Water: </a:t>
            </a:r>
            <a:r>
              <a:rPr lang="en-US" i="1" dirty="0">
                <a:latin typeface="Arial" panose="020B0604020202020204" pitchFamily="34" charset="0"/>
                <a:cs typeface="Arial" panose="020B0604020202020204" pitchFamily="34" charset="0"/>
              </a:rPr>
              <a:t>Over 2 billion people live in countries experiencing high water stress (UN, 2018), caused by water scarcity or pollution, affecting the quality of existing water resources. There is a growing need for solutions to ensure clean and efficient water use. Novozymes provides solutions which can prevent pollution by replacing chemicals, and enable better treatment of water. In 2022, we aim to reach more than 4 billion people with our laundry solutions that replace chemicals and thereby help protect water resources</a:t>
            </a:r>
          </a:p>
          <a:p>
            <a:pPr marL="171450" indent="-171450">
              <a:buFont typeface="Arial" panose="020B0604020202020204" pitchFamily="34" charset="0"/>
              <a:buChar char="•"/>
            </a:pPr>
            <a:r>
              <a:rPr lang="en-US" sz="1200" b="1" i="1" dirty="0">
                <a:solidFill>
                  <a:schemeClr val="tx1"/>
                </a:solidFill>
                <a:latin typeface="Arial" panose="020B0604020202020204" pitchFamily="34" charset="0"/>
                <a:cs typeface="Arial" panose="020B0604020202020204" pitchFamily="34" charset="0"/>
              </a:rPr>
              <a:t>Production &amp; Consumption: </a:t>
            </a:r>
            <a:r>
              <a:rPr lang="en-US" i="1" dirty="0">
                <a:latin typeface="Arial" panose="020B0604020202020204" pitchFamily="34" charset="0"/>
                <a:cs typeface="Arial" panose="020B0604020202020204" pitchFamily="34" charset="0"/>
              </a:rPr>
              <a:t>Roughly one-third of the food produced in the world for human consumption every year (~1.3 billion tons) gets lost or wasted. (FAO 2018). Our solutions enable more efficient food processing and reduce losses across the food value chain. In 2022, we will enable the production of 500,000 tons of additional food</a:t>
            </a:r>
          </a:p>
          <a:p>
            <a:endParaRPr lang="en-GB" dirty="0"/>
          </a:p>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9436F85-577F-4A92-A47F-D540A2BCC821}" type="slidenum">
              <a:rPr kumimoji="0" lang="en-US" sz="1000" b="0"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55999286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49436F85-577F-4A92-A47F-D540A2BCC821}" type="slidenum">
              <a:rPr lang="en-US" smtClean="0"/>
              <a:pPr/>
              <a:t>8</a:t>
            </a:fld>
            <a:endParaRPr lang="en-US" dirty="0"/>
          </a:p>
        </p:txBody>
      </p:sp>
    </p:spTree>
    <p:extLst>
      <p:ext uri="{BB962C8B-B14F-4D97-AF65-F5344CB8AC3E}">
        <p14:creationId xmlns:p14="http://schemas.microsoft.com/office/powerpoint/2010/main" val="52546165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49436F85-577F-4A92-A47F-D540A2BCC821}" type="slidenum">
              <a:rPr lang="en-US" smtClean="0"/>
              <a:pPr/>
              <a:t>11</a:t>
            </a:fld>
            <a:endParaRPr lang="en-US" dirty="0"/>
          </a:p>
        </p:txBody>
      </p:sp>
    </p:spTree>
    <p:extLst>
      <p:ext uri="{BB962C8B-B14F-4D97-AF65-F5344CB8AC3E}">
        <p14:creationId xmlns:p14="http://schemas.microsoft.com/office/powerpoint/2010/main" val="11109257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1.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emf"/></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1.emf"/><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1.emf"/><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2.emf"/><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2.emf"/><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3.emf"/><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14.emf"/><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14.emf"/><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3" name="Picture 2" descr="A picture containing fungus&#10;&#10;Description automatically generated">
            <a:extLst>
              <a:ext uri="{FF2B5EF4-FFF2-40B4-BE49-F238E27FC236}">
                <a16:creationId xmlns:a16="http://schemas.microsoft.com/office/drawing/2014/main" id="{B369F7A0-36D1-49B1-989D-2B41A0E26FBF}"/>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0"/>
            <a:ext cx="12192000" cy="6856056"/>
          </a:xfrm>
          <a:prstGeom prst="rect">
            <a:avLst/>
          </a:prstGeom>
        </p:spPr>
      </p:pic>
      <p:grpSp>
        <p:nvGrpSpPr>
          <p:cNvPr id="15" name="Group 14"/>
          <p:cNvGrpSpPr/>
          <p:nvPr userDrawn="1"/>
        </p:nvGrpSpPr>
        <p:grpSpPr>
          <a:xfrm>
            <a:off x="487363" y="313618"/>
            <a:ext cx="6184409" cy="4638504"/>
            <a:chOff x="487854" y="440703"/>
            <a:chExt cx="6184409" cy="4638504"/>
          </a:xfrm>
        </p:grpSpPr>
        <p:pic>
          <p:nvPicPr>
            <p:cNvPr id="16" name="Picture 15"/>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878101" y="440703"/>
              <a:ext cx="5794162" cy="4638504"/>
            </a:xfrm>
            <a:prstGeom prst="rect">
              <a:avLst/>
            </a:prstGeom>
          </p:spPr>
        </p:pic>
        <p:pic>
          <p:nvPicPr>
            <p:cNvPr id="19" name="Picture 1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87854" y="872437"/>
              <a:ext cx="720000" cy="717632"/>
            </a:xfrm>
            <a:prstGeom prst="rect">
              <a:avLst/>
            </a:prstGeom>
          </p:spPr>
        </p:pic>
      </p:grpSp>
      <p:sp>
        <p:nvSpPr>
          <p:cNvPr id="4" name="Date Placeholder 3"/>
          <p:cNvSpPr>
            <a:spLocks noGrp="1"/>
          </p:cNvSpPr>
          <p:nvPr>
            <p:ph type="dt" sz="half" idx="10"/>
          </p:nvPr>
        </p:nvSpPr>
        <p:spPr/>
        <p:txBody>
          <a:bodyPr/>
          <a:lstStyle>
            <a:lvl1pPr>
              <a:defRPr sz="100">
                <a:solidFill>
                  <a:schemeClr val="bg1"/>
                </a:solidFill>
              </a:defRPr>
            </a:lvl1pPr>
          </a:lstStyle>
          <a:p>
            <a:endParaRPr lang="en-US" dirty="0"/>
          </a:p>
        </p:txBody>
      </p:sp>
      <p:sp>
        <p:nvSpPr>
          <p:cNvPr id="5" name="Footer Placeholder 4"/>
          <p:cNvSpPr>
            <a:spLocks noGrp="1"/>
          </p:cNvSpPr>
          <p:nvPr>
            <p:ph type="ftr" sz="quarter" idx="11"/>
          </p:nvPr>
        </p:nvSpPr>
        <p:spPr>
          <a:xfrm>
            <a:off x="1008723" y="6611581"/>
            <a:ext cx="6873007" cy="244475"/>
          </a:xfrm>
        </p:spPr>
        <p:txBody>
          <a:bodyPr/>
          <a:lstStyle>
            <a:lvl1pPr>
              <a:defRPr sz="100">
                <a:solidFill>
                  <a:schemeClr val="bg1"/>
                </a:solidFill>
              </a:defRPr>
            </a:lvl1pPr>
          </a:lstStyle>
          <a:p>
            <a:endParaRPr lang="en-US" dirty="0"/>
          </a:p>
        </p:txBody>
      </p:sp>
      <p:sp>
        <p:nvSpPr>
          <p:cNvPr id="6" name="Slide Number Placeholder 5"/>
          <p:cNvSpPr>
            <a:spLocks noGrp="1"/>
          </p:cNvSpPr>
          <p:nvPr>
            <p:ph type="sldNum" sz="quarter" idx="12"/>
          </p:nvPr>
        </p:nvSpPr>
        <p:spPr>
          <a:xfrm>
            <a:off x="487363" y="6611581"/>
            <a:ext cx="516119" cy="244475"/>
          </a:xfrm>
        </p:spPr>
        <p:txBody>
          <a:bodyPr/>
          <a:lstStyle>
            <a:lvl1pPr>
              <a:defRPr sz="100">
                <a:solidFill>
                  <a:schemeClr val="bg1"/>
                </a:solidFill>
              </a:defRPr>
            </a:lvl1pPr>
          </a:lstStyle>
          <a:p>
            <a:fld id="{45D37B1E-C366-494F-A587-962AD9AABC83}" type="slidenum">
              <a:rPr lang="en-US" smtClean="0"/>
              <a:pPr/>
              <a:t>‹#›</a:t>
            </a:fld>
            <a:endParaRPr lang="en-US" dirty="0"/>
          </a:p>
        </p:txBody>
      </p:sp>
      <p:pic>
        <p:nvPicPr>
          <p:cNvPr id="12" name="Picture 11"/>
          <p:cNvPicPr>
            <a:picLocks noChangeAspect="1"/>
          </p:cNvPicPr>
          <p:nvPr/>
        </p:nvPicPr>
        <p:blipFill>
          <a:blip r:embed="rId5" cstate="screen">
            <a:extLst>
              <a:ext uri="{28A0092B-C50C-407E-A947-70E740481C1C}">
                <a14:useLocalDpi xmlns:a14="http://schemas.microsoft.com/office/drawing/2010/main" val="0"/>
              </a:ext>
            </a:extLst>
          </a:blip>
          <a:stretch>
            <a:fillRect/>
          </a:stretch>
        </p:blipFill>
        <p:spPr>
          <a:xfrm>
            <a:off x="504000" y="6508800"/>
            <a:ext cx="1171532" cy="104771"/>
          </a:xfrm>
          <a:prstGeom prst="rect">
            <a:avLst/>
          </a:prstGeom>
        </p:spPr>
      </p:pic>
      <p:pic>
        <p:nvPicPr>
          <p:cNvPr id="14" name="Picture 13"/>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224000" y="6238800"/>
            <a:ext cx="1476321" cy="434959"/>
          </a:xfrm>
          <a:prstGeom prst="rect">
            <a:avLst/>
          </a:prstGeom>
        </p:spPr>
      </p:pic>
      <p:sp>
        <p:nvSpPr>
          <p:cNvPr id="20" name="Title 1"/>
          <p:cNvSpPr>
            <a:spLocks noGrp="1"/>
          </p:cNvSpPr>
          <p:nvPr>
            <p:ph type="ctrTitle" hasCustomPrompt="1"/>
          </p:nvPr>
        </p:nvSpPr>
        <p:spPr>
          <a:xfrm>
            <a:off x="1184910" y="1652269"/>
            <a:ext cx="5127353" cy="1770063"/>
          </a:xfrm>
        </p:spPr>
        <p:txBody>
          <a:bodyPr anchor="t" anchorCtr="0"/>
          <a:lstStyle>
            <a:lvl1pPr algn="l">
              <a:lnSpc>
                <a:spcPct val="88000"/>
              </a:lnSpc>
              <a:defRPr sz="3600">
                <a:solidFill>
                  <a:schemeClr val="accent2"/>
                </a:solidFill>
              </a:defRPr>
            </a:lvl1pPr>
          </a:lstStyle>
          <a:p>
            <a:r>
              <a:rPr lang="en-US" dirty="0"/>
              <a:t>Click to add title</a:t>
            </a:r>
          </a:p>
        </p:txBody>
      </p:sp>
      <p:sp>
        <p:nvSpPr>
          <p:cNvPr id="21" name="Subtitle 2"/>
          <p:cNvSpPr>
            <a:spLocks noGrp="1"/>
          </p:cNvSpPr>
          <p:nvPr>
            <p:ph type="subTitle" idx="1" hasCustomPrompt="1"/>
          </p:nvPr>
        </p:nvSpPr>
        <p:spPr>
          <a:xfrm>
            <a:off x="1203967" y="3571558"/>
            <a:ext cx="5108296" cy="271462"/>
          </a:xfrm>
        </p:spPr>
        <p:txBody>
          <a:bodyPr anchor="b" anchorCtr="0"/>
          <a:lstStyle>
            <a:lvl1pPr marL="0" indent="0" algn="l">
              <a:buNone/>
              <a:defRPr sz="1800" b="1" baseline="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insert name</a:t>
            </a:r>
          </a:p>
        </p:txBody>
      </p:sp>
      <p:sp>
        <p:nvSpPr>
          <p:cNvPr id="22" name="Text Placeholder 9"/>
          <p:cNvSpPr>
            <a:spLocks noGrp="1"/>
          </p:cNvSpPr>
          <p:nvPr>
            <p:ph type="body" sz="quarter" idx="13" hasCustomPrompt="1"/>
          </p:nvPr>
        </p:nvSpPr>
        <p:spPr>
          <a:xfrm>
            <a:off x="1200726" y="3869718"/>
            <a:ext cx="5111537" cy="344805"/>
          </a:xfrm>
        </p:spPr>
        <p:txBody>
          <a:bodyPr/>
          <a:lstStyle>
            <a:lvl1pPr>
              <a:defRPr/>
            </a:lvl1pPr>
          </a:lstStyle>
          <a:p>
            <a:pPr lvl="0"/>
            <a:r>
              <a:rPr lang="en-US" dirty="0"/>
              <a:t>Click to insert date</a:t>
            </a:r>
          </a:p>
        </p:txBody>
      </p:sp>
    </p:spTree>
    <p:extLst>
      <p:ext uri="{BB962C8B-B14F-4D97-AF65-F5344CB8AC3E}">
        <p14:creationId xmlns:p14="http://schemas.microsoft.com/office/powerpoint/2010/main" val="850803159"/>
      </p:ext>
    </p:extLst>
  </p:cSld>
  <p:clrMapOvr>
    <a:masterClrMapping/>
  </p:clrMapOvr>
  <p:hf sldNum="0" hdr="0" ft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Chapter, purple">
    <p:spTree>
      <p:nvGrpSpPr>
        <p:cNvPr id="1" name=""/>
        <p:cNvGrpSpPr/>
        <p:nvPr/>
      </p:nvGrpSpPr>
      <p:grpSpPr>
        <a:xfrm>
          <a:off x="0" y="0"/>
          <a:ext cx="0" cy="0"/>
          <a:chOff x="0" y="0"/>
          <a:chExt cx="0" cy="0"/>
        </a:xfrm>
      </p:grpSpPr>
      <p:sp>
        <p:nvSpPr>
          <p:cNvPr id="7" name="Rectangle 6"/>
          <p:cNvSpPr/>
          <p:nvPr/>
        </p:nvSpPr>
        <p:spPr>
          <a:xfrm>
            <a:off x="0" y="0"/>
            <a:ext cx="12193200" cy="6858000"/>
          </a:xfrm>
          <a:prstGeom prst="rect">
            <a:avLst/>
          </a:prstGeom>
          <a:solidFill>
            <a:srgbClr val="2D00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4" name="Picture 13"/>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a:xfrm>
            <a:off x="7868584" y="0"/>
            <a:ext cx="4321016" cy="4149572"/>
          </a:xfrm>
          <a:prstGeom prst="rect">
            <a:avLst/>
          </a:prstGeom>
        </p:spPr>
      </p:pic>
      <p:sp>
        <p:nvSpPr>
          <p:cNvPr id="2" name="Title 1"/>
          <p:cNvSpPr>
            <a:spLocks noGrp="1"/>
          </p:cNvSpPr>
          <p:nvPr>
            <p:ph type="title"/>
          </p:nvPr>
        </p:nvSpPr>
        <p:spPr>
          <a:xfrm>
            <a:off x="1181498" y="1645088"/>
            <a:ext cx="7645002" cy="2142687"/>
          </a:xfrm>
        </p:spPr>
        <p:txBody>
          <a:bodyPr/>
          <a:lstStyle>
            <a:lvl1pPr>
              <a:lnSpc>
                <a:spcPct val="88000"/>
              </a:lnSpc>
              <a:defRPr sz="3600">
                <a:solidFill>
                  <a:schemeClr val="bg1"/>
                </a:solidFill>
              </a:defRPr>
            </a:lvl1pPr>
          </a:lstStyle>
          <a:p>
            <a:r>
              <a:rPr lang="en-US"/>
              <a:t>Click to edit Master title style</a:t>
            </a:r>
            <a:endParaRPr lang="en-US" dirty="0"/>
          </a:p>
        </p:txBody>
      </p:sp>
      <p:sp>
        <p:nvSpPr>
          <p:cNvPr id="3" name="Date Placeholder 2"/>
          <p:cNvSpPr>
            <a:spLocks noGrp="1"/>
          </p:cNvSpPr>
          <p:nvPr>
            <p:ph type="dt" sz="half" idx="10"/>
          </p:nvPr>
        </p:nvSpPr>
        <p:spPr>
          <a:xfrm>
            <a:off x="487364" y="225427"/>
            <a:ext cx="7381220" cy="365125"/>
          </a:xfrm>
        </p:spPr>
        <p:txBody>
          <a:bodyPr/>
          <a:lstStyle/>
          <a:p>
            <a:endParaRPr lang="en-US" dirty="0"/>
          </a:p>
        </p:txBody>
      </p:sp>
      <p:sp>
        <p:nvSpPr>
          <p:cNvPr id="4" name="Footer Placeholder 3"/>
          <p:cNvSpPr>
            <a:spLocks noGrp="1"/>
          </p:cNvSpPr>
          <p:nvPr>
            <p:ph type="ftr" sz="quarter" idx="11"/>
          </p:nvPr>
        </p:nvSpPr>
        <p:spPr/>
        <p:txBody>
          <a:bodyPr/>
          <a:lstStyle>
            <a:lvl1pPr>
              <a:defRPr>
                <a:solidFill>
                  <a:srgbClr val="2D0028"/>
                </a:solidFill>
              </a:defRPr>
            </a:lvl1pPr>
          </a:lstStyle>
          <a:p>
            <a:endParaRPr lang="en-US" dirty="0"/>
          </a:p>
        </p:txBody>
      </p:sp>
      <p:sp>
        <p:nvSpPr>
          <p:cNvPr id="5" name="Slide Number Placeholder 4"/>
          <p:cNvSpPr>
            <a:spLocks noGrp="1"/>
          </p:cNvSpPr>
          <p:nvPr>
            <p:ph type="sldNum" sz="quarter" idx="12"/>
          </p:nvPr>
        </p:nvSpPr>
        <p:spPr/>
        <p:txBody>
          <a:bodyPr/>
          <a:lstStyle>
            <a:lvl1pPr>
              <a:defRPr>
                <a:solidFill>
                  <a:srgbClr val="2D0028"/>
                </a:solidFill>
              </a:defRPr>
            </a:lvl1pPr>
          </a:lstStyle>
          <a:p>
            <a:fld id="{45D37B1E-C366-494F-A587-962AD9AABC83}" type="slidenum">
              <a:rPr lang="en-US" smtClean="0"/>
              <a:pPr/>
              <a:t>‹#›</a:t>
            </a:fld>
            <a:endParaRPr lang="en-US" dirty="0"/>
          </a:p>
        </p:txBody>
      </p:sp>
      <p:pic>
        <p:nvPicPr>
          <p:cNvPr id="9" name="Picture 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224000" y="6238800"/>
            <a:ext cx="1476321" cy="434959"/>
          </a:xfrm>
          <a:prstGeom prst="rect">
            <a:avLst/>
          </a:prstGeom>
        </p:spPr>
      </p:pic>
      <p:grpSp>
        <p:nvGrpSpPr>
          <p:cNvPr id="10" name="Group 9"/>
          <p:cNvGrpSpPr/>
          <p:nvPr userDrawn="1"/>
        </p:nvGrpSpPr>
        <p:grpSpPr>
          <a:xfrm>
            <a:off x="0" y="0"/>
            <a:ext cx="12193200" cy="6859588"/>
            <a:chOff x="0" y="0"/>
            <a:chExt cx="12193200" cy="6859588"/>
          </a:xfrm>
        </p:grpSpPr>
        <p:sp>
          <p:nvSpPr>
            <p:cNvPr id="11" name="Background color"/>
            <p:cNvSpPr/>
            <p:nvPr userDrawn="1"/>
          </p:nvSpPr>
          <p:spPr>
            <a:xfrm>
              <a:off x="0" y="0"/>
              <a:ext cx="12193200" cy="6858000"/>
            </a:xfrm>
            <a:prstGeom prst="rect">
              <a:avLst/>
            </a:prstGeom>
            <a:solidFill>
              <a:srgbClr val="967F9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2" name="Supergraphic shape"/>
            <p:cNvGrpSpPr>
              <a:grpSpLocks noChangeAspect="1"/>
            </p:cNvGrpSpPr>
            <p:nvPr userDrawn="1"/>
          </p:nvGrpSpPr>
          <p:grpSpPr bwMode="auto">
            <a:xfrm>
              <a:off x="1588" y="0"/>
              <a:ext cx="12188825" cy="6859588"/>
              <a:chOff x="1" y="0"/>
              <a:chExt cx="7678" cy="4321"/>
            </a:xfrm>
            <a:solidFill>
              <a:srgbClr val="DBDDDB"/>
            </a:solidFill>
          </p:grpSpPr>
          <p:sp>
            <p:nvSpPr>
              <p:cNvPr id="13" name="Freeform 5"/>
              <p:cNvSpPr>
                <a:spLocks/>
              </p:cNvSpPr>
              <p:nvPr userDrawn="1"/>
            </p:nvSpPr>
            <p:spPr bwMode="auto">
              <a:xfrm>
                <a:off x="6611" y="766"/>
                <a:ext cx="347" cy="352"/>
              </a:xfrm>
              <a:custGeom>
                <a:avLst/>
                <a:gdLst>
                  <a:gd name="T0" fmla="*/ 138 w 277"/>
                  <a:gd name="T1" fmla="*/ 281 h 281"/>
                  <a:gd name="T2" fmla="*/ 277 w 277"/>
                  <a:gd name="T3" fmla="*/ 145 h 281"/>
                  <a:gd name="T4" fmla="*/ 141 w 277"/>
                  <a:gd name="T5" fmla="*/ 0 h 281"/>
                  <a:gd name="T6" fmla="*/ 0 w 277"/>
                  <a:gd name="T7" fmla="*/ 137 h 281"/>
                  <a:gd name="T8" fmla="*/ 138 w 277"/>
                  <a:gd name="T9" fmla="*/ 281 h 281"/>
                </a:gdLst>
                <a:ahLst/>
                <a:cxnLst>
                  <a:cxn ang="0">
                    <a:pos x="T0" y="T1"/>
                  </a:cxn>
                  <a:cxn ang="0">
                    <a:pos x="T2" y="T3"/>
                  </a:cxn>
                  <a:cxn ang="0">
                    <a:pos x="T4" y="T5"/>
                  </a:cxn>
                  <a:cxn ang="0">
                    <a:pos x="T6" y="T7"/>
                  </a:cxn>
                  <a:cxn ang="0">
                    <a:pos x="T8" y="T9"/>
                  </a:cxn>
                </a:cxnLst>
                <a:rect l="0" t="0" r="r" b="b"/>
                <a:pathLst>
                  <a:path w="277" h="281">
                    <a:moveTo>
                      <a:pt x="138" y="281"/>
                    </a:moveTo>
                    <a:cubicBezTo>
                      <a:pt x="156" y="264"/>
                      <a:pt x="252" y="169"/>
                      <a:pt x="277" y="145"/>
                    </a:cubicBezTo>
                    <a:cubicBezTo>
                      <a:pt x="141" y="0"/>
                      <a:pt x="141" y="0"/>
                      <a:pt x="141" y="0"/>
                    </a:cubicBezTo>
                    <a:cubicBezTo>
                      <a:pt x="140" y="2"/>
                      <a:pt x="20" y="119"/>
                      <a:pt x="0" y="137"/>
                    </a:cubicBezTo>
                    <a:cubicBezTo>
                      <a:pt x="28" y="165"/>
                      <a:pt x="109" y="251"/>
                      <a:pt x="138" y="281"/>
                    </a:cubicBezTo>
                    <a:close/>
                  </a:path>
                </a:pathLst>
              </a:custGeom>
              <a:solidFill>
                <a:srgbClr val="2D00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 name="Freeform 6"/>
              <p:cNvSpPr>
                <a:spLocks/>
              </p:cNvSpPr>
              <p:nvPr userDrawn="1"/>
            </p:nvSpPr>
            <p:spPr bwMode="auto">
              <a:xfrm>
                <a:off x="6871" y="0"/>
                <a:ext cx="808" cy="864"/>
              </a:xfrm>
              <a:custGeom>
                <a:avLst/>
                <a:gdLst>
                  <a:gd name="T0" fmla="*/ 504 w 646"/>
                  <a:gd name="T1" fmla="*/ 0 h 691"/>
                  <a:gd name="T2" fmla="*/ 0 w 646"/>
                  <a:gd name="T3" fmla="*/ 550 h 691"/>
                  <a:gd name="T4" fmla="*/ 137 w 646"/>
                  <a:gd name="T5" fmla="*/ 691 h 691"/>
                  <a:gd name="T6" fmla="*/ 614 w 646"/>
                  <a:gd name="T7" fmla="*/ 315 h 691"/>
                  <a:gd name="T8" fmla="*/ 646 w 646"/>
                  <a:gd name="T9" fmla="*/ 297 h 691"/>
                  <a:gd name="T10" fmla="*/ 646 w 646"/>
                  <a:gd name="T11" fmla="*/ 0 h 691"/>
                  <a:gd name="T12" fmla="*/ 504 w 646"/>
                  <a:gd name="T13" fmla="*/ 0 h 691"/>
                </a:gdLst>
                <a:ahLst/>
                <a:cxnLst>
                  <a:cxn ang="0">
                    <a:pos x="T0" y="T1"/>
                  </a:cxn>
                  <a:cxn ang="0">
                    <a:pos x="T2" y="T3"/>
                  </a:cxn>
                  <a:cxn ang="0">
                    <a:pos x="T4" y="T5"/>
                  </a:cxn>
                  <a:cxn ang="0">
                    <a:pos x="T6" y="T7"/>
                  </a:cxn>
                  <a:cxn ang="0">
                    <a:pos x="T8" y="T9"/>
                  </a:cxn>
                  <a:cxn ang="0">
                    <a:pos x="T10" y="T11"/>
                  </a:cxn>
                  <a:cxn ang="0">
                    <a:pos x="T12" y="T13"/>
                  </a:cxn>
                </a:cxnLst>
                <a:rect l="0" t="0" r="r" b="b"/>
                <a:pathLst>
                  <a:path w="646" h="691">
                    <a:moveTo>
                      <a:pt x="504" y="0"/>
                    </a:moveTo>
                    <a:cubicBezTo>
                      <a:pt x="398" y="175"/>
                      <a:pt x="221" y="345"/>
                      <a:pt x="0" y="550"/>
                    </a:cubicBezTo>
                    <a:cubicBezTo>
                      <a:pt x="27" y="579"/>
                      <a:pt x="116" y="670"/>
                      <a:pt x="137" y="691"/>
                    </a:cubicBezTo>
                    <a:cubicBezTo>
                      <a:pt x="295" y="548"/>
                      <a:pt x="427" y="427"/>
                      <a:pt x="614" y="315"/>
                    </a:cubicBezTo>
                    <a:cubicBezTo>
                      <a:pt x="625" y="309"/>
                      <a:pt x="635" y="303"/>
                      <a:pt x="646" y="297"/>
                    </a:cubicBezTo>
                    <a:cubicBezTo>
                      <a:pt x="646" y="0"/>
                      <a:pt x="646" y="0"/>
                      <a:pt x="646" y="0"/>
                    </a:cubicBezTo>
                    <a:lnTo>
                      <a:pt x="504" y="0"/>
                    </a:lnTo>
                    <a:close/>
                  </a:path>
                </a:pathLst>
              </a:custGeom>
              <a:solidFill>
                <a:srgbClr val="2D00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 name="Freeform 7"/>
              <p:cNvSpPr>
                <a:spLocks/>
              </p:cNvSpPr>
              <p:nvPr userDrawn="1"/>
            </p:nvSpPr>
            <p:spPr bwMode="auto">
              <a:xfrm>
                <a:off x="6308" y="0"/>
                <a:ext cx="1032" cy="598"/>
              </a:xfrm>
              <a:custGeom>
                <a:avLst/>
                <a:gdLst>
                  <a:gd name="T0" fmla="*/ 826 w 826"/>
                  <a:gd name="T1" fmla="*/ 0 h 478"/>
                  <a:gd name="T2" fmla="*/ 0 w 826"/>
                  <a:gd name="T3" fmla="*/ 0 h 478"/>
                  <a:gd name="T4" fmla="*/ 383 w 826"/>
                  <a:gd name="T5" fmla="*/ 478 h 478"/>
                  <a:gd name="T6" fmla="*/ 826 w 826"/>
                  <a:gd name="T7" fmla="*/ 0 h 478"/>
                </a:gdLst>
                <a:ahLst/>
                <a:cxnLst>
                  <a:cxn ang="0">
                    <a:pos x="T0" y="T1"/>
                  </a:cxn>
                  <a:cxn ang="0">
                    <a:pos x="T2" y="T3"/>
                  </a:cxn>
                  <a:cxn ang="0">
                    <a:pos x="T4" y="T5"/>
                  </a:cxn>
                  <a:cxn ang="0">
                    <a:pos x="T6" y="T7"/>
                  </a:cxn>
                </a:cxnLst>
                <a:rect l="0" t="0" r="r" b="b"/>
                <a:pathLst>
                  <a:path w="826" h="478">
                    <a:moveTo>
                      <a:pt x="826" y="0"/>
                    </a:moveTo>
                    <a:cubicBezTo>
                      <a:pt x="0" y="0"/>
                      <a:pt x="0" y="0"/>
                      <a:pt x="0" y="0"/>
                    </a:cubicBezTo>
                    <a:cubicBezTo>
                      <a:pt x="115" y="196"/>
                      <a:pt x="284" y="371"/>
                      <a:pt x="383" y="478"/>
                    </a:cubicBezTo>
                    <a:cubicBezTo>
                      <a:pt x="486" y="368"/>
                      <a:pt x="695" y="202"/>
                      <a:pt x="826" y="0"/>
                    </a:cubicBezTo>
                    <a:close/>
                  </a:path>
                </a:pathLst>
              </a:custGeom>
              <a:solidFill>
                <a:srgbClr val="2D00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 name="Freeform 8"/>
              <p:cNvSpPr>
                <a:spLocks/>
              </p:cNvSpPr>
              <p:nvPr userDrawn="1"/>
            </p:nvSpPr>
            <p:spPr bwMode="auto">
              <a:xfrm>
                <a:off x="7101" y="493"/>
                <a:ext cx="578" cy="942"/>
              </a:xfrm>
              <a:custGeom>
                <a:avLst/>
                <a:gdLst>
                  <a:gd name="T0" fmla="*/ 462 w 462"/>
                  <a:gd name="T1" fmla="*/ 754 h 754"/>
                  <a:gd name="T2" fmla="*/ 462 w 462"/>
                  <a:gd name="T3" fmla="*/ 0 h 754"/>
                  <a:gd name="T4" fmla="*/ 0 w 462"/>
                  <a:gd name="T5" fmla="*/ 346 h 754"/>
                  <a:gd name="T6" fmla="*/ 462 w 462"/>
                  <a:gd name="T7" fmla="*/ 754 h 754"/>
                </a:gdLst>
                <a:ahLst/>
                <a:cxnLst>
                  <a:cxn ang="0">
                    <a:pos x="T0" y="T1"/>
                  </a:cxn>
                  <a:cxn ang="0">
                    <a:pos x="T2" y="T3"/>
                  </a:cxn>
                  <a:cxn ang="0">
                    <a:pos x="T4" y="T5"/>
                  </a:cxn>
                  <a:cxn ang="0">
                    <a:pos x="T6" y="T7"/>
                  </a:cxn>
                </a:cxnLst>
                <a:rect l="0" t="0" r="r" b="b"/>
                <a:pathLst>
                  <a:path w="462" h="754">
                    <a:moveTo>
                      <a:pt x="462" y="754"/>
                    </a:moveTo>
                    <a:cubicBezTo>
                      <a:pt x="462" y="0"/>
                      <a:pt x="462" y="0"/>
                      <a:pt x="462" y="0"/>
                    </a:cubicBezTo>
                    <a:cubicBezTo>
                      <a:pt x="298" y="96"/>
                      <a:pt x="173" y="190"/>
                      <a:pt x="0" y="346"/>
                    </a:cubicBezTo>
                    <a:cubicBezTo>
                      <a:pt x="162" y="494"/>
                      <a:pt x="306" y="645"/>
                      <a:pt x="462" y="754"/>
                    </a:cubicBezTo>
                    <a:close/>
                  </a:path>
                </a:pathLst>
              </a:custGeom>
              <a:solidFill>
                <a:srgbClr val="2D00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 name="Freeform 9"/>
              <p:cNvSpPr>
                <a:spLocks/>
              </p:cNvSpPr>
              <p:nvPr userDrawn="1"/>
            </p:nvSpPr>
            <p:spPr bwMode="auto">
              <a:xfrm>
                <a:off x="1" y="0"/>
                <a:ext cx="7678" cy="4321"/>
              </a:xfrm>
              <a:custGeom>
                <a:avLst/>
                <a:gdLst>
                  <a:gd name="T0" fmla="*/ 5610 w 6143"/>
                  <a:gd name="T1" fmla="*/ 801 h 3456"/>
                  <a:gd name="T2" fmla="*/ 5469 w 6143"/>
                  <a:gd name="T3" fmla="*/ 937 h 3456"/>
                  <a:gd name="T4" fmla="*/ 6088 w 6143"/>
                  <a:gd name="T5" fmla="*/ 1853 h 3456"/>
                  <a:gd name="T6" fmla="*/ 5767 w 6143"/>
                  <a:gd name="T7" fmla="*/ 2092 h 3456"/>
                  <a:gd name="T8" fmla="*/ 5888 w 6143"/>
                  <a:gd name="T9" fmla="*/ 2060 h 3456"/>
                  <a:gd name="T10" fmla="*/ 5992 w 6143"/>
                  <a:gd name="T11" fmla="*/ 1913 h 3456"/>
                  <a:gd name="T12" fmla="*/ 5760 w 6143"/>
                  <a:gd name="T13" fmla="*/ 1425 h 3456"/>
                  <a:gd name="T14" fmla="*/ 5393 w 6143"/>
                  <a:gd name="T15" fmla="*/ 1008 h 3456"/>
                  <a:gd name="T16" fmla="*/ 4946 w 6143"/>
                  <a:gd name="T17" fmla="*/ 1544 h 3456"/>
                  <a:gd name="T18" fmla="*/ 4847 w 6143"/>
                  <a:gd name="T19" fmla="*/ 1829 h 3456"/>
                  <a:gd name="T20" fmla="*/ 4930 w 6143"/>
                  <a:gd name="T21" fmla="*/ 2027 h 3456"/>
                  <a:gd name="T22" fmla="*/ 5115 w 6143"/>
                  <a:gd name="T23" fmla="*/ 2092 h 3456"/>
                  <a:gd name="T24" fmla="*/ 4896 w 6143"/>
                  <a:gd name="T25" fmla="*/ 2035 h 3456"/>
                  <a:gd name="T26" fmla="*/ 4802 w 6143"/>
                  <a:gd name="T27" fmla="*/ 1811 h 3456"/>
                  <a:gd name="T28" fmla="*/ 4939 w 6143"/>
                  <a:gd name="T29" fmla="*/ 1458 h 3456"/>
                  <a:gd name="T30" fmla="*/ 5349 w 6143"/>
                  <a:gd name="T31" fmla="*/ 969 h 3456"/>
                  <a:gd name="T32" fmla="*/ 5204 w 6143"/>
                  <a:gd name="T33" fmla="*/ 829 h 3456"/>
                  <a:gd name="T34" fmla="*/ 5148 w 6143"/>
                  <a:gd name="T35" fmla="*/ 879 h 3456"/>
                  <a:gd name="T36" fmla="*/ 4784 w 6143"/>
                  <a:gd name="T37" fmla="*/ 1153 h 3456"/>
                  <a:gd name="T38" fmla="*/ 4276 w 6143"/>
                  <a:gd name="T39" fmla="*/ 1348 h 3456"/>
                  <a:gd name="T40" fmla="*/ 4013 w 6143"/>
                  <a:gd name="T41" fmla="*/ 1236 h 3456"/>
                  <a:gd name="T42" fmla="*/ 3965 w 6143"/>
                  <a:gd name="T43" fmla="*/ 1039 h 3456"/>
                  <a:gd name="T44" fmla="*/ 4037 w 6143"/>
                  <a:gd name="T45" fmla="*/ 1201 h 3456"/>
                  <a:gd name="T46" fmla="*/ 4332 w 6143"/>
                  <a:gd name="T47" fmla="*/ 1271 h 3456"/>
                  <a:gd name="T48" fmla="*/ 4677 w 6143"/>
                  <a:gd name="T49" fmla="*/ 1128 h 3456"/>
                  <a:gd name="T50" fmla="*/ 4940 w 6143"/>
                  <a:gd name="T51" fmla="*/ 948 h 3456"/>
                  <a:gd name="T52" fmla="*/ 5098 w 6143"/>
                  <a:gd name="T53" fmla="*/ 811 h 3456"/>
                  <a:gd name="T54" fmla="*/ 5140 w 6143"/>
                  <a:gd name="T55" fmla="*/ 770 h 3456"/>
                  <a:gd name="T56" fmla="*/ 4615 w 6143"/>
                  <a:gd name="T57" fmla="*/ 298 h 3456"/>
                  <a:gd name="T58" fmla="*/ 4185 w 6143"/>
                  <a:gd name="T59" fmla="*/ 143 h 3456"/>
                  <a:gd name="T60" fmla="*/ 3965 w 6143"/>
                  <a:gd name="T61" fmla="*/ 356 h 3456"/>
                  <a:gd name="T62" fmla="*/ 4215 w 6143"/>
                  <a:gd name="T63" fmla="*/ 94 h 3456"/>
                  <a:gd name="T64" fmla="*/ 4646 w 6143"/>
                  <a:gd name="T65" fmla="*/ 220 h 3456"/>
                  <a:gd name="T66" fmla="*/ 4986 w 6143"/>
                  <a:gd name="T67" fmla="*/ 472 h 3456"/>
                  <a:gd name="T68" fmla="*/ 5225 w 6143"/>
                  <a:gd name="T69" fmla="*/ 686 h 3456"/>
                  <a:gd name="T70" fmla="*/ 5362 w 6143"/>
                  <a:gd name="T71" fmla="*/ 549 h 3456"/>
                  <a:gd name="T72" fmla="*/ 4929 w 6143"/>
                  <a:gd name="T73" fmla="*/ 0 h 3456"/>
                  <a:gd name="T74" fmla="*/ 0 w 6143"/>
                  <a:gd name="T75" fmla="*/ 0 h 3456"/>
                  <a:gd name="T76" fmla="*/ 0 w 6143"/>
                  <a:gd name="T77" fmla="*/ 3456 h 3456"/>
                  <a:gd name="T78" fmla="*/ 6143 w 6143"/>
                  <a:gd name="T79" fmla="*/ 3456 h 3456"/>
                  <a:gd name="T80" fmla="*/ 6143 w 6143"/>
                  <a:gd name="T81" fmla="*/ 1266 h 3456"/>
                  <a:gd name="T82" fmla="*/ 5610 w 6143"/>
                  <a:gd name="T83" fmla="*/ 801 h 3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143" h="3456">
                    <a:moveTo>
                      <a:pt x="5610" y="801"/>
                    </a:moveTo>
                    <a:cubicBezTo>
                      <a:pt x="5469" y="937"/>
                      <a:pt x="5469" y="937"/>
                      <a:pt x="5469" y="937"/>
                    </a:cubicBezTo>
                    <a:cubicBezTo>
                      <a:pt x="5920" y="1381"/>
                      <a:pt x="6088" y="1657"/>
                      <a:pt x="6088" y="1853"/>
                    </a:cubicBezTo>
                    <a:cubicBezTo>
                      <a:pt x="6088" y="1901"/>
                      <a:pt x="6085" y="2092"/>
                      <a:pt x="5767" y="2092"/>
                    </a:cubicBezTo>
                    <a:cubicBezTo>
                      <a:pt x="5800" y="2084"/>
                      <a:pt x="5832" y="2090"/>
                      <a:pt x="5888" y="2060"/>
                    </a:cubicBezTo>
                    <a:cubicBezTo>
                      <a:pt x="5945" y="2032"/>
                      <a:pt x="5981" y="1965"/>
                      <a:pt x="5992" y="1913"/>
                    </a:cubicBezTo>
                    <a:cubicBezTo>
                      <a:pt x="6018" y="1795"/>
                      <a:pt x="5905" y="1618"/>
                      <a:pt x="5760" y="1425"/>
                    </a:cubicBezTo>
                    <a:cubicBezTo>
                      <a:pt x="5650" y="1279"/>
                      <a:pt x="5436" y="1050"/>
                      <a:pt x="5393" y="1008"/>
                    </a:cubicBezTo>
                    <a:cubicBezTo>
                      <a:pt x="5148" y="1246"/>
                      <a:pt x="4998" y="1451"/>
                      <a:pt x="4946" y="1544"/>
                    </a:cubicBezTo>
                    <a:cubicBezTo>
                      <a:pt x="4895" y="1637"/>
                      <a:pt x="4847" y="1710"/>
                      <a:pt x="4847" y="1829"/>
                    </a:cubicBezTo>
                    <a:cubicBezTo>
                      <a:pt x="4847" y="1910"/>
                      <a:pt x="4884" y="1987"/>
                      <a:pt x="4930" y="2027"/>
                    </a:cubicBezTo>
                    <a:cubicBezTo>
                      <a:pt x="4977" y="2069"/>
                      <a:pt x="5052" y="2081"/>
                      <a:pt x="5115" y="2092"/>
                    </a:cubicBezTo>
                    <a:cubicBezTo>
                      <a:pt x="5039" y="2092"/>
                      <a:pt x="4948" y="2074"/>
                      <a:pt x="4896" y="2035"/>
                    </a:cubicBezTo>
                    <a:cubicBezTo>
                      <a:pt x="4848" y="1999"/>
                      <a:pt x="4802" y="1916"/>
                      <a:pt x="4802" y="1811"/>
                    </a:cubicBezTo>
                    <a:cubicBezTo>
                      <a:pt x="4802" y="1685"/>
                      <a:pt x="4869" y="1567"/>
                      <a:pt x="4939" y="1458"/>
                    </a:cubicBezTo>
                    <a:cubicBezTo>
                      <a:pt x="4995" y="1368"/>
                      <a:pt x="5111" y="1206"/>
                      <a:pt x="5349" y="969"/>
                    </a:cubicBezTo>
                    <a:cubicBezTo>
                      <a:pt x="5318" y="938"/>
                      <a:pt x="5232" y="857"/>
                      <a:pt x="5204" y="829"/>
                    </a:cubicBezTo>
                    <a:cubicBezTo>
                      <a:pt x="5171" y="858"/>
                      <a:pt x="5181" y="850"/>
                      <a:pt x="5148" y="879"/>
                    </a:cubicBezTo>
                    <a:cubicBezTo>
                      <a:pt x="5011" y="999"/>
                      <a:pt x="4941" y="1055"/>
                      <a:pt x="4784" y="1153"/>
                    </a:cubicBezTo>
                    <a:cubicBezTo>
                      <a:pt x="4711" y="1199"/>
                      <a:pt x="4477" y="1348"/>
                      <a:pt x="4276" y="1348"/>
                    </a:cubicBezTo>
                    <a:cubicBezTo>
                      <a:pt x="4100" y="1348"/>
                      <a:pt x="4055" y="1288"/>
                      <a:pt x="4013" y="1236"/>
                    </a:cubicBezTo>
                    <a:cubicBezTo>
                      <a:pt x="3970" y="1185"/>
                      <a:pt x="3965" y="1103"/>
                      <a:pt x="3965" y="1039"/>
                    </a:cubicBezTo>
                    <a:cubicBezTo>
                      <a:pt x="3976" y="1086"/>
                      <a:pt x="3974" y="1126"/>
                      <a:pt x="4037" y="1201"/>
                    </a:cubicBezTo>
                    <a:cubicBezTo>
                      <a:pt x="4092" y="1266"/>
                      <a:pt x="4220" y="1293"/>
                      <a:pt x="4332" y="1271"/>
                    </a:cubicBezTo>
                    <a:cubicBezTo>
                      <a:pt x="4445" y="1250"/>
                      <a:pt x="4570" y="1186"/>
                      <a:pt x="4677" y="1128"/>
                    </a:cubicBezTo>
                    <a:cubicBezTo>
                      <a:pt x="4783" y="1069"/>
                      <a:pt x="4869" y="1005"/>
                      <a:pt x="4940" y="948"/>
                    </a:cubicBezTo>
                    <a:cubicBezTo>
                      <a:pt x="5011" y="892"/>
                      <a:pt x="5028" y="873"/>
                      <a:pt x="5098" y="811"/>
                    </a:cubicBezTo>
                    <a:cubicBezTo>
                      <a:pt x="5122" y="790"/>
                      <a:pt x="5116" y="792"/>
                      <a:pt x="5140" y="770"/>
                    </a:cubicBezTo>
                    <a:cubicBezTo>
                      <a:pt x="4969" y="596"/>
                      <a:pt x="4773" y="400"/>
                      <a:pt x="4615" y="298"/>
                    </a:cubicBezTo>
                    <a:cubicBezTo>
                      <a:pt x="4456" y="196"/>
                      <a:pt x="4370" y="143"/>
                      <a:pt x="4185" y="143"/>
                    </a:cubicBezTo>
                    <a:cubicBezTo>
                      <a:pt x="4020" y="143"/>
                      <a:pt x="3965" y="356"/>
                      <a:pt x="3965" y="356"/>
                    </a:cubicBezTo>
                    <a:cubicBezTo>
                      <a:pt x="3965" y="192"/>
                      <a:pt x="4082" y="94"/>
                      <a:pt x="4215" y="94"/>
                    </a:cubicBezTo>
                    <a:cubicBezTo>
                      <a:pt x="4391" y="94"/>
                      <a:pt x="4525" y="147"/>
                      <a:pt x="4646" y="220"/>
                    </a:cubicBezTo>
                    <a:cubicBezTo>
                      <a:pt x="4742" y="277"/>
                      <a:pt x="4899" y="397"/>
                      <a:pt x="4986" y="472"/>
                    </a:cubicBezTo>
                    <a:cubicBezTo>
                      <a:pt x="5094" y="565"/>
                      <a:pt x="5225" y="686"/>
                      <a:pt x="5225" y="686"/>
                    </a:cubicBezTo>
                    <a:cubicBezTo>
                      <a:pt x="5245" y="667"/>
                      <a:pt x="5362" y="549"/>
                      <a:pt x="5362" y="549"/>
                    </a:cubicBezTo>
                    <a:cubicBezTo>
                      <a:pt x="5215" y="398"/>
                      <a:pt x="5043" y="199"/>
                      <a:pt x="4929" y="0"/>
                    </a:cubicBezTo>
                    <a:cubicBezTo>
                      <a:pt x="0" y="0"/>
                      <a:pt x="0" y="0"/>
                      <a:pt x="0" y="0"/>
                    </a:cubicBezTo>
                    <a:cubicBezTo>
                      <a:pt x="0" y="3456"/>
                      <a:pt x="0" y="3456"/>
                      <a:pt x="0" y="3456"/>
                    </a:cubicBezTo>
                    <a:cubicBezTo>
                      <a:pt x="6143" y="3456"/>
                      <a:pt x="6143" y="3456"/>
                      <a:pt x="6143" y="3456"/>
                    </a:cubicBezTo>
                    <a:cubicBezTo>
                      <a:pt x="6143" y="1266"/>
                      <a:pt x="6143" y="1266"/>
                      <a:pt x="6143" y="1266"/>
                    </a:cubicBezTo>
                    <a:cubicBezTo>
                      <a:pt x="5975" y="1159"/>
                      <a:pt x="5805" y="1000"/>
                      <a:pt x="5610" y="801"/>
                    </a:cubicBezTo>
                    <a:close/>
                  </a:path>
                </a:pathLst>
              </a:custGeom>
              <a:solidFill>
                <a:srgbClr val="2D00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pic>
        <p:nvPicPr>
          <p:cNvPr id="19" name="Picture 1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224000" y="6238800"/>
            <a:ext cx="1476321" cy="434959"/>
          </a:xfrm>
          <a:prstGeom prst="rect">
            <a:avLst/>
          </a:prstGeom>
        </p:spPr>
      </p:pic>
    </p:spTree>
    <p:extLst>
      <p:ext uri="{BB962C8B-B14F-4D97-AF65-F5344CB8AC3E}">
        <p14:creationId xmlns:p14="http://schemas.microsoft.com/office/powerpoint/2010/main" val="145764099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woObj" preserve="1">
  <p:cSld name="Two content I">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add title</a:t>
            </a:r>
          </a:p>
        </p:txBody>
      </p:sp>
      <p:sp>
        <p:nvSpPr>
          <p:cNvPr id="3" name="Content Placeholder 2"/>
          <p:cNvSpPr>
            <a:spLocks noGrp="1"/>
          </p:cNvSpPr>
          <p:nvPr>
            <p:ph sz="half" idx="1" hasCustomPrompt="1"/>
          </p:nvPr>
        </p:nvSpPr>
        <p:spPr>
          <a:xfrm>
            <a:off x="487363" y="1763713"/>
            <a:ext cx="5464175" cy="4227512"/>
          </a:xfrm>
        </p:spPr>
        <p:txBody>
          <a:bodyPr/>
          <a:lstStyle>
            <a:lvl1pPr>
              <a:defRPr baseline="0"/>
            </a:lvl1pPr>
          </a:lstStyle>
          <a:p>
            <a:pPr lvl="0"/>
            <a:r>
              <a:rPr lang="en-US" dirty="0"/>
              <a:t>Click to insert text, click icons to insert table/SmartArt, or insert chart via </a:t>
            </a:r>
            <a:r>
              <a:rPr lang="en-US" noProof="1"/>
              <a:t>CorporateCharts</a:t>
            </a:r>
            <a:r>
              <a:rPr lang="en-US" dirty="0"/>
              <a:t> or image via </a:t>
            </a:r>
            <a:r>
              <a:rPr lang="en-US" noProof="1"/>
              <a:t>ImageTool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hasCustomPrompt="1"/>
          </p:nvPr>
        </p:nvSpPr>
        <p:spPr>
          <a:xfrm>
            <a:off x="6238875" y="1763713"/>
            <a:ext cx="5465763" cy="4227512"/>
          </a:xfrm>
        </p:spPr>
        <p:txBody>
          <a:bodyPr/>
          <a:lstStyle>
            <a:lvl1pPr>
              <a:defRPr/>
            </a:lvl1pPr>
          </a:lstStyle>
          <a:p>
            <a:pPr lvl="0"/>
            <a:r>
              <a:rPr lang="en-US" dirty="0"/>
              <a:t>Click to insert text, click icons to insert table/SmartArt, or insert chart via </a:t>
            </a:r>
            <a:r>
              <a:rPr lang="en-US" noProof="1"/>
              <a:t>CorporateCharts</a:t>
            </a:r>
            <a:r>
              <a:rPr lang="en-US" dirty="0"/>
              <a:t> or image via </a:t>
            </a:r>
            <a:r>
              <a:rPr lang="en-US" noProof="1"/>
              <a:t>ImageTool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Date Placeholder 4"/>
          <p:cNvSpPr>
            <a:spLocks noGrp="1"/>
          </p:cNvSpPr>
          <p:nvPr>
            <p:ph type="dt" sz="half" idx="10"/>
          </p:nvPr>
        </p:nvSpPr>
        <p:spPr/>
        <p:txBody>
          <a:bodyPr/>
          <a:lstStyle/>
          <a:p>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5D37B1E-C366-494F-A587-962AD9AABC83}" type="slidenum">
              <a:rPr lang="en-US" smtClean="0"/>
              <a:pPr/>
              <a:t>‹#›</a:t>
            </a:fld>
            <a:endParaRPr lang="en-US" dirty="0"/>
          </a:p>
        </p:txBody>
      </p:sp>
    </p:spTree>
    <p:extLst>
      <p:ext uri="{BB962C8B-B14F-4D97-AF65-F5344CB8AC3E}">
        <p14:creationId xmlns:p14="http://schemas.microsoft.com/office/powerpoint/2010/main" val="646104289"/>
      </p:ext>
    </p:extLst>
  </p:cSld>
  <p:clrMapOvr>
    <a:masterClrMapping/>
  </p:clrMapOvr>
  <p:hf sldNum="0"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wo content II">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add title</a:t>
            </a:r>
          </a:p>
        </p:txBody>
      </p:sp>
      <p:sp>
        <p:nvSpPr>
          <p:cNvPr id="7" name="Content Placeholder 2"/>
          <p:cNvSpPr>
            <a:spLocks noGrp="1"/>
          </p:cNvSpPr>
          <p:nvPr>
            <p:ph sz="quarter" idx="13" hasCustomPrompt="1"/>
          </p:nvPr>
        </p:nvSpPr>
        <p:spPr>
          <a:xfrm>
            <a:off x="487363" y="1763713"/>
            <a:ext cx="7381875" cy="4227511"/>
          </a:xfrm>
        </p:spPr>
        <p:txBody>
          <a:bodyPr/>
          <a:lstStyle>
            <a:lvl1pPr marL="0" marR="0" indent="0" algn="l" defTabSz="914400" rtl="0" eaLnBrk="1" fontAlgn="auto" latinLnBrk="0" hangingPunct="1">
              <a:lnSpc>
                <a:spcPct val="97000"/>
              </a:lnSpc>
              <a:spcBef>
                <a:spcPts val="0"/>
              </a:spcBef>
              <a:spcAft>
                <a:spcPts val="1000"/>
              </a:spcAft>
              <a:buClrTx/>
              <a:buSzTx/>
              <a:buFont typeface="Arial" panose="020B0604020202020204" pitchFamily="34" charset="0"/>
              <a:buChar char="​"/>
              <a:tabLst/>
              <a:defRPr/>
            </a:lvl1pPr>
          </a:lstStyle>
          <a:p>
            <a:pPr marL="0" marR="0" lvl="0" indent="0" algn="l" defTabSz="914400" rtl="0" eaLnBrk="1" fontAlgn="auto" latinLnBrk="0" hangingPunct="1">
              <a:lnSpc>
                <a:spcPct val="97000"/>
              </a:lnSpc>
              <a:spcBef>
                <a:spcPts val="0"/>
              </a:spcBef>
              <a:spcAft>
                <a:spcPts val="1000"/>
              </a:spcAft>
              <a:buClrTx/>
              <a:buSzTx/>
              <a:buFont typeface="Arial" panose="020B0604020202020204" pitchFamily="34" charset="0"/>
              <a:buChar char="​"/>
              <a:tabLst/>
              <a:defRPr/>
            </a:pPr>
            <a:r>
              <a:rPr lang="en-US" dirty="0"/>
              <a:t>Click icons to insert table/SmartArt, or insert chart via </a:t>
            </a:r>
            <a:r>
              <a:rPr lang="en-US" noProof="1"/>
              <a:t>CorporateCharts</a:t>
            </a:r>
            <a:r>
              <a:rPr lang="en-US" dirty="0"/>
              <a:t> or image via </a:t>
            </a:r>
            <a:r>
              <a:rPr lang="en-US" noProof="1"/>
              <a:t>ImageTool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3"/>
          <p:cNvSpPr>
            <a:spLocks noGrp="1"/>
          </p:cNvSpPr>
          <p:nvPr>
            <p:ph sz="quarter" idx="14" hasCustomPrompt="1"/>
          </p:nvPr>
        </p:nvSpPr>
        <p:spPr>
          <a:xfrm>
            <a:off x="8156575" y="1763713"/>
            <a:ext cx="3546000" cy="4227511"/>
          </a:xfrm>
        </p:spPr>
        <p:txBody>
          <a:bodyPr/>
          <a:lstStyle>
            <a:lvl1pPr>
              <a:defRPr/>
            </a:lvl1pPr>
          </a:lstStyle>
          <a:p>
            <a:pPr lvl="0"/>
            <a:r>
              <a:rPr lang="en-US" dirty="0"/>
              <a:t>Click icons to insert table/SmartArt, or insert chart via </a:t>
            </a:r>
            <a:r>
              <a:rPr lang="en-US" noProof="1"/>
              <a:t>CorporateCharts</a:t>
            </a:r>
            <a:r>
              <a:rPr lang="en-US" dirty="0"/>
              <a:t> or image via </a:t>
            </a:r>
            <a:r>
              <a:rPr lang="en-US" noProof="1"/>
              <a:t>ImageTool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Date Placeholder 2"/>
          <p:cNvSpPr>
            <a:spLocks noGrp="1"/>
          </p:cNvSpPr>
          <p:nvPr>
            <p:ph type="dt" sz="half" idx="10"/>
          </p:nvPr>
        </p:nvSpPr>
        <p:spPr/>
        <p:txBody>
          <a:bodyPr/>
          <a:lstStyle/>
          <a:p>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45D37B1E-C366-494F-A587-962AD9AABC83}" type="slidenum">
              <a:rPr lang="en-US" smtClean="0"/>
              <a:pPr/>
              <a:t>‹#›</a:t>
            </a:fld>
            <a:endParaRPr lang="en-US" dirty="0"/>
          </a:p>
        </p:txBody>
      </p:sp>
    </p:spTree>
    <p:extLst>
      <p:ext uri="{BB962C8B-B14F-4D97-AF65-F5344CB8AC3E}">
        <p14:creationId xmlns:p14="http://schemas.microsoft.com/office/powerpoint/2010/main" val="2964569143"/>
      </p:ext>
    </p:extLst>
  </p:cSld>
  <p:clrMapOvr>
    <a:masterClrMapping/>
  </p:clrMapOvr>
  <p:hf sldNum="0" hdr="0" ftr="0" dt="0"/>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wo content III">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add title</a:t>
            </a:r>
          </a:p>
        </p:txBody>
      </p:sp>
      <p:sp>
        <p:nvSpPr>
          <p:cNvPr id="7" name="Content Placeholder 2"/>
          <p:cNvSpPr>
            <a:spLocks noGrp="1"/>
          </p:cNvSpPr>
          <p:nvPr>
            <p:ph sz="quarter" idx="13" hasCustomPrompt="1"/>
          </p:nvPr>
        </p:nvSpPr>
        <p:spPr>
          <a:xfrm>
            <a:off x="487364" y="1763713"/>
            <a:ext cx="3546474" cy="4227512"/>
          </a:xfrm>
        </p:spPr>
        <p:txBody>
          <a:bodyPr/>
          <a:lstStyle>
            <a:lvl1pPr marL="0" marR="0" indent="0" algn="l" defTabSz="914400" rtl="0" eaLnBrk="1" fontAlgn="auto" latinLnBrk="0" hangingPunct="1">
              <a:lnSpc>
                <a:spcPct val="97000"/>
              </a:lnSpc>
              <a:spcBef>
                <a:spcPts val="0"/>
              </a:spcBef>
              <a:spcAft>
                <a:spcPts val="1000"/>
              </a:spcAft>
              <a:buClrTx/>
              <a:buSzTx/>
              <a:buFont typeface="Arial" panose="020B0604020202020204" pitchFamily="34" charset="0"/>
              <a:buNone/>
              <a:tabLst/>
              <a:defRPr/>
            </a:lvl1pPr>
          </a:lstStyle>
          <a:p>
            <a:pPr marL="0" marR="0" lvl="0" indent="0" algn="l" defTabSz="914400" rtl="0" eaLnBrk="1" fontAlgn="auto" latinLnBrk="0" hangingPunct="1">
              <a:lnSpc>
                <a:spcPct val="97000"/>
              </a:lnSpc>
              <a:spcBef>
                <a:spcPts val="0"/>
              </a:spcBef>
              <a:spcAft>
                <a:spcPts val="1000"/>
              </a:spcAft>
              <a:buClrTx/>
              <a:buSzTx/>
              <a:buFont typeface="Arial" panose="020B0604020202020204" pitchFamily="34" charset="0"/>
              <a:buChar char="​"/>
              <a:tabLst/>
              <a:defRPr/>
            </a:pPr>
            <a:r>
              <a:rPr lang="en-US" dirty="0"/>
              <a:t>Click icons to insert table/SmartArt, or insert chart via </a:t>
            </a:r>
            <a:r>
              <a:rPr lang="en-US" noProof="1"/>
              <a:t>CorporateCharts</a:t>
            </a:r>
            <a:r>
              <a:rPr lang="en-US" dirty="0"/>
              <a:t> or image via </a:t>
            </a:r>
            <a:r>
              <a:rPr lang="en-US" noProof="1"/>
              <a:t>ImageTools</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3"/>
          <p:cNvSpPr>
            <a:spLocks noGrp="1"/>
          </p:cNvSpPr>
          <p:nvPr>
            <p:ph sz="quarter" idx="14" hasCustomPrompt="1"/>
          </p:nvPr>
        </p:nvSpPr>
        <p:spPr>
          <a:xfrm>
            <a:off x="4319588" y="1763713"/>
            <a:ext cx="7385050" cy="4227511"/>
          </a:xfrm>
        </p:spPr>
        <p:txBody>
          <a:bodyPr/>
          <a:lstStyle/>
          <a:p>
            <a:pPr lvl="0"/>
            <a:r>
              <a:rPr lang="en-US" dirty="0"/>
              <a:t>Click icons to insert table/SmartArt, or insert chart via </a:t>
            </a:r>
            <a:r>
              <a:rPr lang="en-US" noProof="1"/>
              <a:t>CorporateCharts</a:t>
            </a:r>
            <a:r>
              <a:rPr lang="en-US" dirty="0"/>
              <a:t> or image via </a:t>
            </a:r>
            <a:r>
              <a:rPr lang="en-US" noProof="1"/>
              <a:t>ImageTool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Date Placeholder 2"/>
          <p:cNvSpPr>
            <a:spLocks noGrp="1"/>
          </p:cNvSpPr>
          <p:nvPr>
            <p:ph type="dt" sz="half" idx="10"/>
          </p:nvPr>
        </p:nvSpPr>
        <p:spPr/>
        <p:txBody>
          <a:bodyPr/>
          <a:lstStyle/>
          <a:p>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45D37B1E-C366-494F-A587-962AD9AABC83}" type="slidenum">
              <a:rPr lang="en-US" smtClean="0"/>
              <a:pPr/>
              <a:t>‹#›</a:t>
            </a:fld>
            <a:endParaRPr lang="en-US" dirty="0"/>
          </a:p>
        </p:txBody>
      </p:sp>
    </p:spTree>
    <p:extLst>
      <p:ext uri="{BB962C8B-B14F-4D97-AF65-F5344CB8AC3E}">
        <p14:creationId xmlns:p14="http://schemas.microsoft.com/office/powerpoint/2010/main" val="2912697295"/>
      </p:ext>
    </p:extLst>
  </p:cSld>
  <p:clrMapOvr>
    <a:masterClrMapping/>
  </p:clrMapOvr>
  <p:hf sldNum="0" hdr="0" ftr="0" dt="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hree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add title</a:t>
            </a:r>
          </a:p>
        </p:txBody>
      </p:sp>
      <p:sp>
        <p:nvSpPr>
          <p:cNvPr id="7" name="Content Placeholder 2"/>
          <p:cNvSpPr>
            <a:spLocks noGrp="1"/>
          </p:cNvSpPr>
          <p:nvPr>
            <p:ph sz="quarter" idx="13" hasCustomPrompt="1"/>
          </p:nvPr>
        </p:nvSpPr>
        <p:spPr>
          <a:xfrm>
            <a:off x="487364" y="1763713"/>
            <a:ext cx="3546474" cy="4227511"/>
          </a:xfrm>
        </p:spPr>
        <p:txBody>
          <a:bodyPr/>
          <a:lstStyle>
            <a:lvl1pPr marL="0" marR="0" indent="0" algn="l" defTabSz="914400" rtl="0" eaLnBrk="1" fontAlgn="auto" latinLnBrk="0" hangingPunct="1">
              <a:lnSpc>
                <a:spcPct val="97000"/>
              </a:lnSpc>
              <a:spcBef>
                <a:spcPts val="0"/>
              </a:spcBef>
              <a:spcAft>
                <a:spcPts val="1000"/>
              </a:spcAft>
              <a:buClrTx/>
              <a:buSzTx/>
              <a:buFont typeface="Arial" panose="020B0604020202020204" pitchFamily="34" charset="0"/>
              <a:buNone/>
              <a:tabLst/>
              <a:defRPr/>
            </a:lvl1pPr>
          </a:lstStyle>
          <a:p>
            <a:pPr marL="0" marR="0" lvl="0" indent="0" algn="l" defTabSz="914400" rtl="0" eaLnBrk="1" fontAlgn="auto" latinLnBrk="0" hangingPunct="1">
              <a:lnSpc>
                <a:spcPct val="97000"/>
              </a:lnSpc>
              <a:spcBef>
                <a:spcPts val="0"/>
              </a:spcBef>
              <a:spcAft>
                <a:spcPts val="1000"/>
              </a:spcAft>
              <a:buClrTx/>
              <a:buSzTx/>
              <a:buFont typeface="Arial" panose="020B0604020202020204" pitchFamily="34" charset="0"/>
              <a:buChar char="​"/>
              <a:tabLst/>
              <a:defRPr/>
            </a:pPr>
            <a:r>
              <a:rPr lang="en-US" dirty="0"/>
              <a:t>Click icons to insert table/SmartArt, or insert chart via </a:t>
            </a:r>
            <a:r>
              <a:rPr lang="en-US" noProof="1"/>
              <a:t>CorporateCharts</a:t>
            </a:r>
            <a:r>
              <a:rPr lang="en-US" dirty="0"/>
              <a:t> or image via </a:t>
            </a:r>
            <a:r>
              <a:rPr lang="en-US" noProof="1"/>
              <a:t>ImageTools</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3"/>
          <p:cNvSpPr>
            <a:spLocks noGrp="1"/>
          </p:cNvSpPr>
          <p:nvPr>
            <p:ph sz="quarter" idx="14" hasCustomPrompt="1"/>
          </p:nvPr>
        </p:nvSpPr>
        <p:spPr>
          <a:xfrm>
            <a:off x="4319588" y="1763713"/>
            <a:ext cx="3546475" cy="4227511"/>
          </a:xfrm>
        </p:spPr>
        <p:txBody>
          <a:bodyPr/>
          <a:lstStyle/>
          <a:p>
            <a:pPr lvl="0"/>
            <a:r>
              <a:rPr lang="en-US" dirty="0"/>
              <a:t>Click icons to insert table/SmartArt, or insert chart via </a:t>
            </a:r>
            <a:r>
              <a:rPr lang="en-US" noProof="1"/>
              <a:t>CorporateCharts</a:t>
            </a:r>
            <a:r>
              <a:rPr lang="en-US" dirty="0"/>
              <a:t> or image via </a:t>
            </a:r>
            <a:r>
              <a:rPr lang="en-US" noProof="1"/>
              <a:t>ImageTool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4"/>
          <p:cNvSpPr>
            <a:spLocks noGrp="1"/>
          </p:cNvSpPr>
          <p:nvPr>
            <p:ph sz="quarter" idx="15" hasCustomPrompt="1"/>
          </p:nvPr>
        </p:nvSpPr>
        <p:spPr>
          <a:xfrm>
            <a:off x="8153400" y="1763713"/>
            <a:ext cx="3545999" cy="4227511"/>
          </a:xfrm>
        </p:spPr>
        <p:txBody>
          <a:bodyPr/>
          <a:lstStyle/>
          <a:p>
            <a:pPr lvl="0"/>
            <a:r>
              <a:rPr lang="en-US" dirty="0"/>
              <a:t>Click icons to insert table/SmartArt, or insert chart via </a:t>
            </a:r>
            <a:r>
              <a:rPr lang="en-US" noProof="1"/>
              <a:t>CorporateCharts</a:t>
            </a:r>
            <a:r>
              <a:rPr lang="en-US" dirty="0"/>
              <a:t> or image via </a:t>
            </a:r>
            <a:r>
              <a:rPr lang="en-US" noProof="1"/>
              <a:t>ImageTool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Date Placeholder 2"/>
          <p:cNvSpPr>
            <a:spLocks noGrp="1"/>
          </p:cNvSpPr>
          <p:nvPr>
            <p:ph type="dt" sz="half" idx="10"/>
          </p:nvPr>
        </p:nvSpPr>
        <p:spPr/>
        <p:txBody>
          <a:bodyPr/>
          <a:lstStyle/>
          <a:p>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45D37B1E-C366-494F-A587-962AD9AABC83}" type="slidenum">
              <a:rPr lang="en-US" smtClean="0"/>
              <a:pPr/>
              <a:t>‹#›</a:t>
            </a:fld>
            <a:endParaRPr lang="en-US" dirty="0"/>
          </a:p>
        </p:txBody>
      </p:sp>
    </p:spTree>
    <p:extLst>
      <p:ext uri="{BB962C8B-B14F-4D97-AF65-F5344CB8AC3E}">
        <p14:creationId xmlns:p14="http://schemas.microsoft.com/office/powerpoint/2010/main" val="2912697295"/>
      </p:ext>
    </p:extLst>
  </p:cSld>
  <p:clrMapOvr>
    <a:masterClrMapping/>
  </p:clrMapOvr>
  <p:hf sldNum="0"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Four content I">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add title</a:t>
            </a:r>
          </a:p>
        </p:txBody>
      </p:sp>
      <p:sp>
        <p:nvSpPr>
          <p:cNvPr id="7" name="Content Placeholder 2"/>
          <p:cNvSpPr>
            <a:spLocks noGrp="1"/>
          </p:cNvSpPr>
          <p:nvPr>
            <p:ph sz="quarter" idx="13" hasCustomPrompt="1"/>
          </p:nvPr>
        </p:nvSpPr>
        <p:spPr>
          <a:xfrm>
            <a:off x="487363" y="1763713"/>
            <a:ext cx="5464175" cy="2024062"/>
          </a:xfrm>
        </p:spPr>
        <p:txBody>
          <a:bodyPr/>
          <a:lstStyle/>
          <a:p>
            <a:pPr lvl="0"/>
            <a:r>
              <a:rPr lang="en-US" dirty="0"/>
              <a:t>Click icons to insert table/SmartArt, or insert chart via </a:t>
            </a:r>
            <a:r>
              <a:rPr lang="en-US" noProof="1"/>
              <a:t>CorporateCharts</a:t>
            </a:r>
            <a:r>
              <a:rPr lang="en-US" dirty="0"/>
              <a:t> or image via </a:t>
            </a:r>
            <a:r>
              <a:rPr lang="en-US" noProof="1"/>
              <a:t>ImageTool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3"/>
          <p:cNvSpPr>
            <a:spLocks noGrp="1"/>
          </p:cNvSpPr>
          <p:nvPr>
            <p:ph sz="quarter" idx="14" hasCustomPrompt="1"/>
          </p:nvPr>
        </p:nvSpPr>
        <p:spPr>
          <a:xfrm>
            <a:off x="487364" y="3967468"/>
            <a:ext cx="5464174" cy="2023755"/>
          </a:xfrm>
        </p:spPr>
        <p:txBody>
          <a:bodyPr/>
          <a:lstStyle>
            <a:lvl1pPr marL="0" marR="0" indent="0" algn="l" defTabSz="914400" rtl="0" eaLnBrk="1" fontAlgn="auto" latinLnBrk="0" hangingPunct="1">
              <a:lnSpc>
                <a:spcPct val="97000"/>
              </a:lnSpc>
              <a:spcBef>
                <a:spcPts val="0"/>
              </a:spcBef>
              <a:spcAft>
                <a:spcPts val="1000"/>
              </a:spcAft>
              <a:buClrTx/>
              <a:buSzTx/>
              <a:buFont typeface="Arial" panose="020B0604020202020204" pitchFamily="34" charset="0"/>
              <a:buNone/>
              <a:tabLst/>
              <a:defRPr/>
            </a:lvl1pPr>
          </a:lstStyle>
          <a:p>
            <a:pPr marL="0" marR="0" lvl="0" indent="0" algn="l" defTabSz="914400" rtl="0" eaLnBrk="1" fontAlgn="auto" latinLnBrk="0" hangingPunct="1">
              <a:lnSpc>
                <a:spcPct val="97000"/>
              </a:lnSpc>
              <a:spcBef>
                <a:spcPts val="0"/>
              </a:spcBef>
              <a:spcAft>
                <a:spcPts val="1000"/>
              </a:spcAft>
              <a:buClrTx/>
              <a:buSzTx/>
              <a:buFont typeface="Arial" panose="020B0604020202020204" pitchFamily="34" charset="0"/>
              <a:buChar char="​"/>
              <a:tabLst/>
              <a:defRPr/>
            </a:pPr>
            <a:r>
              <a:rPr lang="en-US" dirty="0"/>
              <a:t>Click icons to insert table/SmartArt, or insert chart via </a:t>
            </a:r>
            <a:r>
              <a:rPr lang="en-US" noProof="1"/>
              <a:t>CorporateCharts</a:t>
            </a:r>
            <a:r>
              <a:rPr lang="en-US" dirty="0"/>
              <a:t> or image via </a:t>
            </a:r>
            <a:r>
              <a:rPr lang="en-US" noProof="1"/>
              <a:t>ImageTools</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4"/>
          <p:cNvSpPr>
            <a:spLocks noGrp="1"/>
          </p:cNvSpPr>
          <p:nvPr>
            <p:ph sz="quarter" idx="15" hasCustomPrompt="1"/>
          </p:nvPr>
        </p:nvSpPr>
        <p:spPr>
          <a:xfrm>
            <a:off x="6238875" y="1763712"/>
            <a:ext cx="5464800" cy="2023757"/>
          </a:xfrm>
        </p:spPr>
        <p:txBody>
          <a:bodyPr/>
          <a:lstStyle/>
          <a:p>
            <a:pPr lvl="0"/>
            <a:r>
              <a:rPr lang="en-US" dirty="0"/>
              <a:t>Click icons to insert table/SmartArt, or insert chart via </a:t>
            </a:r>
            <a:r>
              <a:rPr lang="en-US" noProof="1"/>
              <a:t>CorporateCharts</a:t>
            </a:r>
            <a:r>
              <a:rPr lang="en-US" dirty="0"/>
              <a:t> or image via </a:t>
            </a:r>
            <a:r>
              <a:rPr lang="en-US" noProof="1"/>
              <a:t>ImageTool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Content Placeholder 5"/>
          <p:cNvSpPr>
            <a:spLocks noGrp="1"/>
          </p:cNvSpPr>
          <p:nvPr>
            <p:ph sz="quarter" idx="16" hasCustomPrompt="1"/>
          </p:nvPr>
        </p:nvSpPr>
        <p:spPr>
          <a:xfrm>
            <a:off x="6238875" y="3967469"/>
            <a:ext cx="5464800" cy="2023755"/>
          </a:xfrm>
        </p:spPr>
        <p:txBody>
          <a:bodyPr/>
          <a:lstStyle>
            <a:lvl1pPr marL="0" marR="0" indent="0" algn="l" defTabSz="914400" rtl="0" eaLnBrk="1" fontAlgn="auto" latinLnBrk="0" hangingPunct="1">
              <a:lnSpc>
                <a:spcPct val="97000"/>
              </a:lnSpc>
              <a:spcBef>
                <a:spcPts val="0"/>
              </a:spcBef>
              <a:spcAft>
                <a:spcPts val="1000"/>
              </a:spcAft>
              <a:buClrTx/>
              <a:buSzTx/>
              <a:buFont typeface="Arial" panose="020B0604020202020204" pitchFamily="34" charset="0"/>
              <a:buNone/>
              <a:tabLst/>
              <a:defRPr/>
            </a:lvl1pPr>
          </a:lstStyle>
          <a:p>
            <a:pPr marL="0" marR="0" lvl="0" indent="0" algn="l" defTabSz="914400" rtl="0" eaLnBrk="1" fontAlgn="auto" latinLnBrk="0" hangingPunct="1">
              <a:lnSpc>
                <a:spcPct val="97000"/>
              </a:lnSpc>
              <a:spcBef>
                <a:spcPts val="0"/>
              </a:spcBef>
              <a:spcAft>
                <a:spcPts val="1000"/>
              </a:spcAft>
              <a:buClrTx/>
              <a:buSzTx/>
              <a:buFont typeface="Arial" panose="020B0604020202020204" pitchFamily="34" charset="0"/>
              <a:buChar char="​"/>
              <a:tabLst/>
              <a:defRPr/>
            </a:pPr>
            <a:r>
              <a:rPr lang="en-US" dirty="0"/>
              <a:t>Click icons to insert table/SmartArt, or insert chart via </a:t>
            </a:r>
            <a:r>
              <a:rPr lang="en-US" noProof="1"/>
              <a:t>CorporateCharts</a:t>
            </a:r>
            <a:r>
              <a:rPr lang="en-US" dirty="0"/>
              <a:t> or image via </a:t>
            </a:r>
            <a:r>
              <a:rPr lang="en-US" noProof="1"/>
              <a:t>ImageTools</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Date Placeholder 2"/>
          <p:cNvSpPr>
            <a:spLocks noGrp="1"/>
          </p:cNvSpPr>
          <p:nvPr>
            <p:ph type="dt" sz="half" idx="10"/>
          </p:nvPr>
        </p:nvSpPr>
        <p:spPr/>
        <p:txBody>
          <a:bodyPr/>
          <a:lstStyle/>
          <a:p>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45D37B1E-C366-494F-A587-962AD9AABC83}" type="slidenum">
              <a:rPr lang="en-US" smtClean="0"/>
              <a:pPr/>
              <a:t>‹#›</a:t>
            </a:fld>
            <a:endParaRPr lang="en-US" dirty="0"/>
          </a:p>
        </p:txBody>
      </p:sp>
    </p:spTree>
    <p:extLst>
      <p:ext uri="{BB962C8B-B14F-4D97-AF65-F5344CB8AC3E}">
        <p14:creationId xmlns:p14="http://schemas.microsoft.com/office/powerpoint/2010/main" val="2066627174"/>
      </p:ext>
    </p:extLst>
  </p:cSld>
  <p:clrMapOvr>
    <a:masterClrMapping/>
  </p:clrMapOvr>
  <p:hf sldNum="0" hdr="0" ftr="0" dt="0"/>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Four content II">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add title</a:t>
            </a:r>
          </a:p>
        </p:txBody>
      </p:sp>
      <p:sp>
        <p:nvSpPr>
          <p:cNvPr id="7" name="Content Placeholder 2"/>
          <p:cNvSpPr>
            <a:spLocks noGrp="1"/>
          </p:cNvSpPr>
          <p:nvPr>
            <p:ph sz="quarter" idx="13" hasCustomPrompt="1"/>
          </p:nvPr>
        </p:nvSpPr>
        <p:spPr>
          <a:xfrm>
            <a:off x="487363" y="1763714"/>
            <a:ext cx="2587625" cy="4227511"/>
          </a:xfrm>
        </p:spPr>
        <p:txBody>
          <a:bodyPr/>
          <a:lstStyle>
            <a:lvl1pPr>
              <a:lnSpc>
                <a:spcPct val="100000"/>
              </a:lnSpc>
              <a:defRPr sz="1400"/>
            </a:lvl1pPr>
            <a:lvl2pPr marL="0" indent="0">
              <a:lnSpc>
                <a:spcPct val="100000"/>
              </a:lnSpc>
              <a:spcAft>
                <a:spcPts val="0"/>
              </a:spcAft>
              <a:defRPr sz="1400"/>
            </a:lvl2pPr>
            <a:lvl3pPr marL="176400" indent="-176400">
              <a:lnSpc>
                <a:spcPct val="100000"/>
              </a:lnSpc>
              <a:spcAft>
                <a:spcPts val="600"/>
              </a:spcAft>
              <a:defRPr sz="1400"/>
            </a:lvl3pPr>
            <a:lvl4pPr marL="324000" indent="-144000">
              <a:spcAft>
                <a:spcPts val="600"/>
              </a:spcAft>
              <a:defRPr sz="1200"/>
            </a:lvl4pPr>
            <a:lvl5pPr marL="324000" indent="-144000">
              <a:spcAft>
                <a:spcPts val="600"/>
              </a:spcAft>
              <a:defRPr sz="1200"/>
            </a:lvl5pPr>
          </a:lstStyle>
          <a:p>
            <a:pPr lvl="0"/>
            <a:r>
              <a:rPr lang="en-US" dirty="0"/>
              <a:t>Click icons to insert table/SmartArt, or insert chart via </a:t>
            </a:r>
            <a:r>
              <a:rPr lang="en-US" noProof="1"/>
              <a:t>CorporateCharts</a:t>
            </a:r>
            <a:r>
              <a:rPr lang="en-US" dirty="0"/>
              <a:t> or image via </a:t>
            </a:r>
            <a:r>
              <a:rPr lang="en-US" noProof="1"/>
              <a:t>ImageTool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3"/>
          <p:cNvSpPr>
            <a:spLocks noGrp="1"/>
          </p:cNvSpPr>
          <p:nvPr>
            <p:ph sz="quarter" idx="14" hasCustomPrompt="1"/>
          </p:nvPr>
        </p:nvSpPr>
        <p:spPr>
          <a:xfrm>
            <a:off x="3363913" y="1763714"/>
            <a:ext cx="2587625" cy="4227511"/>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1400"/>
            </a:lvl1pPr>
            <a:lvl2pPr marL="0" indent="0">
              <a:lnSpc>
                <a:spcPct val="100000"/>
              </a:lnSpc>
              <a:spcAft>
                <a:spcPts val="0"/>
              </a:spcAft>
              <a:defRPr sz="1400"/>
            </a:lvl2pPr>
            <a:lvl3pPr marL="176400" indent="-176400">
              <a:lnSpc>
                <a:spcPct val="100000"/>
              </a:lnSpc>
              <a:spcAft>
                <a:spcPts val="600"/>
              </a:spcAft>
              <a:defRPr sz="1400"/>
            </a:lvl3pPr>
            <a:lvl4pPr marL="324000" indent="-144000">
              <a:spcAft>
                <a:spcPts val="600"/>
              </a:spcAft>
              <a:defRPr sz="1200"/>
            </a:lvl4pPr>
            <a:lvl5pPr marL="324000" indent="-144000">
              <a:spcAft>
                <a:spcPts val="600"/>
              </a:spcAft>
              <a:defRPr sz="1200"/>
            </a:lvl5pPr>
          </a:lstStyle>
          <a:p>
            <a:pPr marL="0" marR="0" lvl="0" indent="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r>
              <a:rPr lang="en-US" dirty="0"/>
              <a:t>Click icons to insert table/SmartArt, or insert chart via </a:t>
            </a:r>
            <a:r>
              <a:rPr lang="en-US" noProof="1"/>
              <a:t>CorporateCharts</a:t>
            </a:r>
            <a:r>
              <a:rPr lang="en-US" dirty="0"/>
              <a:t> or image via </a:t>
            </a:r>
            <a:r>
              <a:rPr lang="en-US" noProof="1"/>
              <a:t>ImageTools</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Content Placeholder 4"/>
          <p:cNvSpPr>
            <a:spLocks noGrp="1"/>
          </p:cNvSpPr>
          <p:nvPr>
            <p:ph sz="quarter" idx="15" hasCustomPrompt="1"/>
          </p:nvPr>
        </p:nvSpPr>
        <p:spPr>
          <a:xfrm>
            <a:off x="6238875" y="1763714"/>
            <a:ext cx="2587625" cy="4227512"/>
          </a:xfrm>
        </p:spPr>
        <p:txBody>
          <a:bodyPr/>
          <a:lstStyle>
            <a:lvl1pPr>
              <a:lnSpc>
                <a:spcPct val="100000"/>
              </a:lnSpc>
              <a:defRPr sz="1400"/>
            </a:lvl1pPr>
            <a:lvl2pPr marL="0" indent="0">
              <a:lnSpc>
                <a:spcPct val="100000"/>
              </a:lnSpc>
              <a:spcAft>
                <a:spcPts val="0"/>
              </a:spcAft>
              <a:defRPr sz="1400"/>
            </a:lvl2pPr>
            <a:lvl3pPr marL="176400" indent="-176400">
              <a:lnSpc>
                <a:spcPct val="100000"/>
              </a:lnSpc>
              <a:spcAft>
                <a:spcPts val="600"/>
              </a:spcAft>
              <a:defRPr sz="1400"/>
            </a:lvl3pPr>
            <a:lvl4pPr marL="324000" indent="-144000">
              <a:spcAft>
                <a:spcPts val="600"/>
              </a:spcAft>
              <a:defRPr sz="1200"/>
            </a:lvl4pPr>
            <a:lvl5pPr marL="324000" indent="-144000">
              <a:spcAft>
                <a:spcPts val="600"/>
              </a:spcAft>
              <a:defRPr sz="1200"/>
            </a:lvl5pPr>
          </a:lstStyle>
          <a:p>
            <a:pPr lvl="0"/>
            <a:r>
              <a:rPr lang="en-US" dirty="0"/>
              <a:t>Click icons to insert table/SmartArt, or insert chart via </a:t>
            </a:r>
            <a:r>
              <a:rPr lang="en-US" noProof="1"/>
              <a:t>CorporateCharts</a:t>
            </a:r>
            <a:r>
              <a:rPr lang="en-US" dirty="0"/>
              <a:t> or image via </a:t>
            </a:r>
            <a:r>
              <a:rPr lang="en-US" noProof="1"/>
              <a:t>ImageTool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Content Placeholder 5"/>
          <p:cNvSpPr>
            <a:spLocks noGrp="1"/>
          </p:cNvSpPr>
          <p:nvPr>
            <p:ph sz="quarter" idx="16" hasCustomPrompt="1"/>
          </p:nvPr>
        </p:nvSpPr>
        <p:spPr>
          <a:xfrm>
            <a:off x="9115425" y="1763713"/>
            <a:ext cx="2587625" cy="4227512"/>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1400"/>
            </a:lvl1pPr>
            <a:lvl2pPr marL="0" indent="0">
              <a:lnSpc>
                <a:spcPct val="100000"/>
              </a:lnSpc>
              <a:spcAft>
                <a:spcPts val="0"/>
              </a:spcAft>
              <a:defRPr sz="1400"/>
            </a:lvl2pPr>
            <a:lvl3pPr marL="176400" indent="-176400">
              <a:lnSpc>
                <a:spcPct val="100000"/>
              </a:lnSpc>
              <a:spcAft>
                <a:spcPts val="600"/>
              </a:spcAft>
              <a:defRPr sz="1400"/>
            </a:lvl3pPr>
            <a:lvl4pPr marL="324000" indent="-144000">
              <a:spcAft>
                <a:spcPts val="600"/>
              </a:spcAft>
              <a:defRPr sz="1200"/>
            </a:lvl4pPr>
            <a:lvl5pPr marL="324000" indent="-144000">
              <a:spcAft>
                <a:spcPts val="600"/>
              </a:spcAft>
              <a:defRPr sz="1200"/>
            </a:lvl5pPr>
          </a:lstStyle>
          <a:p>
            <a:pPr marL="0" marR="0" lvl="0" indent="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r>
              <a:rPr lang="en-US" dirty="0"/>
              <a:t>Click icons to insert table/SmartArt, or insert chart via </a:t>
            </a:r>
            <a:r>
              <a:rPr lang="en-US" noProof="1"/>
              <a:t>CorporateCharts</a:t>
            </a:r>
            <a:r>
              <a:rPr lang="en-US" dirty="0"/>
              <a:t> or image via </a:t>
            </a:r>
            <a:r>
              <a:rPr lang="en-US" noProof="1"/>
              <a:t>ImageTools</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Date Placeholder 2"/>
          <p:cNvSpPr>
            <a:spLocks noGrp="1"/>
          </p:cNvSpPr>
          <p:nvPr>
            <p:ph type="dt" sz="half" idx="10"/>
          </p:nvPr>
        </p:nvSpPr>
        <p:spPr/>
        <p:txBody>
          <a:bodyPr/>
          <a:lstStyle/>
          <a:p>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45D37B1E-C366-494F-A587-962AD9AABC83}" type="slidenum">
              <a:rPr lang="en-US" smtClean="0"/>
              <a:pPr/>
              <a:t>‹#›</a:t>
            </a:fld>
            <a:endParaRPr lang="en-US" dirty="0"/>
          </a:p>
        </p:txBody>
      </p:sp>
    </p:spTree>
    <p:extLst>
      <p:ext uri="{BB962C8B-B14F-4D97-AF65-F5344CB8AC3E}">
        <p14:creationId xmlns:p14="http://schemas.microsoft.com/office/powerpoint/2010/main" val="595508188"/>
      </p:ext>
    </p:extLst>
  </p:cSld>
  <p:clrMapOvr>
    <a:masterClrMapping/>
  </p:clrMapOvr>
  <p:hf sldNum="0"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hree content and three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add title</a:t>
            </a:r>
          </a:p>
        </p:txBody>
      </p:sp>
      <p:sp>
        <p:nvSpPr>
          <p:cNvPr id="7" name="Content Placeholder 2"/>
          <p:cNvSpPr>
            <a:spLocks noGrp="1"/>
          </p:cNvSpPr>
          <p:nvPr>
            <p:ph sz="quarter" idx="13" hasCustomPrompt="1"/>
          </p:nvPr>
        </p:nvSpPr>
        <p:spPr>
          <a:xfrm>
            <a:off x="487364" y="1763712"/>
            <a:ext cx="3546474" cy="2024063"/>
          </a:xfrm>
        </p:spPr>
        <p:txBody>
          <a:bodyPr/>
          <a:lstStyle>
            <a:lvl1pPr>
              <a:lnSpc>
                <a:spcPct val="100000"/>
              </a:lnSpc>
              <a:defRPr sz="1600"/>
            </a:lvl1pPr>
            <a:lvl2pPr>
              <a:lnSpc>
                <a:spcPct val="100000"/>
              </a:lnSpc>
              <a:defRPr sz="1600"/>
            </a:lvl2pPr>
            <a:lvl3pPr marL="176400" indent="-176400">
              <a:lnSpc>
                <a:spcPct val="100000"/>
              </a:lnSpc>
              <a:defRPr sz="1600"/>
            </a:lvl3pPr>
            <a:lvl4pPr marL="356400" indent="-176400">
              <a:defRPr sz="1400"/>
            </a:lvl4pPr>
            <a:lvl5pPr marL="536400" indent="-176400">
              <a:defRPr/>
            </a:lvl5pPr>
          </a:lstStyle>
          <a:p>
            <a:pPr lvl="0"/>
            <a:r>
              <a:rPr lang="en-US" dirty="0"/>
              <a:t>Click icons to insert table/SmartArt, or insert chart via </a:t>
            </a:r>
            <a:r>
              <a:rPr lang="en-US" noProof="1"/>
              <a:t>CorporateCharts</a:t>
            </a:r>
            <a:r>
              <a:rPr lang="en-US" dirty="0"/>
              <a:t> or image via </a:t>
            </a:r>
            <a:r>
              <a:rPr lang="en-US" noProof="1"/>
              <a:t>ImageTool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3"/>
          <p:cNvSpPr>
            <a:spLocks noGrp="1"/>
          </p:cNvSpPr>
          <p:nvPr>
            <p:ph type="body" sz="quarter" idx="24" hasCustomPrompt="1"/>
          </p:nvPr>
        </p:nvSpPr>
        <p:spPr>
          <a:xfrm>
            <a:off x="487362" y="3970337"/>
            <a:ext cx="3546475" cy="2023200"/>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1600"/>
            </a:lvl1pPr>
            <a:lvl2pPr>
              <a:lnSpc>
                <a:spcPct val="100000"/>
              </a:lnSpc>
              <a:defRPr sz="1600"/>
            </a:lvl2pPr>
            <a:lvl3pPr marL="176400" indent="-176400">
              <a:lnSpc>
                <a:spcPct val="100000"/>
              </a:lnSpc>
              <a:defRPr sz="1600"/>
            </a:lvl3pPr>
            <a:lvl4pPr marL="356400" indent="-176400">
              <a:defRPr sz="1400"/>
            </a:lvl4pPr>
            <a:lvl5pPr marL="356400" indent="-176400">
              <a:defRPr/>
            </a:lvl5pPr>
          </a:lstStyle>
          <a:p>
            <a:pPr marL="0" marR="0" lvl="0" indent="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r>
              <a:rPr lang="en-US" dirty="0"/>
              <a:t>Click icons to insert table/SmartArt, or insert chart via </a:t>
            </a:r>
            <a:r>
              <a:rPr lang="en-US" noProof="1"/>
              <a:t>CorporateCharts</a:t>
            </a:r>
            <a:r>
              <a:rPr lang="en-US" dirty="0"/>
              <a:t> or image via </a:t>
            </a:r>
            <a:r>
              <a:rPr lang="en-US" noProof="1"/>
              <a:t>ImageTools</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Content Placeholder 4"/>
          <p:cNvSpPr>
            <a:spLocks noGrp="1"/>
          </p:cNvSpPr>
          <p:nvPr>
            <p:ph sz="quarter" idx="20" hasCustomPrompt="1"/>
          </p:nvPr>
        </p:nvSpPr>
        <p:spPr>
          <a:xfrm>
            <a:off x="4319588" y="1763713"/>
            <a:ext cx="3546475" cy="2024063"/>
          </a:xfrm>
        </p:spPr>
        <p:txBody>
          <a:bodyPr/>
          <a:lstStyle>
            <a:lvl1pPr>
              <a:lnSpc>
                <a:spcPct val="100000"/>
              </a:lnSpc>
              <a:defRPr sz="1600"/>
            </a:lvl1pPr>
            <a:lvl2pPr>
              <a:lnSpc>
                <a:spcPct val="100000"/>
              </a:lnSpc>
              <a:defRPr sz="1600"/>
            </a:lvl2pPr>
            <a:lvl3pPr marL="176400" indent="-176400">
              <a:lnSpc>
                <a:spcPct val="100000"/>
              </a:lnSpc>
              <a:defRPr sz="1600"/>
            </a:lvl3pPr>
            <a:lvl4pPr marL="356400" indent="-176400">
              <a:defRPr sz="1400"/>
            </a:lvl4pPr>
            <a:lvl5pPr marL="536400" indent="-176400">
              <a:defRPr/>
            </a:lvl5pPr>
          </a:lstStyle>
          <a:p>
            <a:pPr lvl="0"/>
            <a:r>
              <a:rPr lang="en-US" dirty="0"/>
              <a:t>Click icons to insert table/SmartArt, or insert chart via </a:t>
            </a:r>
            <a:r>
              <a:rPr lang="en-US" noProof="1"/>
              <a:t>CorporateCharts</a:t>
            </a:r>
            <a:r>
              <a:rPr lang="en-US" dirty="0"/>
              <a:t> or image via </a:t>
            </a:r>
            <a:r>
              <a:rPr lang="en-US" noProof="1"/>
              <a:t>ImageTool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7" name="Text Placeholder 5"/>
          <p:cNvSpPr>
            <a:spLocks noGrp="1"/>
          </p:cNvSpPr>
          <p:nvPr>
            <p:ph type="body" sz="quarter" idx="25" hasCustomPrompt="1"/>
          </p:nvPr>
        </p:nvSpPr>
        <p:spPr>
          <a:xfrm>
            <a:off x="4319588" y="3970338"/>
            <a:ext cx="3546475" cy="2023200"/>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1600"/>
            </a:lvl1pPr>
            <a:lvl2pPr>
              <a:lnSpc>
                <a:spcPct val="100000"/>
              </a:lnSpc>
              <a:defRPr sz="1600"/>
            </a:lvl2pPr>
            <a:lvl3pPr marL="176400" indent="-176400">
              <a:lnSpc>
                <a:spcPct val="100000"/>
              </a:lnSpc>
              <a:defRPr sz="1600"/>
            </a:lvl3pPr>
            <a:lvl4pPr marL="356400" indent="-176400">
              <a:defRPr sz="1400"/>
            </a:lvl4pPr>
            <a:lvl5pPr marL="536400" indent="-176400">
              <a:defRPr/>
            </a:lvl5pPr>
          </a:lstStyle>
          <a:p>
            <a:pPr marL="0" marR="0" lvl="0" indent="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r>
              <a:rPr lang="en-US" dirty="0"/>
              <a:t>Click icons to insert table/SmartArt, or insert chart via </a:t>
            </a:r>
            <a:r>
              <a:rPr lang="en-US" noProof="1"/>
              <a:t>CorporateCharts</a:t>
            </a:r>
            <a:r>
              <a:rPr lang="en-US" dirty="0"/>
              <a:t> or image via </a:t>
            </a:r>
            <a:r>
              <a:rPr lang="en-US" noProof="1"/>
              <a:t>ImageTools</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sp>
        <p:nvSpPr>
          <p:cNvPr id="23" name="Content Placeholder 6"/>
          <p:cNvSpPr>
            <a:spLocks noGrp="1"/>
          </p:cNvSpPr>
          <p:nvPr>
            <p:ph sz="quarter" idx="22" hasCustomPrompt="1"/>
          </p:nvPr>
        </p:nvSpPr>
        <p:spPr>
          <a:xfrm>
            <a:off x="8156575" y="1763713"/>
            <a:ext cx="3546475" cy="2024063"/>
          </a:xfrm>
        </p:spPr>
        <p:txBody>
          <a:bodyPr/>
          <a:lstStyle>
            <a:lvl1pPr>
              <a:lnSpc>
                <a:spcPct val="100000"/>
              </a:lnSpc>
              <a:defRPr sz="1600"/>
            </a:lvl1pPr>
            <a:lvl2pPr>
              <a:lnSpc>
                <a:spcPct val="100000"/>
              </a:lnSpc>
              <a:defRPr sz="1600"/>
            </a:lvl2pPr>
            <a:lvl3pPr marL="176400" indent="-176400">
              <a:lnSpc>
                <a:spcPct val="100000"/>
              </a:lnSpc>
              <a:defRPr sz="1600"/>
            </a:lvl3pPr>
            <a:lvl4pPr marL="356400" indent="-176400">
              <a:defRPr sz="1400"/>
            </a:lvl4pPr>
            <a:lvl5pPr marL="536400" indent="-176400">
              <a:defRPr/>
            </a:lvl5pPr>
          </a:lstStyle>
          <a:p>
            <a:pPr lvl="0"/>
            <a:r>
              <a:rPr lang="en-US" dirty="0"/>
              <a:t>Click icons to insert table/SmartArt, or insert chart via </a:t>
            </a:r>
            <a:r>
              <a:rPr lang="en-US" noProof="1"/>
              <a:t>CorporateCharts</a:t>
            </a:r>
            <a:r>
              <a:rPr lang="en-US" dirty="0"/>
              <a:t> or image via </a:t>
            </a:r>
            <a:r>
              <a:rPr lang="en-US" noProof="1"/>
              <a:t>ImageTool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8" name="Text Placeholder 7"/>
          <p:cNvSpPr>
            <a:spLocks noGrp="1"/>
          </p:cNvSpPr>
          <p:nvPr>
            <p:ph type="body" sz="quarter" idx="26" hasCustomPrompt="1"/>
          </p:nvPr>
        </p:nvSpPr>
        <p:spPr>
          <a:xfrm>
            <a:off x="8156575" y="3970338"/>
            <a:ext cx="3546475" cy="2023200"/>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1600"/>
            </a:lvl1pPr>
            <a:lvl2pPr>
              <a:lnSpc>
                <a:spcPct val="100000"/>
              </a:lnSpc>
              <a:defRPr sz="1600"/>
            </a:lvl2pPr>
            <a:lvl3pPr marL="176400" indent="-176400">
              <a:lnSpc>
                <a:spcPct val="100000"/>
              </a:lnSpc>
              <a:defRPr sz="1600"/>
            </a:lvl3pPr>
            <a:lvl4pPr marL="356400" indent="-176400">
              <a:defRPr sz="1400"/>
            </a:lvl4pPr>
            <a:lvl5pPr marL="536400" indent="-176400">
              <a:defRPr/>
            </a:lvl5pPr>
          </a:lstStyle>
          <a:p>
            <a:pPr marL="0" marR="0" lvl="0" indent="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r>
              <a:rPr lang="en-US" dirty="0"/>
              <a:t>Click icons to insert table/SmartArt, or insert chart via </a:t>
            </a:r>
            <a:r>
              <a:rPr lang="en-US" noProof="1"/>
              <a:t>CorporateCharts</a:t>
            </a:r>
            <a:r>
              <a:rPr lang="en-US" dirty="0"/>
              <a:t> or image via </a:t>
            </a:r>
            <a:r>
              <a:rPr lang="en-US" noProof="1"/>
              <a:t>ImageTools</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Date Placeholder 2"/>
          <p:cNvSpPr>
            <a:spLocks noGrp="1"/>
          </p:cNvSpPr>
          <p:nvPr>
            <p:ph type="dt" sz="half" idx="10"/>
          </p:nvPr>
        </p:nvSpPr>
        <p:spPr/>
        <p:txBody>
          <a:bodyPr/>
          <a:lstStyle/>
          <a:p>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45D37B1E-C366-494F-A587-962AD9AABC83}" type="slidenum">
              <a:rPr lang="en-US" smtClean="0"/>
              <a:pPr/>
              <a:t>‹#›</a:t>
            </a:fld>
            <a:endParaRPr lang="en-US" dirty="0"/>
          </a:p>
        </p:txBody>
      </p:sp>
    </p:spTree>
    <p:extLst>
      <p:ext uri="{BB962C8B-B14F-4D97-AF65-F5344CB8AC3E}">
        <p14:creationId xmlns:p14="http://schemas.microsoft.com/office/powerpoint/2010/main" val="4124836531"/>
      </p:ext>
    </p:extLst>
  </p:cSld>
  <p:clrMapOvr>
    <a:masterClrMapping/>
  </p:clrMapOvr>
  <p:hf sldNum="0" hdr="0" ftr="0" dt="0"/>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Image and text I">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53400" y="604838"/>
            <a:ext cx="3554896" cy="863235"/>
          </a:xfrm>
        </p:spPr>
        <p:txBody>
          <a:bodyPr/>
          <a:lstStyle/>
          <a:p>
            <a:r>
              <a:rPr lang="en-US" dirty="0"/>
              <a:t>Click to add title</a:t>
            </a:r>
          </a:p>
        </p:txBody>
      </p:sp>
      <p:sp>
        <p:nvSpPr>
          <p:cNvPr id="9" name="Text Placeholder 2"/>
          <p:cNvSpPr>
            <a:spLocks noGrp="1"/>
          </p:cNvSpPr>
          <p:nvPr>
            <p:ph type="body" sz="quarter" idx="14" hasCustomPrompt="1"/>
          </p:nvPr>
        </p:nvSpPr>
        <p:spPr>
          <a:xfrm>
            <a:off x="8153401" y="1739899"/>
            <a:ext cx="3546000" cy="4251325"/>
          </a:xfrm>
        </p:spPr>
        <p:txBody>
          <a:bodyPr/>
          <a:lstStyle>
            <a:lvl1pPr>
              <a:defRPr/>
            </a:lvl1pPr>
          </a:lstStyle>
          <a:p>
            <a:pPr lvl="0"/>
            <a:r>
              <a:rPr lang="en-US" dirty="0"/>
              <a:t>Click to inser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Picture Placeholder 3"/>
          <p:cNvSpPr>
            <a:spLocks noGrp="1"/>
          </p:cNvSpPr>
          <p:nvPr>
            <p:ph type="pic" sz="quarter" idx="13"/>
          </p:nvPr>
        </p:nvSpPr>
        <p:spPr>
          <a:xfrm>
            <a:off x="-1" y="0"/>
            <a:ext cx="7869239" cy="6857999"/>
          </a:xfrm>
          <a:solidFill>
            <a:srgbClr val="DBDDDB"/>
          </a:solidFill>
        </p:spPr>
        <p:txBody>
          <a:bodyPr tIns="720000" anchor="ctr" anchorCtr="0"/>
          <a:lstStyle>
            <a:lvl1pPr algn="ctr">
              <a:defRPr/>
            </a:lvl1pPr>
          </a:lstStyle>
          <a:p>
            <a:r>
              <a:rPr lang="en-US"/>
              <a:t>Click icon to add picture</a:t>
            </a:r>
            <a:endParaRPr lang="en-US" dirty="0"/>
          </a:p>
        </p:txBody>
      </p:sp>
      <p:sp>
        <p:nvSpPr>
          <p:cNvPr id="3" name="Date Placeholder 2"/>
          <p:cNvSpPr>
            <a:spLocks noGrp="1"/>
          </p:cNvSpPr>
          <p:nvPr>
            <p:ph type="dt" sz="half" idx="10"/>
          </p:nvPr>
        </p:nvSpPr>
        <p:spPr/>
        <p:txBody>
          <a:bodyPr/>
          <a:lstStyle/>
          <a:p>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45D37B1E-C366-494F-A587-962AD9AABC83}" type="slidenum">
              <a:rPr lang="en-US" smtClean="0"/>
              <a:pPr/>
              <a:t>‹#›</a:t>
            </a:fld>
            <a:endParaRPr lang="en-US" dirty="0"/>
          </a:p>
        </p:txBody>
      </p:sp>
    </p:spTree>
    <p:extLst>
      <p:ext uri="{BB962C8B-B14F-4D97-AF65-F5344CB8AC3E}">
        <p14:creationId xmlns:p14="http://schemas.microsoft.com/office/powerpoint/2010/main" val="646303521"/>
      </p:ext>
    </p:extLst>
  </p:cSld>
  <p:clrMapOvr>
    <a:masterClrMapping/>
  </p:clrMapOvr>
  <p:hf sldNum="0" hdr="0" ftr="0" dt="0"/>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Image and text II">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38874" y="604838"/>
            <a:ext cx="5469421" cy="863235"/>
          </a:xfrm>
        </p:spPr>
        <p:txBody>
          <a:bodyPr/>
          <a:lstStyle/>
          <a:p>
            <a:r>
              <a:rPr lang="en-US" dirty="0"/>
              <a:t>Click to add title</a:t>
            </a:r>
          </a:p>
        </p:txBody>
      </p:sp>
      <p:sp>
        <p:nvSpPr>
          <p:cNvPr id="9" name="Text Placeholder 2"/>
          <p:cNvSpPr>
            <a:spLocks noGrp="1"/>
          </p:cNvSpPr>
          <p:nvPr>
            <p:ph type="body" sz="quarter" idx="14" hasCustomPrompt="1"/>
          </p:nvPr>
        </p:nvSpPr>
        <p:spPr>
          <a:xfrm>
            <a:off x="6238875" y="1739899"/>
            <a:ext cx="5464800" cy="4251325"/>
          </a:xfrm>
        </p:spPr>
        <p:txBody>
          <a:bodyPr/>
          <a:lstStyle>
            <a:lvl1pPr>
              <a:defRPr/>
            </a:lvl1pPr>
          </a:lstStyle>
          <a:p>
            <a:pPr lvl="0"/>
            <a:r>
              <a:rPr lang="en-US" dirty="0"/>
              <a:t>Click to inser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Picture Placeholder 3"/>
          <p:cNvSpPr>
            <a:spLocks noGrp="1"/>
          </p:cNvSpPr>
          <p:nvPr>
            <p:ph type="pic" sz="quarter" idx="13"/>
          </p:nvPr>
        </p:nvSpPr>
        <p:spPr>
          <a:xfrm>
            <a:off x="1" y="0"/>
            <a:ext cx="5951537" cy="6857999"/>
          </a:xfrm>
          <a:solidFill>
            <a:srgbClr val="DBDDDB"/>
          </a:solidFill>
        </p:spPr>
        <p:txBody>
          <a:bodyPr tIns="720000" anchor="ctr" anchorCtr="0"/>
          <a:lstStyle>
            <a:lvl1pPr algn="ctr">
              <a:defRPr/>
            </a:lvl1pPr>
          </a:lstStyle>
          <a:p>
            <a:r>
              <a:rPr lang="en-US"/>
              <a:t>Click icon to add picture</a:t>
            </a:r>
            <a:endParaRPr lang="en-US" dirty="0"/>
          </a:p>
        </p:txBody>
      </p:sp>
      <p:sp>
        <p:nvSpPr>
          <p:cNvPr id="3" name="Date Placeholder 2"/>
          <p:cNvSpPr>
            <a:spLocks noGrp="1"/>
          </p:cNvSpPr>
          <p:nvPr>
            <p:ph type="dt" sz="half" idx="10"/>
          </p:nvPr>
        </p:nvSpPr>
        <p:spPr/>
        <p:txBody>
          <a:bodyPr/>
          <a:lstStyle/>
          <a:p>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45D37B1E-C366-494F-A587-962AD9AABC83}" type="slidenum">
              <a:rPr lang="en-US" smtClean="0"/>
              <a:pPr/>
              <a:t>‹#›</a:t>
            </a:fld>
            <a:endParaRPr lang="en-US" dirty="0"/>
          </a:p>
        </p:txBody>
      </p:sp>
    </p:spTree>
    <p:extLst>
      <p:ext uri="{BB962C8B-B14F-4D97-AF65-F5344CB8AC3E}">
        <p14:creationId xmlns:p14="http://schemas.microsoft.com/office/powerpoint/2010/main" val="3280897414"/>
      </p:ext>
    </p:extLst>
  </p:cSld>
  <p:clrMapOvr>
    <a:masterClrMapping/>
  </p:clrMapOvr>
  <p:hf sldNum="0"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and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87362" y="1763713"/>
            <a:ext cx="8339137" cy="4227512"/>
          </a:xfrm>
        </p:spPr>
        <p:txBody>
          <a:bodyPr/>
          <a:lstStyle>
            <a:lvl1pPr>
              <a:defRPr/>
            </a:lvl1pPr>
          </a:lstStyle>
          <a:p>
            <a:pPr lvl="0"/>
            <a:r>
              <a:rPr lang="en-US" dirty="0"/>
              <a:t>Click to inser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hasCustomPrompt="1"/>
          </p:nvPr>
        </p:nvSpPr>
        <p:spPr>
          <a:xfrm>
            <a:off x="465712" y="604838"/>
            <a:ext cx="8360788" cy="863235"/>
          </a:xfrm>
        </p:spPr>
        <p:txBody>
          <a:bodyPr/>
          <a:lstStyle/>
          <a:p>
            <a:r>
              <a:rPr lang="en-US" dirty="0"/>
              <a:t>Click to add title</a:t>
            </a:r>
          </a:p>
        </p:txBody>
      </p:sp>
      <p:sp>
        <p:nvSpPr>
          <p:cNvPr id="3" name="Date Placeholder 2"/>
          <p:cNvSpPr>
            <a:spLocks noGrp="1"/>
          </p:cNvSpPr>
          <p:nvPr>
            <p:ph type="dt" sz="half" idx="10"/>
          </p:nvPr>
        </p:nvSpPr>
        <p:spPr/>
        <p:txBody>
          <a:bodyPr/>
          <a:lstStyle/>
          <a:p>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45D37B1E-C366-494F-A587-962AD9AABC83}" type="slidenum">
              <a:rPr lang="en-US" smtClean="0"/>
              <a:pPr/>
              <a:t>‹#›</a:t>
            </a:fld>
            <a:endParaRPr lang="en-US" dirty="0"/>
          </a:p>
        </p:txBody>
      </p:sp>
    </p:spTree>
    <p:extLst>
      <p:ext uri="{BB962C8B-B14F-4D97-AF65-F5344CB8AC3E}">
        <p14:creationId xmlns:p14="http://schemas.microsoft.com/office/powerpoint/2010/main" val="3741990772"/>
      </p:ext>
    </p:extLst>
  </p:cSld>
  <p:clrMapOvr>
    <a:masterClrMapping/>
  </p:clrMapOvr>
  <p:hf sldNum="0" hdr="0" ftr="0" dt="0"/>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Image and text III">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12034" y="604838"/>
            <a:ext cx="7389430" cy="863235"/>
          </a:xfrm>
        </p:spPr>
        <p:txBody>
          <a:bodyPr/>
          <a:lstStyle>
            <a:lvl1pPr>
              <a:defRPr/>
            </a:lvl1pPr>
          </a:lstStyle>
          <a:p>
            <a:r>
              <a:rPr lang="en-US" dirty="0"/>
              <a:t>Click to add title</a:t>
            </a:r>
          </a:p>
        </p:txBody>
      </p:sp>
      <p:sp>
        <p:nvSpPr>
          <p:cNvPr id="9" name="Text Placeholder 2"/>
          <p:cNvSpPr>
            <a:spLocks noGrp="1"/>
          </p:cNvSpPr>
          <p:nvPr>
            <p:ph type="body" sz="quarter" idx="14" hasCustomPrompt="1"/>
          </p:nvPr>
        </p:nvSpPr>
        <p:spPr>
          <a:xfrm>
            <a:off x="4319588" y="1739899"/>
            <a:ext cx="7381875" cy="4251325"/>
          </a:xfrm>
        </p:spPr>
        <p:txBody>
          <a:bodyPr/>
          <a:lstStyle>
            <a:lvl1pPr>
              <a:defRPr/>
            </a:lvl1pPr>
          </a:lstStyle>
          <a:p>
            <a:pPr lvl="0"/>
            <a:r>
              <a:rPr lang="en-US" dirty="0"/>
              <a:t>Click to inser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Picture Placeholder 3"/>
          <p:cNvSpPr>
            <a:spLocks noGrp="1"/>
          </p:cNvSpPr>
          <p:nvPr>
            <p:ph type="pic" sz="quarter" idx="13"/>
          </p:nvPr>
        </p:nvSpPr>
        <p:spPr>
          <a:xfrm>
            <a:off x="1" y="0"/>
            <a:ext cx="4033837" cy="6857999"/>
          </a:xfrm>
          <a:solidFill>
            <a:srgbClr val="DBDDDB"/>
          </a:solidFill>
        </p:spPr>
        <p:txBody>
          <a:bodyPr tIns="720000" anchor="ctr" anchorCtr="0"/>
          <a:lstStyle>
            <a:lvl1pPr algn="ctr">
              <a:defRPr/>
            </a:lvl1pPr>
          </a:lstStyle>
          <a:p>
            <a:r>
              <a:rPr lang="en-US"/>
              <a:t>Click icon to add picture</a:t>
            </a:r>
            <a:endParaRPr lang="en-US" dirty="0"/>
          </a:p>
        </p:txBody>
      </p:sp>
      <p:sp>
        <p:nvSpPr>
          <p:cNvPr id="3" name="Date Placeholder 2"/>
          <p:cNvSpPr>
            <a:spLocks noGrp="1"/>
          </p:cNvSpPr>
          <p:nvPr>
            <p:ph type="dt" sz="half" idx="10"/>
          </p:nvPr>
        </p:nvSpPr>
        <p:spPr/>
        <p:txBody>
          <a:bodyPr/>
          <a:lstStyle/>
          <a:p>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45D37B1E-C366-494F-A587-962AD9AABC83}" type="slidenum">
              <a:rPr lang="en-US" smtClean="0"/>
              <a:pPr/>
              <a:t>‹#›</a:t>
            </a:fld>
            <a:endParaRPr lang="en-US" dirty="0"/>
          </a:p>
        </p:txBody>
      </p:sp>
    </p:spTree>
    <p:extLst>
      <p:ext uri="{BB962C8B-B14F-4D97-AF65-F5344CB8AC3E}">
        <p14:creationId xmlns:p14="http://schemas.microsoft.com/office/powerpoint/2010/main" val="3194877158"/>
      </p:ext>
    </p:extLst>
  </p:cSld>
  <p:clrMapOvr>
    <a:masterClrMapping/>
  </p:clrMapOvr>
  <p:hf sldNum="0" hdr="0" ftr="0" dt="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Image and text IV">
    <p:spTree>
      <p:nvGrpSpPr>
        <p:cNvPr id="1" name=""/>
        <p:cNvGrpSpPr/>
        <p:nvPr/>
      </p:nvGrpSpPr>
      <p:grpSpPr>
        <a:xfrm>
          <a:off x="0" y="0"/>
          <a:ext cx="0" cy="0"/>
          <a:chOff x="0" y="0"/>
          <a:chExt cx="0" cy="0"/>
        </a:xfrm>
      </p:grpSpPr>
      <p:sp>
        <p:nvSpPr>
          <p:cNvPr id="9" name="Text Placeholder 2"/>
          <p:cNvSpPr>
            <a:spLocks noGrp="1"/>
          </p:cNvSpPr>
          <p:nvPr>
            <p:ph type="body" sz="quarter" idx="14" hasCustomPrompt="1"/>
          </p:nvPr>
        </p:nvSpPr>
        <p:spPr>
          <a:xfrm>
            <a:off x="487363" y="4824777"/>
            <a:ext cx="8339137" cy="1166447"/>
          </a:xfrm>
        </p:spPr>
        <p:txBody>
          <a:bodyPr/>
          <a:lstStyle>
            <a:lvl1pPr>
              <a:defRPr/>
            </a:lvl1pPr>
            <a:lvl2pPr>
              <a:spcBef>
                <a:spcPts val="0"/>
              </a:spcBef>
              <a:defRPr/>
            </a:lvl2pPr>
            <a:lvl3pPr>
              <a:spcBef>
                <a:spcPts val="0"/>
              </a:spcBef>
              <a:defRPr/>
            </a:lvl3pPr>
            <a:lvl4pPr>
              <a:spcBef>
                <a:spcPts val="0"/>
              </a:spcBef>
              <a:defRPr/>
            </a:lvl4pPr>
            <a:lvl5pPr>
              <a:spcBef>
                <a:spcPts val="0"/>
              </a:spcBef>
              <a:defRPr/>
            </a:lvl5pPr>
          </a:lstStyle>
          <a:p>
            <a:pPr lvl="0"/>
            <a:r>
              <a:rPr lang="en-US" dirty="0"/>
              <a:t>Click to inser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Picture Placeholder 3"/>
          <p:cNvSpPr>
            <a:spLocks noGrp="1"/>
          </p:cNvSpPr>
          <p:nvPr>
            <p:ph type="pic" sz="quarter" idx="13"/>
          </p:nvPr>
        </p:nvSpPr>
        <p:spPr>
          <a:xfrm>
            <a:off x="-1" y="0"/>
            <a:ext cx="12192001" cy="4680000"/>
          </a:xfrm>
          <a:solidFill>
            <a:srgbClr val="DBDDDB"/>
          </a:solidFill>
        </p:spPr>
        <p:txBody>
          <a:bodyPr tIns="720000" anchor="ctr" anchorCtr="0"/>
          <a:lstStyle>
            <a:lvl1pPr algn="ctr">
              <a:defRPr/>
            </a:lvl1pPr>
          </a:lstStyle>
          <a:p>
            <a:r>
              <a:rPr lang="en-US"/>
              <a:t>Click icon to add picture</a:t>
            </a:r>
            <a:endParaRPr lang="en-US" dirty="0"/>
          </a:p>
        </p:txBody>
      </p:sp>
      <p:sp>
        <p:nvSpPr>
          <p:cNvPr id="3" name="Date Placeholder 2"/>
          <p:cNvSpPr>
            <a:spLocks noGrp="1"/>
          </p:cNvSpPr>
          <p:nvPr>
            <p:ph type="dt" sz="half" idx="10"/>
          </p:nvPr>
        </p:nvSpPr>
        <p:spPr/>
        <p:txBody>
          <a:bodyPr/>
          <a:lstStyle/>
          <a:p>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45D37B1E-C366-494F-A587-962AD9AABC83}" type="slidenum">
              <a:rPr lang="en-US" smtClean="0"/>
              <a:pPr/>
              <a:t>‹#›</a:t>
            </a:fld>
            <a:endParaRPr lang="en-US" dirty="0"/>
          </a:p>
        </p:txBody>
      </p:sp>
    </p:spTree>
    <p:extLst>
      <p:ext uri="{BB962C8B-B14F-4D97-AF65-F5344CB8AC3E}">
        <p14:creationId xmlns:p14="http://schemas.microsoft.com/office/powerpoint/2010/main" val="347659814"/>
      </p:ext>
    </p:extLst>
  </p:cSld>
  <p:clrMapOvr>
    <a:masterClrMapping/>
  </p:clrMapOvr>
  <p:hf sldNum="0" hdr="0" ftr="0" dt="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itle and imag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add title</a:t>
            </a:r>
          </a:p>
        </p:txBody>
      </p:sp>
      <p:sp>
        <p:nvSpPr>
          <p:cNvPr id="7" name="Picture Placeholder 2"/>
          <p:cNvSpPr>
            <a:spLocks noGrp="1"/>
          </p:cNvSpPr>
          <p:nvPr>
            <p:ph type="pic" sz="quarter" idx="13"/>
          </p:nvPr>
        </p:nvSpPr>
        <p:spPr>
          <a:xfrm>
            <a:off x="0" y="1760538"/>
            <a:ext cx="12192000" cy="4230687"/>
          </a:xfrm>
          <a:solidFill>
            <a:srgbClr val="DBDDDB"/>
          </a:solidFill>
        </p:spPr>
        <p:txBody>
          <a:bodyPr tIns="720000" anchor="ctr" anchorCtr="0"/>
          <a:lstStyle>
            <a:lvl1pPr algn="ctr">
              <a:defRPr/>
            </a:lvl1pPr>
          </a:lstStyle>
          <a:p>
            <a:r>
              <a:rPr lang="en-US"/>
              <a:t>Click icon to add picture</a:t>
            </a:r>
            <a:endParaRPr lang="en-US" dirty="0"/>
          </a:p>
        </p:txBody>
      </p:sp>
      <p:sp>
        <p:nvSpPr>
          <p:cNvPr id="3" name="Date Placeholder 2"/>
          <p:cNvSpPr>
            <a:spLocks noGrp="1"/>
          </p:cNvSpPr>
          <p:nvPr>
            <p:ph type="dt" sz="half" idx="10"/>
          </p:nvPr>
        </p:nvSpPr>
        <p:spPr/>
        <p:txBody>
          <a:bodyPr/>
          <a:lstStyle/>
          <a:p>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45D37B1E-C366-494F-A587-962AD9AABC83}" type="slidenum">
              <a:rPr lang="en-US" smtClean="0"/>
              <a:pPr/>
              <a:t>‹#›</a:t>
            </a:fld>
            <a:endParaRPr lang="en-US" dirty="0"/>
          </a:p>
        </p:txBody>
      </p:sp>
    </p:spTree>
    <p:extLst>
      <p:ext uri="{BB962C8B-B14F-4D97-AF65-F5344CB8AC3E}">
        <p14:creationId xmlns:p14="http://schemas.microsoft.com/office/powerpoint/2010/main" val="3662995028"/>
      </p:ext>
    </p:extLst>
  </p:cSld>
  <p:clrMapOvr>
    <a:masterClrMapping/>
  </p:clrMapOvr>
  <p:hf sldNum="0" hdr="0" ftr="0" dt="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Image (white logo)">
    <p:spTree>
      <p:nvGrpSpPr>
        <p:cNvPr id="1" name=""/>
        <p:cNvGrpSpPr/>
        <p:nvPr/>
      </p:nvGrpSpPr>
      <p:grpSpPr>
        <a:xfrm>
          <a:off x="0" y="0"/>
          <a:ext cx="0" cy="0"/>
          <a:chOff x="0" y="0"/>
          <a:chExt cx="0" cy="0"/>
        </a:xfrm>
      </p:grpSpPr>
      <p:sp>
        <p:nvSpPr>
          <p:cNvPr id="7" name="Picture Placeholder 2"/>
          <p:cNvSpPr>
            <a:spLocks noGrp="1"/>
          </p:cNvSpPr>
          <p:nvPr>
            <p:ph type="pic" sz="quarter" idx="13"/>
          </p:nvPr>
        </p:nvSpPr>
        <p:spPr>
          <a:xfrm>
            <a:off x="0" y="0"/>
            <a:ext cx="12192000" cy="6858000"/>
          </a:xfrm>
          <a:solidFill>
            <a:srgbClr val="DBDDDB"/>
          </a:solidFill>
        </p:spPr>
        <p:txBody>
          <a:bodyPr tIns="720000" anchor="ctr" anchorCtr="0"/>
          <a:lstStyle>
            <a:lvl1pPr algn="ctr">
              <a:defRPr/>
            </a:lvl1pPr>
          </a:lstStyle>
          <a:p>
            <a:r>
              <a:rPr lang="en-US"/>
              <a:t>Click icon to add picture</a:t>
            </a:r>
            <a:endParaRPr lang="en-US" dirty="0"/>
          </a:p>
        </p:txBody>
      </p:sp>
      <p:sp>
        <p:nvSpPr>
          <p:cNvPr id="6" name="Text Placeholder 5"/>
          <p:cNvSpPr>
            <a:spLocks noGrp="1"/>
          </p:cNvSpPr>
          <p:nvPr>
            <p:ph type="body" sz="quarter" idx="14" hasCustomPrompt="1"/>
          </p:nvPr>
        </p:nvSpPr>
        <p:spPr>
          <a:xfrm>
            <a:off x="10224000" y="6238800"/>
            <a:ext cx="1476000" cy="435600"/>
          </a:xfrm>
          <a:blipFill>
            <a:blip r:embed="rId2"/>
            <a:stretch>
              <a:fillRect/>
            </a:stretch>
          </a:blipFill>
        </p:spPr>
        <p:txBody>
          <a:bodyPr/>
          <a:lstStyle>
            <a:lvl1pPr>
              <a:defRPr sz="100"/>
            </a:lvl1pPr>
          </a:lstStyle>
          <a:p>
            <a:pPr lvl="0"/>
            <a:r>
              <a:rPr lang="en-US" dirty="0"/>
              <a:t>,</a:t>
            </a:r>
          </a:p>
        </p:txBody>
      </p:sp>
      <p:sp>
        <p:nvSpPr>
          <p:cNvPr id="11" name="Slide Number Placeholder 10"/>
          <p:cNvSpPr>
            <a:spLocks noGrp="1"/>
          </p:cNvSpPr>
          <p:nvPr>
            <p:ph type="sldNum" sz="quarter" idx="17"/>
          </p:nvPr>
        </p:nvSpPr>
        <p:spPr/>
        <p:txBody>
          <a:bodyPr/>
          <a:lstStyle>
            <a:lvl1pPr>
              <a:defRPr>
                <a:solidFill>
                  <a:schemeClr val="bg1"/>
                </a:solidFill>
              </a:defRPr>
            </a:lvl1pPr>
          </a:lstStyle>
          <a:p>
            <a:fld id="{45D37B1E-C366-494F-A587-962AD9AABC83}" type="slidenum">
              <a:rPr lang="en-US" smtClean="0"/>
              <a:pPr/>
              <a:t>‹#›</a:t>
            </a:fld>
            <a:endParaRPr lang="en-US" dirty="0"/>
          </a:p>
        </p:txBody>
      </p:sp>
    </p:spTree>
    <p:extLst>
      <p:ext uri="{BB962C8B-B14F-4D97-AF65-F5344CB8AC3E}">
        <p14:creationId xmlns:p14="http://schemas.microsoft.com/office/powerpoint/2010/main" val="198962838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Image (dark logo)">
    <p:spTree>
      <p:nvGrpSpPr>
        <p:cNvPr id="1" name=""/>
        <p:cNvGrpSpPr/>
        <p:nvPr/>
      </p:nvGrpSpPr>
      <p:grpSpPr>
        <a:xfrm>
          <a:off x="0" y="0"/>
          <a:ext cx="0" cy="0"/>
          <a:chOff x="0" y="0"/>
          <a:chExt cx="0" cy="0"/>
        </a:xfrm>
      </p:grpSpPr>
      <p:sp>
        <p:nvSpPr>
          <p:cNvPr id="7" name="Picture Placeholder 2"/>
          <p:cNvSpPr>
            <a:spLocks noGrp="1"/>
          </p:cNvSpPr>
          <p:nvPr>
            <p:ph type="pic" sz="quarter" idx="13"/>
          </p:nvPr>
        </p:nvSpPr>
        <p:spPr>
          <a:xfrm>
            <a:off x="0" y="0"/>
            <a:ext cx="12192000" cy="6858000"/>
          </a:xfrm>
          <a:solidFill>
            <a:srgbClr val="DBDDDB"/>
          </a:solidFill>
        </p:spPr>
        <p:txBody>
          <a:bodyPr tIns="720000" anchor="ctr" anchorCtr="0"/>
          <a:lstStyle>
            <a:lvl1pPr algn="ctr">
              <a:defRPr/>
            </a:lvl1pPr>
          </a:lstStyle>
          <a:p>
            <a:r>
              <a:rPr lang="en-US"/>
              <a:t>Click icon to add picture</a:t>
            </a:r>
            <a:endParaRPr lang="en-US" dirty="0"/>
          </a:p>
        </p:txBody>
      </p:sp>
      <p:sp>
        <p:nvSpPr>
          <p:cNvPr id="6" name="Text Placeholder 5"/>
          <p:cNvSpPr>
            <a:spLocks noGrp="1"/>
          </p:cNvSpPr>
          <p:nvPr>
            <p:ph type="body" sz="quarter" idx="14" hasCustomPrompt="1"/>
          </p:nvPr>
        </p:nvSpPr>
        <p:spPr>
          <a:xfrm>
            <a:off x="10224000" y="6238800"/>
            <a:ext cx="1476000" cy="435600"/>
          </a:xfrm>
          <a:blipFill>
            <a:blip r:embed="rId2"/>
            <a:stretch>
              <a:fillRect/>
            </a:stretch>
          </a:blipFill>
        </p:spPr>
        <p:txBody>
          <a:bodyPr/>
          <a:lstStyle>
            <a:lvl1pPr>
              <a:defRPr sz="100"/>
            </a:lvl1pPr>
          </a:lstStyle>
          <a:p>
            <a:pPr lvl="0"/>
            <a:r>
              <a:rPr lang="en-US" dirty="0"/>
              <a:t>,</a:t>
            </a:r>
          </a:p>
        </p:txBody>
      </p:sp>
      <p:sp>
        <p:nvSpPr>
          <p:cNvPr id="11" name="Slide Number Placeholder 10"/>
          <p:cNvSpPr>
            <a:spLocks noGrp="1"/>
          </p:cNvSpPr>
          <p:nvPr>
            <p:ph type="sldNum" sz="quarter" idx="17"/>
          </p:nvPr>
        </p:nvSpPr>
        <p:spPr/>
        <p:txBody>
          <a:bodyPr/>
          <a:lstStyle/>
          <a:p>
            <a:fld id="{45D37B1E-C366-494F-A587-962AD9AABC83}" type="slidenum">
              <a:rPr lang="en-US" smtClean="0"/>
              <a:pPr/>
              <a:t>‹#›</a:t>
            </a:fld>
            <a:endParaRPr lang="en-US" dirty="0"/>
          </a:p>
        </p:txBody>
      </p:sp>
    </p:spTree>
    <p:extLst>
      <p:ext uri="{BB962C8B-B14F-4D97-AF65-F5344CB8AC3E}">
        <p14:creationId xmlns:p14="http://schemas.microsoft.com/office/powerpoint/2010/main" val="3106541565"/>
      </p:ext>
    </p:extLst>
  </p:cSld>
  <p:clrMapOvr>
    <a:masterClrMapping/>
  </p:clrMapOvr>
  <p:hf sldNum="0" hdr="0" ftr="0" dt="0"/>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p:cSld name="Text and image I (white logo)">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712" y="604838"/>
            <a:ext cx="3568126" cy="863235"/>
          </a:xfrm>
        </p:spPr>
        <p:txBody>
          <a:bodyPr/>
          <a:lstStyle/>
          <a:p>
            <a:r>
              <a:rPr lang="en-US" dirty="0"/>
              <a:t>Click to add title</a:t>
            </a:r>
          </a:p>
        </p:txBody>
      </p:sp>
      <p:sp>
        <p:nvSpPr>
          <p:cNvPr id="9" name="Text Placeholder 2"/>
          <p:cNvSpPr>
            <a:spLocks noGrp="1"/>
          </p:cNvSpPr>
          <p:nvPr>
            <p:ph type="body" sz="quarter" idx="14" hasCustomPrompt="1"/>
          </p:nvPr>
        </p:nvSpPr>
        <p:spPr>
          <a:xfrm>
            <a:off x="487363" y="1763713"/>
            <a:ext cx="3546000" cy="4227512"/>
          </a:xfrm>
        </p:spPr>
        <p:txBody>
          <a:bodyPr/>
          <a:lstStyle/>
          <a:p>
            <a:pPr lvl="0"/>
            <a:r>
              <a:rPr lang="en-US" dirty="0"/>
              <a:t>Click to inser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Picture Placeholder 3"/>
          <p:cNvSpPr>
            <a:spLocks noGrp="1"/>
          </p:cNvSpPr>
          <p:nvPr>
            <p:ph type="pic" sz="quarter" idx="13"/>
          </p:nvPr>
        </p:nvSpPr>
        <p:spPr>
          <a:xfrm>
            <a:off x="4319588" y="0"/>
            <a:ext cx="7869600" cy="6857999"/>
          </a:xfrm>
          <a:solidFill>
            <a:srgbClr val="DBDDDB"/>
          </a:solidFill>
        </p:spPr>
        <p:txBody>
          <a:bodyPr tIns="720000" anchor="ctr" anchorCtr="0"/>
          <a:lstStyle>
            <a:lvl1pPr algn="ctr">
              <a:defRPr/>
            </a:lvl1pPr>
          </a:lstStyle>
          <a:p>
            <a:r>
              <a:rPr lang="en-US"/>
              <a:t>Click icon to add picture</a:t>
            </a:r>
            <a:endParaRPr lang="en-US" dirty="0"/>
          </a:p>
        </p:txBody>
      </p:sp>
      <p:sp>
        <p:nvSpPr>
          <p:cNvPr id="8" name="Text Placeholder 5"/>
          <p:cNvSpPr>
            <a:spLocks noGrp="1"/>
          </p:cNvSpPr>
          <p:nvPr>
            <p:ph type="body" sz="quarter" idx="15" hasCustomPrompt="1"/>
          </p:nvPr>
        </p:nvSpPr>
        <p:spPr>
          <a:xfrm>
            <a:off x="10224000" y="6238800"/>
            <a:ext cx="1476000" cy="435600"/>
          </a:xfrm>
          <a:blipFill>
            <a:blip r:embed="rId2"/>
            <a:stretch>
              <a:fillRect/>
            </a:stretch>
          </a:blipFill>
        </p:spPr>
        <p:txBody>
          <a:bodyPr/>
          <a:lstStyle>
            <a:lvl1pPr>
              <a:defRPr sz="100"/>
            </a:lvl1pPr>
          </a:lstStyle>
          <a:p>
            <a:pPr lvl="0"/>
            <a:r>
              <a:rPr lang="en-US" dirty="0"/>
              <a:t>,</a:t>
            </a:r>
          </a:p>
        </p:txBody>
      </p:sp>
      <p:sp>
        <p:nvSpPr>
          <p:cNvPr id="12" name="Footer Placeholder 11"/>
          <p:cNvSpPr>
            <a:spLocks noGrp="1"/>
          </p:cNvSpPr>
          <p:nvPr>
            <p:ph type="ftr" sz="quarter" idx="17"/>
          </p:nvPr>
        </p:nvSpPr>
        <p:spPr>
          <a:xfrm>
            <a:off x="1008724" y="6508841"/>
            <a:ext cx="3025114" cy="244475"/>
          </a:xfrm>
        </p:spPr>
        <p:txBody>
          <a:bodyPr/>
          <a:lstStyle/>
          <a:p>
            <a:endParaRPr lang="en-US" dirty="0"/>
          </a:p>
        </p:txBody>
      </p:sp>
      <p:sp>
        <p:nvSpPr>
          <p:cNvPr id="13" name="Slide Number Placeholder 12"/>
          <p:cNvSpPr>
            <a:spLocks noGrp="1"/>
          </p:cNvSpPr>
          <p:nvPr>
            <p:ph type="sldNum" sz="quarter" idx="18"/>
          </p:nvPr>
        </p:nvSpPr>
        <p:spPr/>
        <p:txBody>
          <a:bodyPr/>
          <a:lstStyle/>
          <a:p>
            <a:fld id="{45D37B1E-C366-494F-A587-962AD9AABC83}" type="slidenum">
              <a:rPr lang="en-US" smtClean="0"/>
              <a:pPr/>
              <a:t>‹#›</a:t>
            </a:fld>
            <a:endParaRPr lang="en-US" dirty="0"/>
          </a:p>
        </p:txBody>
      </p:sp>
    </p:spTree>
    <p:extLst>
      <p:ext uri="{BB962C8B-B14F-4D97-AF65-F5344CB8AC3E}">
        <p14:creationId xmlns:p14="http://schemas.microsoft.com/office/powerpoint/2010/main" val="102572722"/>
      </p:ext>
    </p:extLst>
  </p:cSld>
  <p:clrMapOvr>
    <a:masterClrMapping/>
  </p:clrMapOvr>
  <p:hf sldNum="0" hdr="0" ftr="0" dt="0"/>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p:cSld name="Text and image I (dark logo)">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712" y="604838"/>
            <a:ext cx="3568126" cy="863235"/>
          </a:xfrm>
        </p:spPr>
        <p:txBody>
          <a:bodyPr/>
          <a:lstStyle/>
          <a:p>
            <a:r>
              <a:rPr lang="en-US" dirty="0"/>
              <a:t>Click to add title</a:t>
            </a:r>
          </a:p>
        </p:txBody>
      </p:sp>
      <p:sp>
        <p:nvSpPr>
          <p:cNvPr id="9" name="Text Placeholder 2"/>
          <p:cNvSpPr>
            <a:spLocks noGrp="1"/>
          </p:cNvSpPr>
          <p:nvPr>
            <p:ph type="body" sz="quarter" idx="14" hasCustomPrompt="1"/>
          </p:nvPr>
        </p:nvSpPr>
        <p:spPr>
          <a:xfrm>
            <a:off x="487363" y="1763713"/>
            <a:ext cx="3546000" cy="4227512"/>
          </a:xfrm>
        </p:spPr>
        <p:txBody>
          <a:bodyPr/>
          <a:lstStyle/>
          <a:p>
            <a:pPr lvl="0"/>
            <a:r>
              <a:rPr lang="en-US" dirty="0"/>
              <a:t>Click to inser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Picture Placeholder 3"/>
          <p:cNvSpPr>
            <a:spLocks noGrp="1"/>
          </p:cNvSpPr>
          <p:nvPr>
            <p:ph type="pic" sz="quarter" idx="13"/>
          </p:nvPr>
        </p:nvSpPr>
        <p:spPr>
          <a:xfrm>
            <a:off x="4319588" y="0"/>
            <a:ext cx="7869600" cy="6857999"/>
          </a:xfrm>
          <a:solidFill>
            <a:srgbClr val="DBDDDB"/>
          </a:solidFill>
        </p:spPr>
        <p:txBody>
          <a:bodyPr tIns="720000" anchor="ctr" anchorCtr="0"/>
          <a:lstStyle>
            <a:lvl1pPr algn="ctr">
              <a:defRPr/>
            </a:lvl1pPr>
          </a:lstStyle>
          <a:p>
            <a:r>
              <a:rPr lang="en-US"/>
              <a:t>Click icon to add picture</a:t>
            </a:r>
            <a:endParaRPr lang="en-US" dirty="0"/>
          </a:p>
        </p:txBody>
      </p:sp>
      <p:sp>
        <p:nvSpPr>
          <p:cNvPr id="5" name="Slide Number Placeholder 4"/>
          <p:cNvSpPr>
            <a:spLocks noGrp="1"/>
          </p:cNvSpPr>
          <p:nvPr>
            <p:ph type="sldNum" sz="quarter" idx="12"/>
          </p:nvPr>
        </p:nvSpPr>
        <p:spPr/>
        <p:txBody>
          <a:bodyPr/>
          <a:lstStyle/>
          <a:p>
            <a:fld id="{45D37B1E-C366-494F-A587-962AD9AABC83}" type="slidenum">
              <a:rPr lang="en-US" smtClean="0"/>
              <a:pPr/>
              <a:t>‹#›</a:t>
            </a:fld>
            <a:endParaRPr lang="en-US" dirty="0"/>
          </a:p>
        </p:txBody>
      </p:sp>
      <p:sp>
        <p:nvSpPr>
          <p:cNvPr id="8" name="Text Placeholder 5"/>
          <p:cNvSpPr>
            <a:spLocks noGrp="1"/>
          </p:cNvSpPr>
          <p:nvPr>
            <p:ph type="body" sz="quarter" idx="15" hasCustomPrompt="1"/>
          </p:nvPr>
        </p:nvSpPr>
        <p:spPr>
          <a:xfrm>
            <a:off x="10224000" y="6238800"/>
            <a:ext cx="1476000" cy="435600"/>
          </a:xfrm>
          <a:blipFill>
            <a:blip r:embed="rId2"/>
            <a:stretch>
              <a:fillRect/>
            </a:stretch>
          </a:blipFill>
        </p:spPr>
        <p:txBody>
          <a:bodyPr/>
          <a:lstStyle>
            <a:lvl1pPr>
              <a:defRPr sz="100"/>
            </a:lvl1pPr>
          </a:lstStyle>
          <a:p>
            <a:pPr lvl="0"/>
            <a:r>
              <a:rPr lang="en-US" dirty="0"/>
              <a:t>,</a:t>
            </a:r>
          </a:p>
        </p:txBody>
      </p:sp>
      <p:sp>
        <p:nvSpPr>
          <p:cNvPr id="4" name="Footer Placeholder 3"/>
          <p:cNvSpPr>
            <a:spLocks noGrp="1"/>
          </p:cNvSpPr>
          <p:nvPr>
            <p:ph type="ftr" sz="quarter" idx="17"/>
          </p:nvPr>
        </p:nvSpPr>
        <p:spPr>
          <a:xfrm>
            <a:off x="1008724" y="6508841"/>
            <a:ext cx="3025114" cy="244475"/>
          </a:xfrm>
        </p:spPr>
        <p:txBody>
          <a:bodyPr/>
          <a:lstStyle/>
          <a:p>
            <a:endParaRPr lang="en-US" dirty="0"/>
          </a:p>
        </p:txBody>
      </p:sp>
    </p:spTree>
    <p:extLst>
      <p:ext uri="{BB962C8B-B14F-4D97-AF65-F5344CB8AC3E}">
        <p14:creationId xmlns:p14="http://schemas.microsoft.com/office/powerpoint/2010/main" val="788090793"/>
      </p:ext>
    </p:extLst>
  </p:cSld>
  <p:clrMapOvr>
    <a:masterClrMapping/>
  </p:clrMapOvr>
  <p:hf sldNum="0" hdr="0" ftr="0" dt="0"/>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p:cSld name="Text and image II (white logo)">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712" y="604838"/>
            <a:ext cx="5485826" cy="863235"/>
          </a:xfrm>
        </p:spPr>
        <p:txBody>
          <a:bodyPr/>
          <a:lstStyle/>
          <a:p>
            <a:r>
              <a:rPr lang="en-US" dirty="0"/>
              <a:t>Click to add title</a:t>
            </a:r>
          </a:p>
        </p:txBody>
      </p:sp>
      <p:sp>
        <p:nvSpPr>
          <p:cNvPr id="9" name="Text Placeholder 2"/>
          <p:cNvSpPr>
            <a:spLocks noGrp="1"/>
          </p:cNvSpPr>
          <p:nvPr>
            <p:ph type="body" sz="quarter" idx="14" hasCustomPrompt="1"/>
          </p:nvPr>
        </p:nvSpPr>
        <p:spPr>
          <a:xfrm>
            <a:off x="487362" y="1763713"/>
            <a:ext cx="5464175" cy="4227512"/>
          </a:xfrm>
        </p:spPr>
        <p:txBody>
          <a:bodyPr/>
          <a:lstStyle/>
          <a:p>
            <a:pPr lvl="0"/>
            <a:r>
              <a:rPr lang="en-US" dirty="0"/>
              <a:t>Click to inser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Picture Placeholder 3"/>
          <p:cNvSpPr>
            <a:spLocks noGrp="1"/>
          </p:cNvSpPr>
          <p:nvPr>
            <p:ph type="pic" sz="quarter" idx="13"/>
          </p:nvPr>
        </p:nvSpPr>
        <p:spPr>
          <a:xfrm>
            <a:off x="6238875" y="0"/>
            <a:ext cx="5950800" cy="6857999"/>
          </a:xfrm>
          <a:solidFill>
            <a:srgbClr val="DBDDDB"/>
          </a:solidFill>
        </p:spPr>
        <p:txBody>
          <a:bodyPr tIns="720000" anchor="ctr" anchorCtr="0"/>
          <a:lstStyle>
            <a:lvl1pPr algn="ctr">
              <a:defRPr/>
            </a:lvl1pPr>
          </a:lstStyle>
          <a:p>
            <a:r>
              <a:rPr lang="en-US"/>
              <a:t>Click icon to add picture</a:t>
            </a:r>
            <a:endParaRPr lang="en-US" dirty="0"/>
          </a:p>
        </p:txBody>
      </p:sp>
      <p:sp>
        <p:nvSpPr>
          <p:cNvPr id="4" name="Footer Placeholder 3"/>
          <p:cNvSpPr>
            <a:spLocks noGrp="1"/>
          </p:cNvSpPr>
          <p:nvPr>
            <p:ph type="ftr" sz="quarter" idx="11"/>
          </p:nvPr>
        </p:nvSpPr>
        <p:spPr>
          <a:xfrm>
            <a:off x="1008724" y="6508841"/>
            <a:ext cx="4942813" cy="244475"/>
          </a:xfrm>
        </p:spPr>
        <p:txBody>
          <a:bodyPr/>
          <a:lstStyle/>
          <a:p>
            <a:endParaRPr lang="en-US" dirty="0"/>
          </a:p>
        </p:txBody>
      </p:sp>
      <p:sp>
        <p:nvSpPr>
          <p:cNvPr id="5" name="Slide Number Placeholder 4"/>
          <p:cNvSpPr>
            <a:spLocks noGrp="1"/>
          </p:cNvSpPr>
          <p:nvPr>
            <p:ph type="sldNum" sz="quarter" idx="12"/>
          </p:nvPr>
        </p:nvSpPr>
        <p:spPr/>
        <p:txBody>
          <a:bodyPr/>
          <a:lstStyle/>
          <a:p>
            <a:fld id="{45D37B1E-C366-494F-A587-962AD9AABC83}" type="slidenum">
              <a:rPr lang="en-US" smtClean="0"/>
              <a:pPr/>
              <a:t>‹#›</a:t>
            </a:fld>
            <a:endParaRPr lang="en-US" dirty="0"/>
          </a:p>
        </p:txBody>
      </p:sp>
      <p:sp>
        <p:nvSpPr>
          <p:cNvPr id="8" name="Text Placeholder 5"/>
          <p:cNvSpPr>
            <a:spLocks noGrp="1"/>
          </p:cNvSpPr>
          <p:nvPr>
            <p:ph type="body" sz="quarter" idx="15" hasCustomPrompt="1"/>
          </p:nvPr>
        </p:nvSpPr>
        <p:spPr>
          <a:xfrm>
            <a:off x="10224000" y="6238800"/>
            <a:ext cx="1476000" cy="435600"/>
          </a:xfrm>
          <a:blipFill>
            <a:blip r:embed="rId2"/>
            <a:stretch>
              <a:fillRect/>
            </a:stretch>
          </a:blipFill>
        </p:spPr>
        <p:txBody>
          <a:bodyPr/>
          <a:lstStyle>
            <a:lvl1pPr>
              <a:defRPr sz="100"/>
            </a:lvl1pPr>
          </a:lstStyle>
          <a:p>
            <a:pPr lvl="0"/>
            <a:r>
              <a:rPr lang="en-US" dirty="0"/>
              <a:t>,</a:t>
            </a:r>
          </a:p>
        </p:txBody>
      </p:sp>
    </p:spTree>
    <p:extLst>
      <p:ext uri="{BB962C8B-B14F-4D97-AF65-F5344CB8AC3E}">
        <p14:creationId xmlns:p14="http://schemas.microsoft.com/office/powerpoint/2010/main" val="662822181"/>
      </p:ext>
    </p:extLst>
  </p:cSld>
  <p:clrMapOvr>
    <a:masterClrMapping/>
  </p:clrMapOvr>
  <p:hf sldNum="0" hdr="0" ftr="0" dt="0"/>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p:cSld name="Text and image II (dark logo)">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712" y="604838"/>
            <a:ext cx="5485826" cy="863235"/>
          </a:xfrm>
        </p:spPr>
        <p:txBody>
          <a:bodyPr/>
          <a:lstStyle/>
          <a:p>
            <a:r>
              <a:rPr lang="en-US" dirty="0"/>
              <a:t>Click to add title</a:t>
            </a:r>
          </a:p>
        </p:txBody>
      </p:sp>
      <p:sp>
        <p:nvSpPr>
          <p:cNvPr id="9" name="Text Placeholder 2"/>
          <p:cNvSpPr>
            <a:spLocks noGrp="1"/>
          </p:cNvSpPr>
          <p:nvPr>
            <p:ph type="body" sz="quarter" idx="14" hasCustomPrompt="1"/>
          </p:nvPr>
        </p:nvSpPr>
        <p:spPr>
          <a:xfrm>
            <a:off x="487362" y="1763713"/>
            <a:ext cx="5464175" cy="4227512"/>
          </a:xfrm>
        </p:spPr>
        <p:txBody>
          <a:bodyPr/>
          <a:lstStyle/>
          <a:p>
            <a:pPr lvl="0"/>
            <a:r>
              <a:rPr lang="en-US" dirty="0"/>
              <a:t>Click to inser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Picture Placeholder 3"/>
          <p:cNvSpPr>
            <a:spLocks noGrp="1"/>
          </p:cNvSpPr>
          <p:nvPr>
            <p:ph type="pic" sz="quarter" idx="13"/>
          </p:nvPr>
        </p:nvSpPr>
        <p:spPr>
          <a:xfrm>
            <a:off x="6238875" y="0"/>
            <a:ext cx="5950800" cy="6857999"/>
          </a:xfrm>
          <a:solidFill>
            <a:srgbClr val="DBDDDB"/>
          </a:solidFill>
        </p:spPr>
        <p:txBody>
          <a:bodyPr tIns="720000" anchor="ctr" anchorCtr="0"/>
          <a:lstStyle>
            <a:lvl1pPr algn="ctr">
              <a:defRPr/>
            </a:lvl1pPr>
          </a:lstStyle>
          <a:p>
            <a:r>
              <a:rPr lang="en-US"/>
              <a:t>Click icon to add picture</a:t>
            </a:r>
            <a:endParaRPr lang="en-US" dirty="0"/>
          </a:p>
        </p:txBody>
      </p:sp>
      <p:sp>
        <p:nvSpPr>
          <p:cNvPr id="4" name="Footer Placeholder 3"/>
          <p:cNvSpPr>
            <a:spLocks noGrp="1"/>
          </p:cNvSpPr>
          <p:nvPr>
            <p:ph type="ftr" sz="quarter" idx="11"/>
          </p:nvPr>
        </p:nvSpPr>
        <p:spPr>
          <a:xfrm>
            <a:off x="1008724" y="6508841"/>
            <a:ext cx="4942813" cy="244475"/>
          </a:xfrm>
        </p:spPr>
        <p:txBody>
          <a:bodyPr/>
          <a:lstStyle/>
          <a:p>
            <a:endParaRPr lang="en-US" dirty="0"/>
          </a:p>
        </p:txBody>
      </p:sp>
      <p:sp>
        <p:nvSpPr>
          <p:cNvPr id="5" name="Slide Number Placeholder 4"/>
          <p:cNvSpPr>
            <a:spLocks noGrp="1"/>
          </p:cNvSpPr>
          <p:nvPr>
            <p:ph type="sldNum" sz="quarter" idx="12"/>
          </p:nvPr>
        </p:nvSpPr>
        <p:spPr/>
        <p:txBody>
          <a:bodyPr/>
          <a:lstStyle/>
          <a:p>
            <a:fld id="{45D37B1E-C366-494F-A587-962AD9AABC83}" type="slidenum">
              <a:rPr lang="en-US" smtClean="0"/>
              <a:pPr/>
              <a:t>‹#›</a:t>
            </a:fld>
            <a:endParaRPr lang="en-US" dirty="0"/>
          </a:p>
        </p:txBody>
      </p:sp>
      <p:sp>
        <p:nvSpPr>
          <p:cNvPr id="8" name="Text Placeholder 5"/>
          <p:cNvSpPr>
            <a:spLocks noGrp="1"/>
          </p:cNvSpPr>
          <p:nvPr>
            <p:ph type="body" sz="quarter" idx="15" hasCustomPrompt="1"/>
          </p:nvPr>
        </p:nvSpPr>
        <p:spPr>
          <a:xfrm>
            <a:off x="10224000" y="6238800"/>
            <a:ext cx="1476000" cy="435600"/>
          </a:xfrm>
          <a:blipFill>
            <a:blip r:embed="rId2"/>
            <a:stretch>
              <a:fillRect/>
            </a:stretch>
          </a:blipFill>
        </p:spPr>
        <p:txBody>
          <a:bodyPr/>
          <a:lstStyle>
            <a:lvl1pPr>
              <a:defRPr sz="100"/>
            </a:lvl1pPr>
          </a:lstStyle>
          <a:p>
            <a:pPr lvl="0"/>
            <a:r>
              <a:rPr lang="en-US" dirty="0"/>
              <a:t>,</a:t>
            </a:r>
          </a:p>
        </p:txBody>
      </p:sp>
    </p:spTree>
    <p:extLst>
      <p:ext uri="{BB962C8B-B14F-4D97-AF65-F5344CB8AC3E}">
        <p14:creationId xmlns:p14="http://schemas.microsoft.com/office/powerpoint/2010/main" val="836327200"/>
      </p:ext>
    </p:extLst>
  </p:cSld>
  <p:clrMapOvr>
    <a:masterClrMapping/>
  </p:clrMapOvr>
  <p:hf sldNum="0" hdr="0" ftr="0" dt="0"/>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p:cSld name="Text and image III (white logo)">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712" y="604838"/>
            <a:ext cx="7403526" cy="863235"/>
          </a:xfrm>
        </p:spPr>
        <p:txBody>
          <a:bodyPr/>
          <a:lstStyle/>
          <a:p>
            <a:r>
              <a:rPr lang="en-US" dirty="0"/>
              <a:t>Click to add title</a:t>
            </a:r>
          </a:p>
        </p:txBody>
      </p:sp>
      <p:sp>
        <p:nvSpPr>
          <p:cNvPr id="9" name="Text Placeholder 2"/>
          <p:cNvSpPr>
            <a:spLocks noGrp="1"/>
          </p:cNvSpPr>
          <p:nvPr>
            <p:ph type="body" sz="quarter" idx="14" hasCustomPrompt="1"/>
          </p:nvPr>
        </p:nvSpPr>
        <p:spPr>
          <a:xfrm>
            <a:off x="487362" y="1763713"/>
            <a:ext cx="7374306" cy="4227512"/>
          </a:xfrm>
        </p:spPr>
        <p:txBody>
          <a:bodyPr/>
          <a:lstStyle/>
          <a:p>
            <a:pPr lvl="0"/>
            <a:r>
              <a:rPr lang="en-US" dirty="0"/>
              <a:t>Click to inser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Picture Placeholder 3"/>
          <p:cNvSpPr>
            <a:spLocks noGrp="1"/>
          </p:cNvSpPr>
          <p:nvPr>
            <p:ph type="pic" sz="quarter" idx="13"/>
          </p:nvPr>
        </p:nvSpPr>
        <p:spPr>
          <a:xfrm>
            <a:off x="8156575" y="0"/>
            <a:ext cx="4033100" cy="6857999"/>
          </a:xfrm>
          <a:solidFill>
            <a:srgbClr val="DBDDDB"/>
          </a:solidFill>
        </p:spPr>
        <p:txBody>
          <a:bodyPr tIns="720000" anchor="ctr" anchorCtr="0"/>
          <a:lstStyle>
            <a:lvl1pPr algn="ctr">
              <a:defRPr/>
            </a:lvl1pPr>
          </a:lstStyle>
          <a:p>
            <a:r>
              <a:rPr lang="en-US"/>
              <a:t>Click icon to add picture</a:t>
            </a:r>
            <a:endParaRPr lang="en-US" dirty="0"/>
          </a:p>
        </p:txBody>
      </p:sp>
      <p:sp>
        <p:nvSpPr>
          <p:cNvPr id="4" name="Footer Placeholder 3"/>
          <p:cNvSpPr>
            <a:spLocks noGrp="1"/>
          </p:cNvSpPr>
          <p:nvPr>
            <p:ph type="ftr" sz="quarter" idx="11"/>
          </p:nvPr>
        </p:nvSpPr>
        <p:spPr>
          <a:xfrm>
            <a:off x="1008724" y="6508841"/>
            <a:ext cx="6860514" cy="244475"/>
          </a:xfrm>
        </p:spPr>
        <p:txBody>
          <a:bodyPr/>
          <a:lstStyle/>
          <a:p>
            <a:endParaRPr lang="en-US" dirty="0"/>
          </a:p>
        </p:txBody>
      </p:sp>
      <p:sp>
        <p:nvSpPr>
          <p:cNvPr id="5" name="Slide Number Placeholder 4"/>
          <p:cNvSpPr>
            <a:spLocks noGrp="1"/>
          </p:cNvSpPr>
          <p:nvPr>
            <p:ph type="sldNum" sz="quarter" idx="12"/>
          </p:nvPr>
        </p:nvSpPr>
        <p:spPr/>
        <p:txBody>
          <a:bodyPr/>
          <a:lstStyle/>
          <a:p>
            <a:fld id="{45D37B1E-C366-494F-A587-962AD9AABC83}" type="slidenum">
              <a:rPr lang="en-US" smtClean="0"/>
              <a:pPr/>
              <a:t>‹#›</a:t>
            </a:fld>
            <a:endParaRPr lang="en-US" dirty="0"/>
          </a:p>
        </p:txBody>
      </p:sp>
      <p:sp>
        <p:nvSpPr>
          <p:cNvPr id="8" name="Text Placeholder 5"/>
          <p:cNvSpPr>
            <a:spLocks noGrp="1"/>
          </p:cNvSpPr>
          <p:nvPr>
            <p:ph type="body" sz="quarter" idx="15" hasCustomPrompt="1"/>
          </p:nvPr>
        </p:nvSpPr>
        <p:spPr>
          <a:xfrm>
            <a:off x="10224000" y="6238800"/>
            <a:ext cx="1476000" cy="435600"/>
          </a:xfrm>
          <a:blipFill>
            <a:blip r:embed="rId2"/>
            <a:stretch>
              <a:fillRect/>
            </a:stretch>
          </a:blipFill>
        </p:spPr>
        <p:txBody>
          <a:bodyPr/>
          <a:lstStyle>
            <a:lvl1pPr>
              <a:defRPr sz="100"/>
            </a:lvl1pPr>
          </a:lstStyle>
          <a:p>
            <a:pPr lvl="0"/>
            <a:r>
              <a:rPr lang="en-US" dirty="0"/>
              <a:t>,</a:t>
            </a:r>
          </a:p>
        </p:txBody>
      </p:sp>
    </p:spTree>
    <p:extLst>
      <p:ext uri="{BB962C8B-B14F-4D97-AF65-F5344CB8AC3E}">
        <p14:creationId xmlns:p14="http://schemas.microsoft.com/office/powerpoint/2010/main" val="1533166676"/>
      </p:ext>
    </p:extLst>
  </p:cSld>
  <p:clrMapOvr>
    <a:masterClrMapping/>
  </p:clrMapOvr>
  <p:hf sldNum="0" hdr="0" ftr="0" dt="0"/>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wide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add title</a:t>
            </a:r>
          </a:p>
        </p:txBody>
      </p:sp>
      <p:sp>
        <p:nvSpPr>
          <p:cNvPr id="3" name="Content Placeholder 2"/>
          <p:cNvSpPr>
            <a:spLocks noGrp="1"/>
          </p:cNvSpPr>
          <p:nvPr>
            <p:ph idx="1" hasCustomPrompt="1"/>
          </p:nvPr>
        </p:nvSpPr>
        <p:spPr>
          <a:xfrm>
            <a:off x="487363" y="1764000"/>
            <a:ext cx="11217275" cy="4242393"/>
          </a:xfrm>
        </p:spPr>
        <p:txBody>
          <a:bodyPr/>
          <a:lstStyle>
            <a:lvl1pPr>
              <a:defRPr/>
            </a:lvl1pPr>
          </a:lstStyle>
          <a:p>
            <a:pPr lvl="0"/>
            <a:r>
              <a:rPr lang="en-US" dirty="0"/>
              <a:t>Insert chart or table, use layout named “Title and text” for slides with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5D37B1E-C366-494F-A587-962AD9AABC83}" type="slidenum">
              <a:rPr lang="en-US" smtClean="0"/>
              <a:pPr/>
              <a:t>‹#›</a:t>
            </a:fld>
            <a:endParaRPr lang="en-US" dirty="0"/>
          </a:p>
        </p:txBody>
      </p:sp>
    </p:spTree>
    <p:extLst>
      <p:ext uri="{BB962C8B-B14F-4D97-AF65-F5344CB8AC3E}">
        <p14:creationId xmlns:p14="http://schemas.microsoft.com/office/powerpoint/2010/main" val="71407085"/>
      </p:ext>
    </p:extLst>
  </p:cSld>
  <p:clrMapOvr>
    <a:masterClrMapping/>
  </p:clrMapOvr>
  <p:hf sldNum="0" hdr="0" ftr="0" dt="0"/>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p:cSld name="Text and image III (dark logo)">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712" y="604838"/>
            <a:ext cx="7403526" cy="863235"/>
          </a:xfrm>
        </p:spPr>
        <p:txBody>
          <a:bodyPr/>
          <a:lstStyle/>
          <a:p>
            <a:r>
              <a:rPr lang="en-US" dirty="0"/>
              <a:t>Click to add title</a:t>
            </a:r>
          </a:p>
        </p:txBody>
      </p:sp>
      <p:sp>
        <p:nvSpPr>
          <p:cNvPr id="9" name="Text Placeholder 2"/>
          <p:cNvSpPr>
            <a:spLocks noGrp="1"/>
          </p:cNvSpPr>
          <p:nvPr>
            <p:ph type="body" sz="quarter" idx="14" hasCustomPrompt="1"/>
          </p:nvPr>
        </p:nvSpPr>
        <p:spPr>
          <a:xfrm>
            <a:off x="487362" y="1763713"/>
            <a:ext cx="7374306" cy="4227512"/>
          </a:xfrm>
        </p:spPr>
        <p:txBody>
          <a:bodyPr/>
          <a:lstStyle/>
          <a:p>
            <a:pPr lvl="0"/>
            <a:r>
              <a:rPr lang="en-US" dirty="0"/>
              <a:t>Click to inser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Picture Placeholder 3"/>
          <p:cNvSpPr>
            <a:spLocks noGrp="1"/>
          </p:cNvSpPr>
          <p:nvPr>
            <p:ph type="pic" sz="quarter" idx="13"/>
          </p:nvPr>
        </p:nvSpPr>
        <p:spPr>
          <a:xfrm>
            <a:off x="8156575" y="0"/>
            <a:ext cx="4033100" cy="6857999"/>
          </a:xfrm>
          <a:solidFill>
            <a:srgbClr val="DBDDDB"/>
          </a:solidFill>
        </p:spPr>
        <p:txBody>
          <a:bodyPr tIns="720000" anchor="ctr" anchorCtr="0"/>
          <a:lstStyle>
            <a:lvl1pPr algn="ctr">
              <a:defRPr/>
            </a:lvl1pPr>
          </a:lstStyle>
          <a:p>
            <a:r>
              <a:rPr lang="en-US"/>
              <a:t>Click icon to add picture</a:t>
            </a:r>
            <a:endParaRPr lang="en-US" dirty="0"/>
          </a:p>
        </p:txBody>
      </p:sp>
      <p:sp>
        <p:nvSpPr>
          <p:cNvPr id="4" name="Footer Placeholder 3"/>
          <p:cNvSpPr>
            <a:spLocks noGrp="1"/>
          </p:cNvSpPr>
          <p:nvPr>
            <p:ph type="ftr" sz="quarter" idx="11"/>
          </p:nvPr>
        </p:nvSpPr>
        <p:spPr>
          <a:xfrm>
            <a:off x="1008724" y="6508841"/>
            <a:ext cx="6860514" cy="244475"/>
          </a:xfrm>
        </p:spPr>
        <p:txBody>
          <a:bodyPr/>
          <a:lstStyle/>
          <a:p>
            <a:endParaRPr lang="en-US" dirty="0"/>
          </a:p>
        </p:txBody>
      </p:sp>
      <p:sp>
        <p:nvSpPr>
          <p:cNvPr id="5" name="Slide Number Placeholder 4"/>
          <p:cNvSpPr>
            <a:spLocks noGrp="1"/>
          </p:cNvSpPr>
          <p:nvPr>
            <p:ph type="sldNum" sz="quarter" idx="12"/>
          </p:nvPr>
        </p:nvSpPr>
        <p:spPr/>
        <p:txBody>
          <a:bodyPr/>
          <a:lstStyle/>
          <a:p>
            <a:fld id="{45D37B1E-C366-494F-A587-962AD9AABC83}" type="slidenum">
              <a:rPr lang="en-US" smtClean="0"/>
              <a:pPr/>
              <a:t>‹#›</a:t>
            </a:fld>
            <a:endParaRPr lang="en-US" dirty="0"/>
          </a:p>
        </p:txBody>
      </p:sp>
      <p:sp>
        <p:nvSpPr>
          <p:cNvPr id="8" name="Text Placeholder 5"/>
          <p:cNvSpPr>
            <a:spLocks noGrp="1"/>
          </p:cNvSpPr>
          <p:nvPr>
            <p:ph type="body" sz="quarter" idx="15" hasCustomPrompt="1"/>
          </p:nvPr>
        </p:nvSpPr>
        <p:spPr>
          <a:xfrm>
            <a:off x="10224000" y="6238800"/>
            <a:ext cx="1476000" cy="435600"/>
          </a:xfrm>
          <a:blipFill>
            <a:blip r:embed="rId2"/>
            <a:stretch>
              <a:fillRect/>
            </a:stretch>
          </a:blipFill>
        </p:spPr>
        <p:txBody>
          <a:bodyPr/>
          <a:lstStyle>
            <a:lvl1pPr>
              <a:defRPr sz="100"/>
            </a:lvl1pPr>
          </a:lstStyle>
          <a:p>
            <a:pPr lvl="0"/>
            <a:r>
              <a:rPr lang="en-US" dirty="0"/>
              <a:t>,</a:t>
            </a:r>
          </a:p>
        </p:txBody>
      </p:sp>
    </p:spTree>
    <p:extLst>
      <p:ext uri="{BB962C8B-B14F-4D97-AF65-F5344CB8AC3E}">
        <p14:creationId xmlns:p14="http://schemas.microsoft.com/office/powerpoint/2010/main" val="197850881"/>
      </p:ext>
    </p:extLst>
  </p:cSld>
  <p:clrMapOvr>
    <a:masterClrMapping/>
  </p:clrMapOvr>
  <p:hf sldNum="0" hdr="0" ftr="0" dt="0"/>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Quote">
    <p:spTree>
      <p:nvGrpSpPr>
        <p:cNvPr id="1" name=""/>
        <p:cNvGrpSpPr/>
        <p:nvPr/>
      </p:nvGrpSpPr>
      <p:grpSpPr>
        <a:xfrm>
          <a:off x="0" y="0"/>
          <a:ext cx="0" cy="0"/>
          <a:chOff x="0" y="0"/>
          <a:chExt cx="0" cy="0"/>
        </a:xfrm>
      </p:grpSpPr>
      <p:sp>
        <p:nvSpPr>
          <p:cNvPr id="7" name="Rectangle 6"/>
          <p:cNvSpPr/>
          <p:nvPr/>
        </p:nvSpPr>
        <p:spPr>
          <a:xfrm>
            <a:off x="0" y="0"/>
            <a:ext cx="12193200" cy="6858000"/>
          </a:xfrm>
          <a:prstGeom prst="rect">
            <a:avLst/>
          </a:prstGeom>
          <a:solidFill>
            <a:srgbClr val="2D00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4" name="Picture 13"/>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a:xfrm>
            <a:off x="7868584" y="0"/>
            <a:ext cx="4321016" cy="4149572"/>
          </a:xfrm>
          <a:prstGeom prst="rect">
            <a:avLst/>
          </a:prstGeom>
        </p:spPr>
      </p:pic>
      <p:sp>
        <p:nvSpPr>
          <p:cNvPr id="3" name="Date Placeholder 2"/>
          <p:cNvSpPr>
            <a:spLocks noGrp="1"/>
          </p:cNvSpPr>
          <p:nvPr>
            <p:ph type="dt" sz="half" idx="10"/>
          </p:nvPr>
        </p:nvSpPr>
        <p:spPr>
          <a:xfrm>
            <a:off x="487364" y="225427"/>
            <a:ext cx="7381220" cy="365125"/>
          </a:xfrm>
        </p:spPr>
        <p:txBody>
          <a:bodyPr/>
          <a:lstStyle>
            <a:lvl1pPr algn="l">
              <a:defRPr/>
            </a:lvl1pPr>
          </a:lstStyle>
          <a:p>
            <a:endParaRPr lang="en-US" dirty="0"/>
          </a:p>
        </p:txBody>
      </p:sp>
      <p:sp>
        <p:nvSpPr>
          <p:cNvPr id="4" name="Footer Placeholder 3"/>
          <p:cNvSpPr>
            <a:spLocks noGrp="1"/>
          </p:cNvSpPr>
          <p:nvPr>
            <p:ph type="ftr" sz="quarter" idx="11"/>
          </p:nvPr>
        </p:nvSpPr>
        <p:spPr/>
        <p:txBody>
          <a:bodyPr/>
          <a:lstStyle>
            <a:lvl1pPr>
              <a:defRPr>
                <a:solidFill>
                  <a:srgbClr val="2D0028"/>
                </a:solidFill>
              </a:defRPr>
            </a:lvl1pPr>
          </a:lstStyle>
          <a:p>
            <a:endParaRPr lang="en-US" dirty="0"/>
          </a:p>
        </p:txBody>
      </p:sp>
      <p:sp>
        <p:nvSpPr>
          <p:cNvPr id="5" name="Slide Number Placeholder 4"/>
          <p:cNvSpPr>
            <a:spLocks noGrp="1"/>
          </p:cNvSpPr>
          <p:nvPr>
            <p:ph type="sldNum" sz="quarter" idx="12"/>
          </p:nvPr>
        </p:nvSpPr>
        <p:spPr/>
        <p:txBody>
          <a:bodyPr/>
          <a:lstStyle>
            <a:lvl1pPr>
              <a:defRPr>
                <a:solidFill>
                  <a:srgbClr val="2D0028"/>
                </a:solidFill>
              </a:defRPr>
            </a:lvl1pPr>
          </a:lstStyle>
          <a:p>
            <a:fld id="{45D37B1E-C366-494F-A587-962AD9AABC83}" type="slidenum">
              <a:rPr lang="en-US" smtClean="0"/>
              <a:pPr/>
              <a:t>‹#›</a:t>
            </a:fld>
            <a:endParaRPr lang="en-US" dirty="0"/>
          </a:p>
        </p:txBody>
      </p:sp>
      <p:sp>
        <p:nvSpPr>
          <p:cNvPr id="9" name="Text Placeholder 8"/>
          <p:cNvSpPr>
            <a:spLocks noGrp="1"/>
          </p:cNvSpPr>
          <p:nvPr>
            <p:ph type="body" sz="quarter" idx="13" hasCustomPrompt="1"/>
          </p:nvPr>
        </p:nvSpPr>
        <p:spPr>
          <a:xfrm>
            <a:off x="487363" y="2912985"/>
            <a:ext cx="8628061" cy="3009900"/>
          </a:xfrm>
        </p:spPr>
        <p:txBody>
          <a:bodyPr/>
          <a:lstStyle>
            <a:lvl1pPr>
              <a:lnSpc>
                <a:spcPct val="93000"/>
              </a:lnSpc>
              <a:defRPr sz="3600" b="1">
                <a:solidFill>
                  <a:schemeClr val="bg1"/>
                </a:solidFill>
              </a:defRPr>
            </a:lvl1pPr>
            <a:lvl2pPr marL="259200" indent="-259200">
              <a:lnSpc>
                <a:spcPct val="100000"/>
              </a:lnSpc>
              <a:spcBef>
                <a:spcPts val="2100"/>
              </a:spcBef>
              <a:buFont typeface="Arial" panose="020B0604020202020204" pitchFamily="34" charset="0"/>
              <a:buChar char="―"/>
              <a:defRPr sz="1600" b="0">
                <a:solidFill>
                  <a:schemeClr val="bg1"/>
                </a:solidFill>
              </a:defRPr>
            </a:lvl2pPr>
            <a:lvl3pPr marL="259200" indent="-259200">
              <a:spcBef>
                <a:spcPts val="2100"/>
              </a:spcBef>
              <a:buFont typeface="Arial" panose="020B0604020202020204" pitchFamily="34" charset="0"/>
              <a:buChar char="―"/>
              <a:defRPr sz="1600">
                <a:solidFill>
                  <a:schemeClr val="bg1"/>
                </a:solidFill>
              </a:defRPr>
            </a:lvl3pPr>
            <a:lvl4pPr marL="259200" indent="-259200">
              <a:spcBef>
                <a:spcPts val="2100"/>
              </a:spcBef>
              <a:buFont typeface="Arial" panose="020B0604020202020204" pitchFamily="34" charset="0"/>
              <a:buChar char="―"/>
              <a:defRPr sz="1600">
                <a:solidFill>
                  <a:schemeClr val="bg1"/>
                </a:solidFill>
              </a:defRPr>
            </a:lvl4pPr>
            <a:lvl5pPr marL="259200" indent="-259200">
              <a:spcBef>
                <a:spcPts val="2100"/>
              </a:spcBef>
              <a:buFont typeface="Arial" panose="020B0604020202020204" pitchFamily="34" charset="0"/>
              <a:buChar char="―"/>
              <a:defRPr sz="1600">
                <a:solidFill>
                  <a:schemeClr val="bg1"/>
                </a:solidFill>
              </a:defRPr>
            </a:lvl5pPr>
          </a:lstStyle>
          <a:p>
            <a:pPr lvl="0"/>
            <a:r>
              <a:rPr lang="en-US" dirty="0"/>
              <a:t>“Click to add title”</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2" name="Picture 1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224000" y="6238800"/>
            <a:ext cx="1476321" cy="434959"/>
          </a:xfrm>
          <a:prstGeom prst="rect">
            <a:avLst/>
          </a:prstGeom>
        </p:spPr>
      </p:pic>
    </p:spTree>
    <p:extLst>
      <p:ext uri="{BB962C8B-B14F-4D97-AF65-F5344CB8AC3E}">
        <p14:creationId xmlns:p14="http://schemas.microsoft.com/office/powerpoint/2010/main" val="2511379445"/>
      </p:ext>
    </p:extLst>
  </p:cSld>
  <p:clrMapOvr>
    <a:masterClrMapping/>
  </p:clrMapOvr>
  <p:hf sldNum="0" hdr="0" ftr="0" dt="0"/>
</p:sldLayout>
</file>

<file path=ppt/slideLayouts/slideLayout3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add title</a:t>
            </a:r>
            <a:endParaRPr lang="en-US" noProof="0" dirty="0"/>
          </a:p>
        </p:txBody>
      </p:sp>
      <p:sp>
        <p:nvSpPr>
          <p:cNvPr id="3" name="Date Placeholder 2"/>
          <p:cNvSpPr>
            <a:spLocks noGrp="1"/>
          </p:cNvSpPr>
          <p:nvPr>
            <p:ph type="dt" sz="half" idx="10"/>
          </p:nvPr>
        </p:nvSpPr>
        <p:spPr/>
        <p:txBody>
          <a:bodyPr/>
          <a:lstStyle/>
          <a:p>
            <a:endParaRPr lang="en-US" noProof="0" dirty="0"/>
          </a:p>
        </p:txBody>
      </p:sp>
      <p:sp>
        <p:nvSpPr>
          <p:cNvPr id="4" name="Footer Placeholder 3"/>
          <p:cNvSpPr>
            <a:spLocks noGrp="1"/>
          </p:cNvSpPr>
          <p:nvPr>
            <p:ph type="ftr" sz="quarter" idx="11"/>
          </p:nvPr>
        </p:nvSpPr>
        <p:spPr/>
        <p:txBody>
          <a:bodyPr/>
          <a:lstStyle/>
          <a:p>
            <a:endParaRPr lang="en-US" noProof="0" dirty="0"/>
          </a:p>
        </p:txBody>
      </p:sp>
      <p:sp>
        <p:nvSpPr>
          <p:cNvPr id="5" name="Slide Number Placeholder 4"/>
          <p:cNvSpPr>
            <a:spLocks noGrp="1"/>
          </p:cNvSpPr>
          <p:nvPr>
            <p:ph type="sldNum" sz="quarter" idx="12"/>
          </p:nvPr>
        </p:nvSpPr>
        <p:spPr/>
        <p:txBody>
          <a:bodyPr/>
          <a:lstStyle/>
          <a:p>
            <a:fld id="{45D37B1E-C366-494F-A587-962AD9AABC83}" type="slidenum">
              <a:rPr lang="en-US" noProof="0" smtClean="0"/>
              <a:t>‹#›</a:t>
            </a:fld>
            <a:endParaRPr lang="en-US" noProof="0" dirty="0"/>
          </a:p>
        </p:txBody>
      </p:sp>
    </p:spTree>
    <p:extLst>
      <p:ext uri="{BB962C8B-B14F-4D97-AF65-F5344CB8AC3E}">
        <p14:creationId xmlns:p14="http://schemas.microsoft.com/office/powerpoint/2010/main" val="94525675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45D37B1E-C366-494F-A587-962AD9AABC83}" type="slidenum">
              <a:rPr lang="en-US" smtClean="0"/>
              <a:pPr/>
              <a:t>‹#›</a:t>
            </a:fld>
            <a:endParaRPr lang="en-US" dirty="0"/>
          </a:p>
        </p:txBody>
      </p:sp>
    </p:spTree>
    <p:extLst>
      <p:ext uri="{BB962C8B-B14F-4D97-AF65-F5344CB8AC3E}">
        <p14:creationId xmlns:p14="http://schemas.microsoft.com/office/powerpoint/2010/main" val="1198522577"/>
      </p:ext>
    </p:extLst>
  </p:cSld>
  <p:clrMapOvr>
    <a:masterClrMapping/>
  </p:clrMapOvr>
  <p:hf sldNum="0" hdr="0" ftr="0" dt="0"/>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p:cSld name="Thank you, green">
    <p:spTree>
      <p:nvGrpSpPr>
        <p:cNvPr id="1" name=""/>
        <p:cNvGrpSpPr/>
        <p:nvPr/>
      </p:nvGrpSpPr>
      <p:grpSpPr>
        <a:xfrm>
          <a:off x="0" y="0"/>
          <a:ext cx="0" cy="0"/>
          <a:chOff x="0" y="0"/>
          <a:chExt cx="0" cy="0"/>
        </a:xfrm>
      </p:grpSpPr>
      <p:sp>
        <p:nvSpPr>
          <p:cNvPr id="6" name="Rectangle 5"/>
          <p:cNvSpPr/>
          <p:nvPr/>
        </p:nvSpPr>
        <p:spPr>
          <a:xfrm>
            <a:off x="0" y="0"/>
            <a:ext cx="12193200" cy="6858000"/>
          </a:xfrm>
          <a:prstGeom prst="rect">
            <a:avLst/>
          </a:prstGeom>
          <a:solidFill>
            <a:srgbClr val="C5DA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9" name="Picture 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659073" y="2807325"/>
            <a:ext cx="6730989" cy="1350000"/>
          </a:xfrm>
          <a:prstGeom prst="rect">
            <a:avLst/>
          </a:prstGeom>
        </p:spPr>
      </p:pic>
      <p:sp>
        <p:nvSpPr>
          <p:cNvPr id="12" name="Date Placeholder 11"/>
          <p:cNvSpPr>
            <a:spLocks noGrp="1"/>
          </p:cNvSpPr>
          <p:nvPr>
            <p:ph type="dt" sz="half" idx="10"/>
          </p:nvPr>
        </p:nvSpPr>
        <p:spPr/>
        <p:txBody>
          <a:bodyPr/>
          <a:lstStyle>
            <a:lvl1pPr>
              <a:defRPr>
                <a:solidFill>
                  <a:srgbClr val="C5DA00"/>
                </a:solidFill>
              </a:defRPr>
            </a:lvl1pPr>
          </a:lstStyle>
          <a:p>
            <a:endParaRPr lang="en-US" dirty="0"/>
          </a:p>
        </p:txBody>
      </p:sp>
      <p:sp>
        <p:nvSpPr>
          <p:cNvPr id="13" name="Footer Placeholder 12"/>
          <p:cNvSpPr>
            <a:spLocks noGrp="1"/>
          </p:cNvSpPr>
          <p:nvPr>
            <p:ph type="ftr" sz="quarter" idx="11"/>
          </p:nvPr>
        </p:nvSpPr>
        <p:spPr>
          <a:xfrm>
            <a:off x="1008724" y="6606121"/>
            <a:ext cx="6857340" cy="244475"/>
          </a:xfrm>
        </p:spPr>
        <p:txBody>
          <a:bodyPr anchor="b" anchorCtr="0"/>
          <a:lstStyle>
            <a:lvl1pPr>
              <a:defRPr>
                <a:solidFill>
                  <a:srgbClr val="C5DA00"/>
                </a:solidFill>
              </a:defRPr>
            </a:lvl1pPr>
          </a:lstStyle>
          <a:p>
            <a:endParaRPr lang="en-US" dirty="0"/>
          </a:p>
        </p:txBody>
      </p:sp>
      <p:sp>
        <p:nvSpPr>
          <p:cNvPr id="14" name="Slide Number Placeholder 13"/>
          <p:cNvSpPr>
            <a:spLocks noGrp="1"/>
          </p:cNvSpPr>
          <p:nvPr>
            <p:ph type="sldNum" sz="quarter" idx="12"/>
          </p:nvPr>
        </p:nvSpPr>
        <p:spPr>
          <a:xfrm>
            <a:off x="487363" y="6606121"/>
            <a:ext cx="516119" cy="244475"/>
          </a:xfrm>
        </p:spPr>
        <p:txBody>
          <a:bodyPr anchor="b" anchorCtr="0"/>
          <a:lstStyle>
            <a:lvl1pPr>
              <a:defRPr>
                <a:solidFill>
                  <a:srgbClr val="C5DA00"/>
                </a:solidFill>
              </a:defRPr>
            </a:lvl1pPr>
          </a:lstStyle>
          <a:p>
            <a:fld id="{45D37B1E-C366-494F-A587-962AD9AABC83}" type="slidenum">
              <a:rPr lang="en-US" smtClean="0"/>
              <a:pPr/>
              <a:t>‹#›</a:t>
            </a:fld>
            <a:endParaRPr lang="en-US" dirty="0"/>
          </a:p>
        </p:txBody>
      </p:sp>
      <p:pic>
        <p:nvPicPr>
          <p:cNvPr id="10" name="Picture 9"/>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10224000" y="6238800"/>
            <a:ext cx="1476320" cy="434959"/>
          </a:xfrm>
          <a:prstGeom prst="rect">
            <a:avLst/>
          </a:prstGeom>
        </p:spPr>
      </p:pic>
    </p:spTree>
    <p:extLst>
      <p:ext uri="{BB962C8B-B14F-4D97-AF65-F5344CB8AC3E}">
        <p14:creationId xmlns:p14="http://schemas.microsoft.com/office/powerpoint/2010/main" val="266123036"/>
      </p:ext>
    </p:extLst>
  </p:cSld>
  <p:clrMapOvr>
    <a:masterClrMapping/>
  </p:clrMapOvr>
  <p:hf sldNum="0" hdr="0" ftr="0" dt="0"/>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p:cSld name="Thank you, purple">
    <p:spTree>
      <p:nvGrpSpPr>
        <p:cNvPr id="1" name=""/>
        <p:cNvGrpSpPr/>
        <p:nvPr/>
      </p:nvGrpSpPr>
      <p:grpSpPr>
        <a:xfrm>
          <a:off x="0" y="0"/>
          <a:ext cx="0" cy="0"/>
          <a:chOff x="0" y="0"/>
          <a:chExt cx="0" cy="0"/>
        </a:xfrm>
      </p:grpSpPr>
      <p:sp>
        <p:nvSpPr>
          <p:cNvPr id="6" name="Rectangle 5"/>
          <p:cNvSpPr/>
          <p:nvPr/>
        </p:nvSpPr>
        <p:spPr>
          <a:xfrm>
            <a:off x="0" y="0"/>
            <a:ext cx="12193200" cy="6858000"/>
          </a:xfrm>
          <a:prstGeom prst="rect">
            <a:avLst/>
          </a:prstGeom>
          <a:solidFill>
            <a:srgbClr val="2D00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9" name="Picture 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659073" y="2807325"/>
            <a:ext cx="6730989" cy="1350000"/>
          </a:xfrm>
          <a:prstGeom prst="rect">
            <a:avLst/>
          </a:prstGeom>
        </p:spPr>
      </p:pic>
      <p:sp>
        <p:nvSpPr>
          <p:cNvPr id="12" name="Date Placeholder 11"/>
          <p:cNvSpPr>
            <a:spLocks noGrp="1"/>
          </p:cNvSpPr>
          <p:nvPr>
            <p:ph type="dt" sz="half" idx="10"/>
          </p:nvPr>
        </p:nvSpPr>
        <p:spPr/>
        <p:txBody>
          <a:bodyPr/>
          <a:lstStyle>
            <a:lvl1pPr>
              <a:defRPr>
                <a:solidFill>
                  <a:srgbClr val="2D0028"/>
                </a:solidFill>
              </a:defRPr>
            </a:lvl1pPr>
          </a:lstStyle>
          <a:p>
            <a:endParaRPr lang="en-US" dirty="0"/>
          </a:p>
        </p:txBody>
      </p:sp>
      <p:sp>
        <p:nvSpPr>
          <p:cNvPr id="13" name="Footer Placeholder 12"/>
          <p:cNvSpPr>
            <a:spLocks noGrp="1"/>
          </p:cNvSpPr>
          <p:nvPr>
            <p:ph type="ftr" sz="quarter" idx="11"/>
          </p:nvPr>
        </p:nvSpPr>
        <p:spPr>
          <a:xfrm>
            <a:off x="1008724" y="6606121"/>
            <a:ext cx="6857340" cy="244475"/>
          </a:xfrm>
        </p:spPr>
        <p:txBody>
          <a:bodyPr anchor="b" anchorCtr="0"/>
          <a:lstStyle>
            <a:lvl1pPr>
              <a:defRPr>
                <a:solidFill>
                  <a:srgbClr val="2D0028"/>
                </a:solidFill>
              </a:defRPr>
            </a:lvl1pPr>
          </a:lstStyle>
          <a:p>
            <a:endParaRPr lang="en-US" dirty="0"/>
          </a:p>
        </p:txBody>
      </p:sp>
      <p:sp>
        <p:nvSpPr>
          <p:cNvPr id="14" name="Slide Number Placeholder 13"/>
          <p:cNvSpPr>
            <a:spLocks noGrp="1"/>
          </p:cNvSpPr>
          <p:nvPr>
            <p:ph type="sldNum" sz="quarter" idx="12"/>
          </p:nvPr>
        </p:nvSpPr>
        <p:spPr>
          <a:xfrm>
            <a:off x="487363" y="6606121"/>
            <a:ext cx="516119" cy="244475"/>
          </a:xfrm>
        </p:spPr>
        <p:txBody>
          <a:bodyPr anchor="b" anchorCtr="0"/>
          <a:lstStyle>
            <a:lvl1pPr>
              <a:defRPr>
                <a:solidFill>
                  <a:srgbClr val="2D0028"/>
                </a:solidFill>
              </a:defRPr>
            </a:lvl1pPr>
          </a:lstStyle>
          <a:p>
            <a:fld id="{45D37B1E-C366-494F-A587-962AD9AABC83}" type="slidenum">
              <a:rPr lang="en-US" smtClean="0"/>
              <a:pPr/>
              <a:t>‹#›</a:t>
            </a:fld>
            <a:endParaRPr lang="en-US" dirty="0"/>
          </a:p>
        </p:txBody>
      </p:sp>
      <p:pic>
        <p:nvPicPr>
          <p:cNvPr id="10" name="Picture 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224000" y="6238800"/>
            <a:ext cx="1476321" cy="434959"/>
          </a:xfrm>
          <a:prstGeom prst="rect">
            <a:avLst/>
          </a:prstGeom>
        </p:spPr>
      </p:pic>
    </p:spTree>
    <p:extLst>
      <p:ext uri="{BB962C8B-B14F-4D97-AF65-F5344CB8AC3E}">
        <p14:creationId xmlns:p14="http://schemas.microsoft.com/office/powerpoint/2010/main" val="2211172284"/>
      </p:ext>
    </p:extLst>
  </p:cSld>
  <p:clrMapOvr>
    <a:masterClrMapping/>
  </p:clrMapOvr>
  <p:hf sldNum="0" hdr="0" ftr="0" dt="0"/>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p:cSld name="Questions, green">
    <p:spTree>
      <p:nvGrpSpPr>
        <p:cNvPr id="1" name=""/>
        <p:cNvGrpSpPr/>
        <p:nvPr/>
      </p:nvGrpSpPr>
      <p:grpSpPr>
        <a:xfrm>
          <a:off x="0" y="0"/>
          <a:ext cx="0" cy="0"/>
          <a:chOff x="0" y="0"/>
          <a:chExt cx="0" cy="0"/>
        </a:xfrm>
      </p:grpSpPr>
      <p:sp>
        <p:nvSpPr>
          <p:cNvPr id="6" name="Rectangle 5"/>
          <p:cNvSpPr/>
          <p:nvPr/>
        </p:nvSpPr>
        <p:spPr>
          <a:xfrm>
            <a:off x="0" y="0"/>
            <a:ext cx="12193200" cy="6858000"/>
          </a:xfrm>
          <a:prstGeom prst="rect">
            <a:avLst/>
          </a:prstGeom>
          <a:solidFill>
            <a:srgbClr val="C5DA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Date Placeholder 11"/>
          <p:cNvSpPr>
            <a:spLocks noGrp="1"/>
          </p:cNvSpPr>
          <p:nvPr>
            <p:ph type="dt" sz="half" idx="10"/>
          </p:nvPr>
        </p:nvSpPr>
        <p:spPr/>
        <p:txBody>
          <a:bodyPr/>
          <a:lstStyle>
            <a:lvl1pPr>
              <a:defRPr>
                <a:solidFill>
                  <a:srgbClr val="C5DA00"/>
                </a:solidFill>
              </a:defRPr>
            </a:lvl1pPr>
          </a:lstStyle>
          <a:p>
            <a:endParaRPr lang="en-US" dirty="0"/>
          </a:p>
        </p:txBody>
      </p:sp>
      <p:sp>
        <p:nvSpPr>
          <p:cNvPr id="13" name="Footer Placeholder 12"/>
          <p:cNvSpPr>
            <a:spLocks noGrp="1"/>
          </p:cNvSpPr>
          <p:nvPr>
            <p:ph type="ftr" sz="quarter" idx="11"/>
          </p:nvPr>
        </p:nvSpPr>
        <p:spPr>
          <a:xfrm>
            <a:off x="1008724" y="6606121"/>
            <a:ext cx="6857340" cy="244475"/>
          </a:xfrm>
        </p:spPr>
        <p:txBody>
          <a:bodyPr anchor="b" anchorCtr="0"/>
          <a:lstStyle>
            <a:lvl1pPr>
              <a:defRPr>
                <a:solidFill>
                  <a:srgbClr val="C5DA00"/>
                </a:solidFill>
              </a:defRPr>
            </a:lvl1pPr>
          </a:lstStyle>
          <a:p>
            <a:endParaRPr lang="en-US" dirty="0"/>
          </a:p>
        </p:txBody>
      </p:sp>
      <p:sp>
        <p:nvSpPr>
          <p:cNvPr id="14" name="Slide Number Placeholder 13"/>
          <p:cNvSpPr>
            <a:spLocks noGrp="1"/>
          </p:cNvSpPr>
          <p:nvPr>
            <p:ph type="sldNum" sz="quarter" idx="12"/>
          </p:nvPr>
        </p:nvSpPr>
        <p:spPr>
          <a:xfrm>
            <a:off x="487363" y="6606121"/>
            <a:ext cx="516119" cy="244475"/>
          </a:xfrm>
        </p:spPr>
        <p:txBody>
          <a:bodyPr anchor="b" anchorCtr="0"/>
          <a:lstStyle>
            <a:lvl1pPr>
              <a:defRPr>
                <a:solidFill>
                  <a:srgbClr val="C5DA00"/>
                </a:solidFill>
              </a:defRPr>
            </a:lvl1pPr>
          </a:lstStyle>
          <a:p>
            <a:fld id="{45D37B1E-C366-494F-A587-962AD9AABC83}" type="slidenum">
              <a:rPr lang="en-US" smtClean="0"/>
              <a:pPr/>
              <a:t>‹#›</a:t>
            </a:fld>
            <a:endParaRPr lang="en-US" dirty="0"/>
          </a:p>
        </p:txBody>
      </p:sp>
      <p:pic>
        <p:nvPicPr>
          <p:cNvPr id="10" name="Picture 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854312" y="2786400"/>
            <a:ext cx="6483376" cy="1285200"/>
          </a:xfrm>
          <a:prstGeom prst="rect">
            <a:avLst/>
          </a:prstGeom>
        </p:spPr>
      </p:pic>
      <p:pic>
        <p:nvPicPr>
          <p:cNvPr id="9" name="Picture 8"/>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10224000" y="6238800"/>
            <a:ext cx="1476320" cy="434959"/>
          </a:xfrm>
          <a:prstGeom prst="rect">
            <a:avLst/>
          </a:prstGeom>
        </p:spPr>
      </p:pic>
    </p:spTree>
    <p:extLst>
      <p:ext uri="{BB962C8B-B14F-4D97-AF65-F5344CB8AC3E}">
        <p14:creationId xmlns:p14="http://schemas.microsoft.com/office/powerpoint/2010/main" val="441134498"/>
      </p:ext>
    </p:extLst>
  </p:cSld>
  <p:clrMapOvr>
    <a:masterClrMapping/>
  </p:clrMapOvr>
  <p:hf sldNum="0" hdr="0" ftr="0" dt="0"/>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p:cSld name="Questions, purple">
    <p:spTree>
      <p:nvGrpSpPr>
        <p:cNvPr id="1" name=""/>
        <p:cNvGrpSpPr/>
        <p:nvPr/>
      </p:nvGrpSpPr>
      <p:grpSpPr>
        <a:xfrm>
          <a:off x="0" y="0"/>
          <a:ext cx="0" cy="0"/>
          <a:chOff x="0" y="0"/>
          <a:chExt cx="0" cy="0"/>
        </a:xfrm>
      </p:grpSpPr>
      <p:sp>
        <p:nvSpPr>
          <p:cNvPr id="6" name="Rectangle 5"/>
          <p:cNvSpPr/>
          <p:nvPr/>
        </p:nvSpPr>
        <p:spPr>
          <a:xfrm>
            <a:off x="0" y="0"/>
            <a:ext cx="12193200" cy="6858000"/>
          </a:xfrm>
          <a:prstGeom prst="rect">
            <a:avLst/>
          </a:prstGeom>
          <a:solidFill>
            <a:srgbClr val="2D00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Date Placeholder 11"/>
          <p:cNvSpPr>
            <a:spLocks noGrp="1"/>
          </p:cNvSpPr>
          <p:nvPr>
            <p:ph type="dt" sz="half" idx="10"/>
          </p:nvPr>
        </p:nvSpPr>
        <p:spPr/>
        <p:txBody>
          <a:bodyPr/>
          <a:lstStyle>
            <a:lvl1pPr>
              <a:defRPr>
                <a:solidFill>
                  <a:srgbClr val="2D0028"/>
                </a:solidFill>
              </a:defRPr>
            </a:lvl1pPr>
          </a:lstStyle>
          <a:p>
            <a:endParaRPr lang="en-US" dirty="0"/>
          </a:p>
        </p:txBody>
      </p:sp>
      <p:sp>
        <p:nvSpPr>
          <p:cNvPr id="13" name="Footer Placeholder 12"/>
          <p:cNvSpPr>
            <a:spLocks noGrp="1"/>
          </p:cNvSpPr>
          <p:nvPr>
            <p:ph type="ftr" sz="quarter" idx="11"/>
          </p:nvPr>
        </p:nvSpPr>
        <p:spPr>
          <a:xfrm>
            <a:off x="1008724" y="6606121"/>
            <a:ext cx="6857340" cy="244475"/>
          </a:xfrm>
        </p:spPr>
        <p:txBody>
          <a:bodyPr anchor="b" anchorCtr="0"/>
          <a:lstStyle>
            <a:lvl1pPr>
              <a:defRPr>
                <a:solidFill>
                  <a:srgbClr val="2D0028"/>
                </a:solidFill>
              </a:defRPr>
            </a:lvl1pPr>
          </a:lstStyle>
          <a:p>
            <a:endParaRPr lang="en-US" dirty="0"/>
          </a:p>
        </p:txBody>
      </p:sp>
      <p:sp>
        <p:nvSpPr>
          <p:cNvPr id="14" name="Slide Number Placeholder 13"/>
          <p:cNvSpPr>
            <a:spLocks noGrp="1"/>
          </p:cNvSpPr>
          <p:nvPr>
            <p:ph type="sldNum" sz="quarter" idx="12"/>
          </p:nvPr>
        </p:nvSpPr>
        <p:spPr>
          <a:xfrm>
            <a:off x="487363" y="6606121"/>
            <a:ext cx="516119" cy="244475"/>
          </a:xfrm>
        </p:spPr>
        <p:txBody>
          <a:bodyPr anchor="b" anchorCtr="0"/>
          <a:lstStyle>
            <a:lvl1pPr>
              <a:defRPr>
                <a:solidFill>
                  <a:srgbClr val="2D0028"/>
                </a:solidFill>
              </a:defRPr>
            </a:lvl1pPr>
          </a:lstStyle>
          <a:p>
            <a:fld id="{45D37B1E-C366-494F-A587-962AD9AABC83}" type="slidenum">
              <a:rPr lang="en-US" smtClean="0"/>
              <a:pPr/>
              <a:t>‹#›</a:t>
            </a:fld>
            <a:endParaRPr lang="en-US" dirty="0"/>
          </a:p>
        </p:txBody>
      </p:sp>
      <p:pic>
        <p:nvPicPr>
          <p:cNvPr id="10" name="Picture 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854312" y="2786400"/>
            <a:ext cx="6483376" cy="1285200"/>
          </a:xfrm>
          <a:prstGeom prst="rect">
            <a:avLst/>
          </a:prstGeom>
        </p:spPr>
      </p:pic>
      <p:pic>
        <p:nvPicPr>
          <p:cNvPr id="9" name="Picture 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224000" y="6238800"/>
            <a:ext cx="1476321" cy="434959"/>
          </a:xfrm>
          <a:prstGeom prst="rect">
            <a:avLst/>
          </a:prstGeom>
        </p:spPr>
      </p:pic>
    </p:spTree>
    <p:extLst>
      <p:ext uri="{BB962C8B-B14F-4D97-AF65-F5344CB8AC3E}">
        <p14:creationId xmlns:p14="http://schemas.microsoft.com/office/powerpoint/2010/main" val="2374129187"/>
      </p:ext>
    </p:extLst>
  </p:cSld>
  <p:clrMapOvr>
    <a:masterClrMapping/>
  </p:clrMapOvr>
  <p:hf sldNum="0" hdr="0" ftr="0" dt="0"/>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p:cSld name="Rethink Tomorrow, green">
    <p:spTree>
      <p:nvGrpSpPr>
        <p:cNvPr id="1" name=""/>
        <p:cNvGrpSpPr/>
        <p:nvPr/>
      </p:nvGrpSpPr>
      <p:grpSpPr>
        <a:xfrm>
          <a:off x="0" y="0"/>
          <a:ext cx="0" cy="0"/>
          <a:chOff x="0" y="0"/>
          <a:chExt cx="0" cy="0"/>
        </a:xfrm>
      </p:grpSpPr>
      <p:sp>
        <p:nvSpPr>
          <p:cNvPr id="6" name="Rectangle 5"/>
          <p:cNvSpPr/>
          <p:nvPr/>
        </p:nvSpPr>
        <p:spPr>
          <a:xfrm>
            <a:off x="0" y="0"/>
            <a:ext cx="12193200" cy="6858000"/>
          </a:xfrm>
          <a:prstGeom prst="rect">
            <a:avLst/>
          </a:prstGeom>
          <a:solidFill>
            <a:srgbClr val="C5DA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Date Placeholder 11"/>
          <p:cNvSpPr>
            <a:spLocks noGrp="1"/>
          </p:cNvSpPr>
          <p:nvPr>
            <p:ph type="dt" sz="half" idx="10"/>
          </p:nvPr>
        </p:nvSpPr>
        <p:spPr/>
        <p:txBody>
          <a:bodyPr/>
          <a:lstStyle>
            <a:lvl1pPr>
              <a:defRPr>
                <a:solidFill>
                  <a:srgbClr val="C5DA00"/>
                </a:solidFill>
              </a:defRPr>
            </a:lvl1pPr>
          </a:lstStyle>
          <a:p>
            <a:endParaRPr lang="en-US" dirty="0"/>
          </a:p>
        </p:txBody>
      </p:sp>
      <p:sp>
        <p:nvSpPr>
          <p:cNvPr id="13" name="Footer Placeholder 12"/>
          <p:cNvSpPr>
            <a:spLocks noGrp="1"/>
          </p:cNvSpPr>
          <p:nvPr>
            <p:ph type="ftr" sz="quarter" idx="11"/>
          </p:nvPr>
        </p:nvSpPr>
        <p:spPr>
          <a:xfrm>
            <a:off x="1008724" y="6606121"/>
            <a:ext cx="6857340" cy="244475"/>
          </a:xfrm>
        </p:spPr>
        <p:txBody>
          <a:bodyPr anchor="b" anchorCtr="0"/>
          <a:lstStyle>
            <a:lvl1pPr>
              <a:defRPr>
                <a:solidFill>
                  <a:srgbClr val="C5DA00"/>
                </a:solidFill>
              </a:defRPr>
            </a:lvl1pPr>
          </a:lstStyle>
          <a:p>
            <a:endParaRPr lang="en-US" dirty="0"/>
          </a:p>
        </p:txBody>
      </p:sp>
      <p:sp>
        <p:nvSpPr>
          <p:cNvPr id="14" name="Slide Number Placeholder 13"/>
          <p:cNvSpPr>
            <a:spLocks noGrp="1"/>
          </p:cNvSpPr>
          <p:nvPr>
            <p:ph type="sldNum" sz="quarter" idx="12"/>
          </p:nvPr>
        </p:nvSpPr>
        <p:spPr>
          <a:xfrm>
            <a:off x="487363" y="6606121"/>
            <a:ext cx="516119" cy="244475"/>
          </a:xfrm>
        </p:spPr>
        <p:txBody>
          <a:bodyPr anchor="b" anchorCtr="0"/>
          <a:lstStyle>
            <a:lvl1pPr>
              <a:defRPr>
                <a:solidFill>
                  <a:srgbClr val="C5DA00"/>
                </a:solidFill>
              </a:defRPr>
            </a:lvl1pPr>
          </a:lstStyle>
          <a:p>
            <a:fld id="{45D37B1E-C366-494F-A587-962AD9AABC83}" type="slidenum">
              <a:rPr lang="en-US" smtClean="0"/>
              <a:pPr/>
              <a:t>‹#›</a:t>
            </a:fld>
            <a:endParaRPr lang="en-US" dirty="0"/>
          </a:p>
        </p:txBody>
      </p:sp>
      <p:pic>
        <p:nvPicPr>
          <p:cNvPr id="15" name="Picture 14"/>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a:xfrm>
            <a:off x="1254868" y="2930452"/>
            <a:ext cx="9786026" cy="919492"/>
          </a:xfrm>
          <a:prstGeom prst="rect">
            <a:avLst/>
          </a:prstGeom>
        </p:spPr>
      </p:pic>
      <p:pic>
        <p:nvPicPr>
          <p:cNvPr id="8" name="Picture 7"/>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10224000" y="6238800"/>
            <a:ext cx="1476320" cy="434959"/>
          </a:xfrm>
          <a:prstGeom prst="rect">
            <a:avLst/>
          </a:prstGeom>
        </p:spPr>
      </p:pic>
    </p:spTree>
    <p:extLst>
      <p:ext uri="{BB962C8B-B14F-4D97-AF65-F5344CB8AC3E}">
        <p14:creationId xmlns:p14="http://schemas.microsoft.com/office/powerpoint/2010/main" val="1534616020"/>
      </p:ext>
    </p:extLst>
  </p:cSld>
  <p:clrMapOvr>
    <a:masterClrMapping/>
  </p:clrMapOvr>
  <p:hf sldNum="0" hdr="0" ftr="0" dt="0"/>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p:cSld name="Rethink Tomorrow, purple">
    <p:spTree>
      <p:nvGrpSpPr>
        <p:cNvPr id="1" name=""/>
        <p:cNvGrpSpPr/>
        <p:nvPr/>
      </p:nvGrpSpPr>
      <p:grpSpPr>
        <a:xfrm>
          <a:off x="0" y="0"/>
          <a:ext cx="0" cy="0"/>
          <a:chOff x="0" y="0"/>
          <a:chExt cx="0" cy="0"/>
        </a:xfrm>
      </p:grpSpPr>
      <p:sp>
        <p:nvSpPr>
          <p:cNvPr id="6" name="Rectangle 5"/>
          <p:cNvSpPr/>
          <p:nvPr/>
        </p:nvSpPr>
        <p:spPr>
          <a:xfrm>
            <a:off x="0" y="0"/>
            <a:ext cx="12193200" cy="6858000"/>
          </a:xfrm>
          <a:prstGeom prst="rect">
            <a:avLst/>
          </a:prstGeom>
          <a:solidFill>
            <a:srgbClr val="2D00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Date Placeholder 11"/>
          <p:cNvSpPr>
            <a:spLocks noGrp="1"/>
          </p:cNvSpPr>
          <p:nvPr>
            <p:ph type="dt" sz="half" idx="10"/>
          </p:nvPr>
        </p:nvSpPr>
        <p:spPr/>
        <p:txBody>
          <a:bodyPr/>
          <a:lstStyle>
            <a:lvl1pPr>
              <a:defRPr>
                <a:solidFill>
                  <a:srgbClr val="2D0028"/>
                </a:solidFill>
              </a:defRPr>
            </a:lvl1pPr>
          </a:lstStyle>
          <a:p>
            <a:endParaRPr lang="en-US" dirty="0"/>
          </a:p>
        </p:txBody>
      </p:sp>
      <p:sp>
        <p:nvSpPr>
          <p:cNvPr id="13" name="Footer Placeholder 12"/>
          <p:cNvSpPr>
            <a:spLocks noGrp="1"/>
          </p:cNvSpPr>
          <p:nvPr>
            <p:ph type="ftr" sz="quarter" idx="11"/>
          </p:nvPr>
        </p:nvSpPr>
        <p:spPr>
          <a:xfrm>
            <a:off x="1008724" y="6606121"/>
            <a:ext cx="6857340" cy="244475"/>
          </a:xfrm>
        </p:spPr>
        <p:txBody>
          <a:bodyPr anchor="b" anchorCtr="0"/>
          <a:lstStyle>
            <a:lvl1pPr>
              <a:defRPr>
                <a:solidFill>
                  <a:srgbClr val="2D0028"/>
                </a:solidFill>
              </a:defRPr>
            </a:lvl1pPr>
          </a:lstStyle>
          <a:p>
            <a:endParaRPr lang="en-US" dirty="0"/>
          </a:p>
        </p:txBody>
      </p:sp>
      <p:sp>
        <p:nvSpPr>
          <p:cNvPr id="14" name="Slide Number Placeholder 13"/>
          <p:cNvSpPr>
            <a:spLocks noGrp="1"/>
          </p:cNvSpPr>
          <p:nvPr>
            <p:ph type="sldNum" sz="quarter" idx="12"/>
          </p:nvPr>
        </p:nvSpPr>
        <p:spPr>
          <a:xfrm>
            <a:off x="487363" y="6606121"/>
            <a:ext cx="516119" cy="244475"/>
          </a:xfrm>
        </p:spPr>
        <p:txBody>
          <a:bodyPr anchor="b" anchorCtr="0"/>
          <a:lstStyle>
            <a:lvl1pPr>
              <a:defRPr>
                <a:solidFill>
                  <a:srgbClr val="2D0028"/>
                </a:solidFill>
              </a:defRPr>
            </a:lvl1pPr>
          </a:lstStyle>
          <a:p>
            <a:fld id="{45D37B1E-C366-494F-A587-962AD9AABC83}" type="slidenum">
              <a:rPr lang="en-US" smtClean="0"/>
              <a:pPr/>
              <a:t>‹#›</a:t>
            </a:fld>
            <a:endParaRPr lang="en-US" dirty="0"/>
          </a:p>
        </p:txBody>
      </p:sp>
      <p:pic>
        <p:nvPicPr>
          <p:cNvPr id="9" name="Picture 8"/>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a:xfrm>
            <a:off x="1254868" y="2930452"/>
            <a:ext cx="9786026" cy="919492"/>
          </a:xfrm>
          <a:prstGeom prst="rect">
            <a:avLst/>
          </a:prstGeom>
        </p:spPr>
      </p:pic>
    </p:spTree>
    <p:extLst>
      <p:ext uri="{BB962C8B-B14F-4D97-AF65-F5344CB8AC3E}">
        <p14:creationId xmlns:p14="http://schemas.microsoft.com/office/powerpoint/2010/main" val="693208430"/>
      </p:ext>
    </p:extLst>
  </p:cSld>
  <p:clrMapOvr>
    <a:masterClrMapping/>
  </p:clrMapOvr>
  <p:hf sldNum="0" hdr="0" ftr="0" dt="0"/>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purple">
    <p:spTree>
      <p:nvGrpSpPr>
        <p:cNvPr id="1" name=""/>
        <p:cNvGrpSpPr/>
        <p:nvPr/>
      </p:nvGrpSpPr>
      <p:grpSpPr>
        <a:xfrm>
          <a:off x="0" y="0"/>
          <a:ext cx="0" cy="0"/>
          <a:chOff x="0" y="0"/>
          <a:chExt cx="0" cy="0"/>
        </a:xfrm>
      </p:grpSpPr>
      <p:grpSp>
        <p:nvGrpSpPr>
          <p:cNvPr id="16" name="Group 4"/>
          <p:cNvGrpSpPr>
            <a:grpSpLocks noChangeAspect="1"/>
          </p:cNvGrpSpPr>
          <p:nvPr userDrawn="1"/>
        </p:nvGrpSpPr>
        <p:grpSpPr bwMode="auto">
          <a:xfrm>
            <a:off x="1" y="0"/>
            <a:ext cx="12187238" cy="6858000"/>
            <a:chOff x="2" y="0"/>
            <a:chExt cx="7675" cy="4320"/>
          </a:xfrm>
        </p:grpSpPr>
        <p:sp>
          <p:nvSpPr>
            <p:cNvPr id="17" name="Rectangle 5"/>
            <p:cNvSpPr>
              <a:spLocks noChangeArrowheads="1"/>
            </p:cNvSpPr>
            <p:nvPr/>
          </p:nvSpPr>
          <p:spPr bwMode="auto">
            <a:xfrm>
              <a:off x="2" y="0"/>
              <a:ext cx="7675" cy="4320"/>
            </a:xfrm>
            <a:prstGeom prst="rect">
              <a:avLst/>
            </a:prstGeom>
            <a:solidFill>
              <a:srgbClr val="DBDDD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 name="Freeform 6"/>
            <p:cNvSpPr>
              <a:spLocks/>
            </p:cNvSpPr>
            <p:nvPr/>
          </p:nvSpPr>
          <p:spPr bwMode="auto">
            <a:xfrm>
              <a:off x="229" y="0"/>
              <a:ext cx="7448" cy="4320"/>
            </a:xfrm>
            <a:custGeom>
              <a:avLst/>
              <a:gdLst>
                <a:gd name="T0" fmla="*/ 0 w 7448"/>
                <a:gd name="T1" fmla="*/ 340 h 4320"/>
                <a:gd name="T2" fmla="*/ 0 w 7448"/>
                <a:gd name="T3" fmla="*/ 4320 h 4320"/>
                <a:gd name="T4" fmla="*/ 7448 w 7448"/>
                <a:gd name="T5" fmla="*/ 4320 h 4320"/>
                <a:gd name="T6" fmla="*/ 7448 w 7448"/>
                <a:gd name="T7" fmla="*/ 0 h 4320"/>
                <a:gd name="T8" fmla="*/ 0 w 7448"/>
                <a:gd name="T9" fmla="*/ 340 h 4320"/>
              </a:gdLst>
              <a:ahLst/>
              <a:cxnLst>
                <a:cxn ang="0">
                  <a:pos x="T0" y="T1"/>
                </a:cxn>
                <a:cxn ang="0">
                  <a:pos x="T2" y="T3"/>
                </a:cxn>
                <a:cxn ang="0">
                  <a:pos x="T4" y="T5"/>
                </a:cxn>
                <a:cxn ang="0">
                  <a:pos x="T6" y="T7"/>
                </a:cxn>
                <a:cxn ang="0">
                  <a:pos x="T8" y="T9"/>
                </a:cxn>
              </a:cxnLst>
              <a:rect l="0" t="0" r="r" b="b"/>
              <a:pathLst>
                <a:path w="7448" h="4320">
                  <a:moveTo>
                    <a:pt x="0" y="340"/>
                  </a:moveTo>
                  <a:lnTo>
                    <a:pt x="0" y="4320"/>
                  </a:lnTo>
                  <a:lnTo>
                    <a:pt x="7448" y="4320"/>
                  </a:lnTo>
                  <a:lnTo>
                    <a:pt x="7448" y="0"/>
                  </a:lnTo>
                  <a:lnTo>
                    <a:pt x="0" y="34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 name="Freeform 7"/>
            <p:cNvSpPr>
              <a:spLocks/>
            </p:cNvSpPr>
            <p:nvPr/>
          </p:nvSpPr>
          <p:spPr bwMode="auto">
            <a:xfrm>
              <a:off x="2" y="113"/>
              <a:ext cx="453" cy="454"/>
            </a:xfrm>
            <a:custGeom>
              <a:avLst/>
              <a:gdLst>
                <a:gd name="T0" fmla="*/ 0 w 453"/>
                <a:gd name="T1" fmla="*/ 0 h 454"/>
                <a:gd name="T2" fmla="*/ 0 w 453"/>
                <a:gd name="T3" fmla="*/ 454 h 454"/>
                <a:gd name="T4" fmla="*/ 453 w 453"/>
                <a:gd name="T5" fmla="*/ 392 h 454"/>
                <a:gd name="T6" fmla="*/ 453 w 453"/>
                <a:gd name="T7" fmla="*/ 62 h 454"/>
                <a:gd name="T8" fmla="*/ 0 w 453"/>
                <a:gd name="T9" fmla="*/ 0 h 454"/>
              </a:gdLst>
              <a:ahLst/>
              <a:cxnLst>
                <a:cxn ang="0">
                  <a:pos x="T0" y="T1"/>
                </a:cxn>
                <a:cxn ang="0">
                  <a:pos x="T2" y="T3"/>
                </a:cxn>
                <a:cxn ang="0">
                  <a:pos x="T4" y="T5"/>
                </a:cxn>
                <a:cxn ang="0">
                  <a:pos x="T6" y="T7"/>
                </a:cxn>
                <a:cxn ang="0">
                  <a:pos x="T8" y="T9"/>
                </a:cxn>
              </a:cxnLst>
              <a:rect l="0" t="0" r="r" b="b"/>
              <a:pathLst>
                <a:path w="453" h="454">
                  <a:moveTo>
                    <a:pt x="0" y="0"/>
                  </a:moveTo>
                  <a:lnTo>
                    <a:pt x="0" y="454"/>
                  </a:lnTo>
                  <a:lnTo>
                    <a:pt x="453" y="392"/>
                  </a:lnTo>
                  <a:lnTo>
                    <a:pt x="453" y="62"/>
                  </a:lnTo>
                  <a:lnTo>
                    <a:pt x="0"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0" name="Group 19"/>
          <p:cNvGrpSpPr/>
          <p:nvPr userDrawn="1"/>
        </p:nvGrpSpPr>
        <p:grpSpPr>
          <a:xfrm>
            <a:off x="722313" y="6238800"/>
            <a:ext cx="10978007" cy="434959"/>
            <a:chOff x="722313" y="6238800"/>
            <a:chExt cx="10978007" cy="434959"/>
          </a:xfrm>
        </p:grpSpPr>
        <p:pic>
          <p:nvPicPr>
            <p:cNvPr id="21" name="Picture 20"/>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a:xfrm>
              <a:off x="10224000" y="6238800"/>
              <a:ext cx="1476320" cy="434959"/>
            </a:xfrm>
            <a:prstGeom prst="rect">
              <a:avLst/>
            </a:prstGeom>
          </p:spPr>
        </p:pic>
        <p:pic>
          <p:nvPicPr>
            <p:cNvPr id="22" name="Picture 21"/>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722313" y="6508800"/>
              <a:ext cx="1171532" cy="104770"/>
            </a:xfrm>
            <a:prstGeom prst="rect">
              <a:avLst/>
            </a:prstGeom>
          </p:spPr>
        </p:pic>
      </p:grpSp>
      <p:sp>
        <p:nvSpPr>
          <p:cNvPr id="23" name="Title 6"/>
          <p:cNvSpPr>
            <a:spLocks noGrp="1"/>
          </p:cNvSpPr>
          <p:nvPr>
            <p:ph type="title" hasCustomPrompt="1"/>
          </p:nvPr>
        </p:nvSpPr>
        <p:spPr>
          <a:xfrm>
            <a:off x="722312" y="1763713"/>
            <a:ext cx="8104187" cy="2321343"/>
          </a:xfrm>
        </p:spPr>
        <p:txBody>
          <a:bodyPr/>
          <a:lstStyle>
            <a:lvl1pPr>
              <a:defRPr sz="5400"/>
            </a:lvl1pPr>
          </a:lstStyle>
          <a:p>
            <a:r>
              <a:rPr lang="en-US" dirty="0"/>
              <a:t>Click to add title</a:t>
            </a:r>
          </a:p>
        </p:txBody>
      </p:sp>
      <p:sp>
        <p:nvSpPr>
          <p:cNvPr id="25" name="Text Placeholder 9"/>
          <p:cNvSpPr>
            <a:spLocks noGrp="1"/>
          </p:cNvSpPr>
          <p:nvPr>
            <p:ph type="body" sz="quarter" idx="15" hasCustomPrompt="1"/>
          </p:nvPr>
        </p:nvSpPr>
        <p:spPr>
          <a:xfrm>
            <a:off x="722313" y="4271446"/>
            <a:ext cx="8104187" cy="298450"/>
          </a:xfrm>
        </p:spPr>
        <p:txBody>
          <a:bodyPr/>
          <a:lstStyle>
            <a:lvl1pPr>
              <a:defRPr b="1" baseline="0"/>
            </a:lvl1pPr>
          </a:lstStyle>
          <a:p>
            <a:pPr lvl="0"/>
            <a:r>
              <a:rPr lang="en-US" dirty="0"/>
              <a:t>Click to insert name</a:t>
            </a:r>
          </a:p>
        </p:txBody>
      </p:sp>
      <p:sp>
        <p:nvSpPr>
          <p:cNvPr id="26" name="Text Placeholder 9"/>
          <p:cNvSpPr>
            <a:spLocks noGrp="1"/>
          </p:cNvSpPr>
          <p:nvPr>
            <p:ph type="body" sz="quarter" idx="16" hasCustomPrompt="1"/>
          </p:nvPr>
        </p:nvSpPr>
        <p:spPr>
          <a:xfrm>
            <a:off x="722313" y="4569158"/>
            <a:ext cx="8104187" cy="298450"/>
          </a:xfrm>
        </p:spPr>
        <p:txBody>
          <a:bodyPr/>
          <a:lstStyle>
            <a:lvl1pPr>
              <a:defRPr b="0" baseline="0"/>
            </a:lvl1pPr>
          </a:lstStyle>
          <a:p>
            <a:pPr lvl="0"/>
            <a:r>
              <a:rPr lang="en-US" dirty="0"/>
              <a:t>Click to insert name</a:t>
            </a:r>
          </a:p>
        </p:txBody>
      </p:sp>
    </p:spTree>
    <p:extLst>
      <p:ext uri="{BB962C8B-B14F-4D97-AF65-F5344CB8AC3E}">
        <p14:creationId xmlns:p14="http://schemas.microsoft.com/office/powerpoint/2010/main" val="4139810815"/>
      </p:ext>
    </p:extLst>
  </p:cSld>
  <p:clrMapOvr>
    <a:masterClrMapping/>
  </p:clrMapOvr>
  <p:hf sldNum="0" hdr="0" ftr="0" dt="0"/>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p:cSld name="Logo, green">
    <p:spTree>
      <p:nvGrpSpPr>
        <p:cNvPr id="1" name=""/>
        <p:cNvGrpSpPr/>
        <p:nvPr/>
      </p:nvGrpSpPr>
      <p:grpSpPr>
        <a:xfrm>
          <a:off x="0" y="0"/>
          <a:ext cx="0" cy="0"/>
          <a:chOff x="0" y="0"/>
          <a:chExt cx="0" cy="0"/>
        </a:xfrm>
      </p:grpSpPr>
      <p:sp>
        <p:nvSpPr>
          <p:cNvPr id="6" name="Rectangle 5"/>
          <p:cNvSpPr/>
          <p:nvPr/>
        </p:nvSpPr>
        <p:spPr>
          <a:xfrm>
            <a:off x="0" y="0"/>
            <a:ext cx="12193200" cy="6858000"/>
          </a:xfrm>
          <a:prstGeom prst="rect">
            <a:avLst/>
          </a:prstGeom>
          <a:solidFill>
            <a:srgbClr val="C5DA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Date Placeholder 11"/>
          <p:cNvSpPr>
            <a:spLocks noGrp="1"/>
          </p:cNvSpPr>
          <p:nvPr>
            <p:ph type="dt" sz="half" idx="10"/>
          </p:nvPr>
        </p:nvSpPr>
        <p:spPr/>
        <p:txBody>
          <a:bodyPr/>
          <a:lstStyle>
            <a:lvl1pPr>
              <a:defRPr>
                <a:solidFill>
                  <a:srgbClr val="C5DA00"/>
                </a:solidFill>
              </a:defRPr>
            </a:lvl1pPr>
          </a:lstStyle>
          <a:p>
            <a:endParaRPr lang="en-US" dirty="0"/>
          </a:p>
        </p:txBody>
      </p:sp>
      <p:sp>
        <p:nvSpPr>
          <p:cNvPr id="13" name="Footer Placeholder 12"/>
          <p:cNvSpPr>
            <a:spLocks noGrp="1"/>
          </p:cNvSpPr>
          <p:nvPr>
            <p:ph type="ftr" sz="quarter" idx="11"/>
          </p:nvPr>
        </p:nvSpPr>
        <p:spPr>
          <a:xfrm>
            <a:off x="1008724" y="6606121"/>
            <a:ext cx="6857340" cy="244475"/>
          </a:xfrm>
        </p:spPr>
        <p:txBody>
          <a:bodyPr anchor="b" anchorCtr="0"/>
          <a:lstStyle>
            <a:lvl1pPr>
              <a:defRPr>
                <a:solidFill>
                  <a:srgbClr val="C5DA00"/>
                </a:solidFill>
              </a:defRPr>
            </a:lvl1pPr>
          </a:lstStyle>
          <a:p>
            <a:endParaRPr lang="en-US" dirty="0"/>
          </a:p>
        </p:txBody>
      </p:sp>
      <p:sp>
        <p:nvSpPr>
          <p:cNvPr id="14" name="Slide Number Placeholder 13"/>
          <p:cNvSpPr>
            <a:spLocks noGrp="1"/>
          </p:cNvSpPr>
          <p:nvPr>
            <p:ph type="sldNum" sz="quarter" idx="12"/>
          </p:nvPr>
        </p:nvSpPr>
        <p:spPr>
          <a:xfrm>
            <a:off x="487363" y="6606121"/>
            <a:ext cx="516119" cy="244475"/>
          </a:xfrm>
        </p:spPr>
        <p:txBody>
          <a:bodyPr anchor="b" anchorCtr="0"/>
          <a:lstStyle>
            <a:lvl1pPr>
              <a:defRPr>
                <a:solidFill>
                  <a:srgbClr val="C5DA00"/>
                </a:solidFill>
              </a:defRPr>
            </a:lvl1pPr>
          </a:lstStyle>
          <a:p>
            <a:fld id="{45D37B1E-C366-494F-A587-962AD9AABC83}" type="slidenum">
              <a:rPr lang="en-US" smtClean="0"/>
              <a:pPr/>
              <a:t>‹#›</a:t>
            </a:fld>
            <a:endParaRPr lang="en-US" dirty="0"/>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980021" y="1848839"/>
            <a:ext cx="7344816" cy="2161632"/>
          </a:xfrm>
          <a:prstGeom prst="rect">
            <a:avLst/>
          </a:prstGeom>
        </p:spPr>
      </p:pic>
      <p:pic>
        <p:nvPicPr>
          <p:cNvPr id="5" name="Picture 4"/>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2983079" y="4112428"/>
            <a:ext cx="4014000" cy="361963"/>
          </a:xfrm>
          <a:prstGeom prst="rect">
            <a:avLst/>
          </a:prstGeom>
        </p:spPr>
      </p:pic>
      <p:sp>
        <p:nvSpPr>
          <p:cNvPr id="8" name="Rectangle 7"/>
          <p:cNvSpPr/>
          <p:nvPr userDrawn="1"/>
        </p:nvSpPr>
        <p:spPr>
          <a:xfrm>
            <a:off x="0" y="0"/>
            <a:ext cx="12193200" cy="6858000"/>
          </a:xfrm>
          <a:prstGeom prst="rect">
            <a:avLst/>
          </a:prstGeom>
          <a:solidFill>
            <a:srgbClr val="C5DA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980021" y="1848839"/>
            <a:ext cx="7344816" cy="2161632"/>
          </a:xfrm>
          <a:prstGeom prst="rect">
            <a:avLst/>
          </a:prstGeom>
        </p:spPr>
      </p:pic>
      <p:pic>
        <p:nvPicPr>
          <p:cNvPr id="10" name="Picture 9"/>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2983079" y="4112428"/>
            <a:ext cx="4014000" cy="361963"/>
          </a:xfrm>
          <a:prstGeom prst="rect">
            <a:avLst/>
          </a:prstGeom>
        </p:spPr>
      </p:pic>
    </p:spTree>
    <p:extLst>
      <p:ext uri="{BB962C8B-B14F-4D97-AF65-F5344CB8AC3E}">
        <p14:creationId xmlns:p14="http://schemas.microsoft.com/office/powerpoint/2010/main" val="368364259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p:cSld name="Logo, purple">
    <p:spTree>
      <p:nvGrpSpPr>
        <p:cNvPr id="1" name=""/>
        <p:cNvGrpSpPr/>
        <p:nvPr/>
      </p:nvGrpSpPr>
      <p:grpSpPr>
        <a:xfrm>
          <a:off x="0" y="0"/>
          <a:ext cx="0" cy="0"/>
          <a:chOff x="0" y="0"/>
          <a:chExt cx="0" cy="0"/>
        </a:xfrm>
      </p:grpSpPr>
      <p:sp>
        <p:nvSpPr>
          <p:cNvPr id="6" name="Rectangle 5"/>
          <p:cNvSpPr/>
          <p:nvPr/>
        </p:nvSpPr>
        <p:spPr>
          <a:xfrm>
            <a:off x="0" y="0"/>
            <a:ext cx="12193200" cy="6858000"/>
          </a:xfrm>
          <a:prstGeom prst="rect">
            <a:avLst/>
          </a:prstGeom>
          <a:solidFill>
            <a:srgbClr val="2D00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Date Placeholder 11"/>
          <p:cNvSpPr>
            <a:spLocks noGrp="1"/>
          </p:cNvSpPr>
          <p:nvPr>
            <p:ph type="dt" sz="half" idx="10"/>
          </p:nvPr>
        </p:nvSpPr>
        <p:spPr/>
        <p:txBody>
          <a:bodyPr/>
          <a:lstStyle>
            <a:lvl1pPr>
              <a:defRPr>
                <a:solidFill>
                  <a:srgbClr val="2D0028"/>
                </a:solidFill>
              </a:defRPr>
            </a:lvl1pPr>
          </a:lstStyle>
          <a:p>
            <a:endParaRPr lang="en-US" dirty="0"/>
          </a:p>
        </p:txBody>
      </p:sp>
      <p:sp>
        <p:nvSpPr>
          <p:cNvPr id="13" name="Footer Placeholder 12"/>
          <p:cNvSpPr>
            <a:spLocks noGrp="1"/>
          </p:cNvSpPr>
          <p:nvPr>
            <p:ph type="ftr" sz="quarter" idx="11"/>
          </p:nvPr>
        </p:nvSpPr>
        <p:spPr>
          <a:xfrm>
            <a:off x="1008724" y="6606121"/>
            <a:ext cx="6857340" cy="244475"/>
          </a:xfrm>
        </p:spPr>
        <p:txBody>
          <a:bodyPr anchor="b" anchorCtr="0"/>
          <a:lstStyle>
            <a:lvl1pPr>
              <a:defRPr>
                <a:solidFill>
                  <a:srgbClr val="2D0028"/>
                </a:solidFill>
              </a:defRPr>
            </a:lvl1pPr>
          </a:lstStyle>
          <a:p>
            <a:endParaRPr lang="en-US" dirty="0"/>
          </a:p>
        </p:txBody>
      </p:sp>
      <p:sp>
        <p:nvSpPr>
          <p:cNvPr id="14" name="Slide Number Placeholder 13"/>
          <p:cNvSpPr>
            <a:spLocks noGrp="1"/>
          </p:cNvSpPr>
          <p:nvPr>
            <p:ph type="sldNum" sz="quarter" idx="12"/>
          </p:nvPr>
        </p:nvSpPr>
        <p:spPr>
          <a:xfrm>
            <a:off x="487363" y="6606121"/>
            <a:ext cx="516119" cy="244475"/>
          </a:xfrm>
        </p:spPr>
        <p:txBody>
          <a:bodyPr anchor="b" anchorCtr="0"/>
          <a:lstStyle>
            <a:lvl1pPr>
              <a:defRPr>
                <a:solidFill>
                  <a:srgbClr val="2D0028"/>
                </a:solidFill>
              </a:defRPr>
            </a:lvl1pPr>
          </a:lstStyle>
          <a:p>
            <a:fld id="{45D37B1E-C366-494F-A587-962AD9AABC83}" type="slidenum">
              <a:rPr lang="en-US" smtClean="0"/>
              <a:pPr/>
              <a:t>‹#›</a:t>
            </a:fld>
            <a:endParaRPr lang="en-US" dirty="0"/>
          </a:p>
        </p:txBody>
      </p:sp>
      <p:pic>
        <p:nvPicPr>
          <p:cNvPr id="8" name="Picture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980021" y="1848839"/>
            <a:ext cx="7344816" cy="2161632"/>
          </a:xfrm>
          <a:prstGeom prst="rect">
            <a:avLst/>
          </a:prstGeom>
        </p:spPr>
      </p:pic>
      <p:pic>
        <p:nvPicPr>
          <p:cNvPr id="10" name="Picture 9"/>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2983079" y="4112428"/>
            <a:ext cx="4014000" cy="361963"/>
          </a:xfrm>
          <a:prstGeom prst="rect">
            <a:avLst/>
          </a:prstGeom>
        </p:spPr>
      </p:pic>
    </p:spTree>
    <p:extLst>
      <p:ext uri="{BB962C8B-B14F-4D97-AF65-F5344CB8AC3E}">
        <p14:creationId xmlns:p14="http://schemas.microsoft.com/office/powerpoint/2010/main" val="3757493685"/>
      </p:ext>
    </p:extLst>
  </p:cSld>
  <p:clrMapOvr>
    <a:masterClrMapping/>
  </p:clrMapOvr>
  <p:hf sldNum="0" hdr="0" ftr="0" dt="0"/>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userDrawn="1">
  <p:cSld name="Logo, white">
    <p:spTree>
      <p:nvGrpSpPr>
        <p:cNvPr id="1" name=""/>
        <p:cNvGrpSpPr/>
        <p:nvPr/>
      </p:nvGrpSpPr>
      <p:grpSpPr>
        <a:xfrm>
          <a:off x="0" y="0"/>
          <a:ext cx="0" cy="0"/>
          <a:chOff x="0" y="0"/>
          <a:chExt cx="0" cy="0"/>
        </a:xfrm>
      </p:grpSpPr>
      <p:sp>
        <p:nvSpPr>
          <p:cNvPr id="12" name="Date Placeholder 11"/>
          <p:cNvSpPr>
            <a:spLocks noGrp="1"/>
          </p:cNvSpPr>
          <p:nvPr>
            <p:ph type="dt" sz="half" idx="10"/>
          </p:nvPr>
        </p:nvSpPr>
        <p:spPr/>
        <p:txBody>
          <a:bodyPr/>
          <a:lstStyle>
            <a:lvl1pPr>
              <a:defRPr>
                <a:solidFill>
                  <a:srgbClr val="FFFFFF"/>
                </a:solidFill>
              </a:defRPr>
            </a:lvl1pPr>
          </a:lstStyle>
          <a:p>
            <a:endParaRPr lang="en-US" dirty="0"/>
          </a:p>
        </p:txBody>
      </p:sp>
      <p:sp>
        <p:nvSpPr>
          <p:cNvPr id="13" name="Footer Placeholder 12"/>
          <p:cNvSpPr>
            <a:spLocks noGrp="1"/>
          </p:cNvSpPr>
          <p:nvPr>
            <p:ph type="ftr" sz="quarter" idx="11"/>
          </p:nvPr>
        </p:nvSpPr>
        <p:spPr>
          <a:xfrm>
            <a:off x="1008724" y="6606121"/>
            <a:ext cx="6857340" cy="244475"/>
          </a:xfrm>
        </p:spPr>
        <p:txBody>
          <a:bodyPr anchor="b" anchorCtr="0"/>
          <a:lstStyle>
            <a:lvl1pPr>
              <a:defRPr>
                <a:solidFill>
                  <a:srgbClr val="FFFFFF"/>
                </a:solidFill>
              </a:defRPr>
            </a:lvl1pPr>
          </a:lstStyle>
          <a:p>
            <a:endParaRPr lang="en-US" dirty="0"/>
          </a:p>
        </p:txBody>
      </p:sp>
      <p:sp>
        <p:nvSpPr>
          <p:cNvPr id="14" name="Slide Number Placeholder 13"/>
          <p:cNvSpPr>
            <a:spLocks noGrp="1"/>
          </p:cNvSpPr>
          <p:nvPr>
            <p:ph type="sldNum" sz="quarter" idx="12"/>
          </p:nvPr>
        </p:nvSpPr>
        <p:spPr>
          <a:xfrm>
            <a:off x="487363" y="6606121"/>
            <a:ext cx="516119" cy="244475"/>
          </a:xfrm>
        </p:spPr>
        <p:txBody>
          <a:bodyPr anchor="b" anchorCtr="0"/>
          <a:lstStyle>
            <a:lvl1pPr>
              <a:defRPr>
                <a:solidFill>
                  <a:srgbClr val="FFFFFF"/>
                </a:solidFill>
              </a:defRPr>
            </a:lvl1pPr>
          </a:lstStyle>
          <a:p>
            <a:fld id="{45D37B1E-C366-494F-A587-962AD9AABC83}" type="slidenum">
              <a:rPr lang="en-US" smtClean="0"/>
              <a:pPr/>
              <a:t>‹#›</a:t>
            </a:fld>
            <a:endParaRPr lang="en-US" dirty="0"/>
          </a:p>
        </p:txBody>
      </p:sp>
      <p:grpSp>
        <p:nvGrpSpPr>
          <p:cNvPr id="2" name="Group 4"/>
          <p:cNvGrpSpPr>
            <a:grpSpLocks noChangeAspect="1"/>
          </p:cNvGrpSpPr>
          <p:nvPr userDrawn="1"/>
        </p:nvGrpSpPr>
        <p:grpSpPr bwMode="auto">
          <a:xfrm>
            <a:off x="2979738" y="1849438"/>
            <a:ext cx="7342187" cy="2163762"/>
            <a:chOff x="1877" y="1165"/>
            <a:chExt cx="4625" cy="1363"/>
          </a:xfrm>
          <a:solidFill>
            <a:schemeClr val="accent2"/>
          </a:solidFill>
        </p:grpSpPr>
        <p:sp>
          <p:nvSpPr>
            <p:cNvPr id="7" name="Freeform 5"/>
            <p:cNvSpPr>
              <a:spLocks noEditPoints="1"/>
            </p:cNvSpPr>
            <p:nvPr userDrawn="1"/>
          </p:nvSpPr>
          <p:spPr bwMode="auto">
            <a:xfrm>
              <a:off x="5595" y="1870"/>
              <a:ext cx="100" cy="101"/>
            </a:xfrm>
            <a:custGeom>
              <a:avLst/>
              <a:gdLst>
                <a:gd name="T0" fmla="*/ 30 w 60"/>
                <a:gd name="T1" fmla="*/ 0 h 61"/>
                <a:gd name="T2" fmla="*/ 0 w 60"/>
                <a:gd name="T3" fmla="*/ 31 h 61"/>
                <a:gd name="T4" fmla="*/ 30 w 60"/>
                <a:gd name="T5" fmla="*/ 61 h 61"/>
                <a:gd name="T6" fmla="*/ 60 w 60"/>
                <a:gd name="T7" fmla="*/ 31 h 61"/>
                <a:gd name="T8" fmla="*/ 30 w 60"/>
                <a:gd name="T9" fmla="*/ 0 h 61"/>
                <a:gd name="T10" fmla="*/ 30 w 60"/>
                <a:gd name="T11" fmla="*/ 57 h 61"/>
                <a:gd name="T12" fmla="*/ 5 w 60"/>
                <a:gd name="T13" fmla="*/ 31 h 61"/>
                <a:gd name="T14" fmla="*/ 30 w 60"/>
                <a:gd name="T15" fmla="*/ 5 h 61"/>
                <a:gd name="T16" fmla="*/ 55 w 60"/>
                <a:gd name="T17" fmla="*/ 31 h 61"/>
                <a:gd name="T18" fmla="*/ 30 w 60"/>
                <a:gd name="T19" fmla="*/ 57 h 61"/>
                <a:gd name="T20" fmla="*/ 36 w 60"/>
                <a:gd name="T21" fmla="*/ 32 h 61"/>
                <a:gd name="T22" fmla="*/ 42 w 60"/>
                <a:gd name="T23" fmla="*/ 23 h 61"/>
                <a:gd name="T24" fmla="*/ 31 w 60"/>
                <a:gd name="T25" fmla="*/ 14 h 61"/>
                <a:gd name="T26" fmla="*/ 20 w 60"/>
                <a:gd name="T27" fmla="*/ 14 h 61"/>
                <a:gd name="T28" fmla="*/ 18 w 60"/>
                <a:gd name="T29" fmla="*/ 16 h 61"/>
                <a:gd name="T30" fmla="*/ 18 w 60"/>
                <a:gd name="T31" fmla="*/ 46 h 61"/>
                <a:gd name="T32" fmla="*/ 20 w 60"/>
                <a:gd name="T33" fmla="*/ 48 h 61"/>
                <a:gd name="T34" fmla="*/ 22 w 60"/>
                <a:gd name="T35" fmla="*/ 48 h 61"/>
                <a:gd name="T36" fmla="*/ 24 w 60"/>
                <a:gd name="T37" fmla="*/ 46 h 61"/>
                <a:gd name="T38" fmla="*/ 24 w 60"/>
                <a:gd name="T39" fmla="*/ 33 h 61"/>
                <a:gd name="T40" fmla="*/ 30 w 60"/>
                <a:gd name="T41" fmla="*/ 33 h 61"/>
                <a:gd name="T42" fmla="*/ 37 w 60"/>
                <a:gd name="T43" fmla="*/ 46 h 61"/>
                <a:gd name="T44" fmla="*/ 40 w 60"/>
                <a:gd name="T45" fmla="*/ 48 h 61"/>
                <a:gd name="T46" fmla="*/ 42 w 60"/>
                <a:gd name="T47" fmla="*/ 48 h 61"/>
                <a:gd name="T48" fmla="*/ 43 w 60"/>
                <a:gd name="T49" fmla="*/ 45 h 61"/>
                <a:gd name="T50" fmla="*/ 36 w 60"/>
                <a:gd name="T51" fmla="*/ 32 h 61"/>
                <a:gd name="T52" fmla="*/ 30 w 60"/>
                <a:gd name="T53" fmla="*/ 29 h 61"/>
                <a:gd name="T54" fmla="*/ 24 w 60"/>
                <a:gd name="T55" fmla="*/ 29 h 61"/>
                <a:gd name="T56" fmla="*/ 24 w 60"/>
                <a:gd name="T57" fmla="*/ 18 h 61"/>
                <a:gd name="T58" fmla="*/ 30 w 60"/>
                <a:gd name="T59" fmla="*/ 18 h 61"/>
                <a:gd name="T60" fmla="*/ 36 w 60"/>
                <a:gd name="T61" fmla="*/ 23 h 61"/>
                <a:gd name="T62" fmla="*/ 30 w 60"/>
                <a:gd name="T63" fmla="*/ 29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0" h="61">
                  <a:moveTo>
                    <a:pt x="30" y="0"/>
                  </a:moveTo>
                  <a:cubicBezTo>
                    <a:pt x="13" y="0"/>
                    <a:pt x="0" y="14"/>
                    <a:pt x="0" y="31"/>
                  </a:cubicBezTo>
                  <a:cubicBezTo>
                    <a:pt x="0" y="48"/>
                    <a:pt x="13" y="61"/>
                    <a:pt x="30" y="61"/>
                  </a:cubicBezTo>
                  <a:cubicBezTo>
                    <a:pt x="47" y="61"/>
                    <a:pt x="60" y="48"/>
                    <a:pt x="60" y="31"/>
                  </a:cubicBezTo>
                  <a:cubicBezTo>
                    <a:pt x="60" y="13"/>
                    <a:pt x="47" y="0"/>
                    <a:pt x="30" y="0"/>
                  </a:cubicBezTo>
                  <a:close/>
                  <a:moveTo>
                    <a:pt x="30" y="57"/>
                  </a:moveTo>
                  <a:cubicBezTo>
                    <a:pt x="16" y="57"/>
                    <a:pt x="5" y="45"/>
                    <a:pt x="5" y="31"/>
                  </a:cubicBezTo>
                  <a:cubicBezTo>
                    <a:pt x="5" y="16"/>
                    <a:pt x="16" y="5"/>
                    <a:pt x="30" y="5"/>
                  </a:cubicBezTo>
                  <a:cubicBezTo>
                    <a:pt x="44" y="5"/>
                    <a:pt x="55" y="16"/>
                    <a:pt x="55" y="31"/>
                  </a:cubicBezTo>
                  <a:cubicBezTo>
                    <a:pt x="55" y="45"/>
                    <a:pt x="44" y="57"/>
                    <a:pt x="30" y="57"/>
                  </a:cubicBezTo>
                  <a:close/>
                  <a:moveTo>
                    <a:pt x="36" y="32"/>
                  </a:moveTo>
                  <a:cubicBezTo>
                    <a:pt x="40" y="31"/>
                    <a:pt x="42" y="27"/>
                    <a:pt x="42" y="23"/>
                  </a:cubicBezTo>
                  <a:cubicBezTo>
                    <a:pt x="42" y="18"/>
                    <a:pt x="39" y="14"/>
                    <a:pt x="31" y="14"/>
                  </a:cubicBezTo>
                  <a:cubicBezTo>
                    <a:pt x="20" y="14"/>
                    <a:pt x="20" y="14"/>
                    <a:pt x="20" y="14"/>
                  </a:cubicBezTo>
                  <a:cubicBezTo>
                    <a:pt x="19" y="14"/>
                    <a:pt x="18" y="15"/>
                    <a:pt x="18" y="16"/>
                  </a:cubicBezTo>
                  <a:cubicBezTo>
                    <a:pt x="18" y="46"/>
                    <a:pt x="18" y="46"/>
                    <a:pt x="18" y="46"/>
                  </a:cubicBezTo>
                  <a:cubicBezTo>
                    <a:pt x="18" y="47"/>
                    <a:pt x="19" y="48"/>
                    <a:pt x="20" y="48"/>
                  </a:cubicBezTo>
                  <a:cubicBezTo>
                    <a:pt x="22" y="48"/>
                    <a:pt x="22" y="48"/>
                    <a:pt x="22" y="48"/>
                  </a:cubicBezTo>
                  <a:cubicBezTo>
                    <a:pt x="23" y="48"/>
                    <a:pt x="24" y="47"/>
                    <a:pt x="24" y="46"/>
                  </a:cubicBezTo>
                  <a:cubicBezTo>
                    <a:pt x="24" y="33"/>
                    <a:pt x="24" y="33"/>
                    <a:pt x="24" y="33"/>
                  </a:cubicBezTo>
                  <a:cubicBezTo>
                    <a:pt x="30" y="33"/>
                    <a:pt x="30" y="33"/>
                    <a:pt x="30" y="33"/>
                  </a:cubicBezTo>
                  <a:cubicBezTo>
                    <a:pt x="37" y="46"/>
                    <a:pt x="37" y="46"/>
                    <a:pt x="37" y="46"/>
                  </a:cubicBezTo>
                  <a:cubicBezTo>
                    <a:pt x="37" y="47"/>
                    <a:pt x="38" y="48"/>
                    <a:pt x="40" y="48"/>
                  </a:cubicBezTo>
                  <a:cubicBezTo>
                    <a:pt x="42" y="48"/>
                    <a:pt x="42" y="48"/>
                    <a:pt x="42" y="48"/>
                  </a:cubicBezTo>
                  <a:cubicBezTo>
                    <a:pt x="43" y="48"/>
                    <a:pt x="44" y="46"/>
                    <a:pt x="43" y="45"/>
                  </a:cubicBezTo>
                  <a:lnTo>
                    <a:pt x="36" y="32"/>
                  </a:lnTo>
                  <a:close/>
                  <a:moveTo>
                    <a:pt x="30" y="29"/>
                  </a:moveTo>
                  <a:cubicBezTo>
                    <a:pt x="24" y="29"/>
                    <a:pt x="24" y="29"/>
                    <a:pt x="24" y="29"/>
                  </a:cubicBezTo>
                  <a:cubicBezTo>
                    <a:pt x="24" y="18"/>
                    <a:pt x="24" y="18"/>
                    <a:pt x="24" y="18"/>
                  </a:cubicBezTo>
                  <a:cubicBezTo>
                    <a:pt x="30" y="18"/>
                    <a:pt x="30" y="18"/>
                    <a:pt x="30" y="18"/>
                  </a:cubicBezTo>
                  <a:cubicBezTo>
                    <a:pt x="34" y="18"/>
                    <a:pt x="36" y="20"/>
                    <a:pt x="36" y="23"/>
                  </a:cubicBezTo>
                  <a:cubicBezTo>
                    <a:pt x="36" y="27"/>
                    <a:pt x="33" y="29"/>
                    <a:pt x="30" y="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 name="Freeform 6"/>
            <p:cNvSpPr>
              <a:spLocks/>
            </p:cNvSpPr>
            <p:nvPr userDrawn="1"/>
          </p:nvSpPr>
          <p:spPr bwMode="auto">
            <a:xfrm>
              <a:off x="5262" y="1870"/>
              <a:ext cx="293" cy="462"/>
            </a:xfrm>
            <a:custGeom>
              <a:avLst/>
              <a:gdLst>
                <a:gd name="T0" fmla="*/ 177 w 177"/>
                <a:gd name="T1" fmla="*/ 199 h 278"/>
                <a:gd name="T2" fmla="*/ 51 w 177"/>
                <a:gd name="T3" fmla="*/ 69 h 278"/>
                <a:gd name="T4" fmla="*/ 95 w 177"/>
                <a:gd name="T5" fmla="*/ 30 h 278"/>
                <a:gd name="T6" fmla="*/ 148 w 177"/>
                <a:gd name="T7" fmla="*/ 49 h 278"/>
                <a:gd name="T8" fmla="*/ 167 w 177"/>
                <a:gd name="T9" fmla="*/ 31 h 278"/>
                <a:gd name="T10" fmla="*/ 98 w 177"/>
                <a:gd name="T11" fmla="*/ 0 h 278"/>
                <a:gd name="T12" fmla="*/ 10 w 177"/>
                <a:gd name="T13" fmla="*/ 73 h 278"/>
                <a:gd name="T14" fmla="*/ 79 w 177"/>
                <a:gd name="T15" fmla="*/ 152 h 278"/>
                <a:gd name="T16" fmla="*/ 136 w 177"/>
                <a:gd name="T17" fmla="*/ 204 h 278"/>
                <a:gd name="T18" fmla="*/ 84 w 177"/>
                <a:gd name="T19" fmla="*/ 248 h 278"/>
                <a:gd name="T20" fmla="*/ 20 w 177"/>
                <a:gd name="T21" fmla="*/ 222 h 278"/>
                <a:gd name="T22" fmla="*/ 0 w 177"/>
                <a:gd name="T23" fmla="*/ 239 h 278"/>
                <a:gd name="T24" fmla="*/ 83 w 177"/>
                <a:gd name="T25" fmla="*/ 278 h 278"/>
                <a:gd name="T26" fmla="*/ 177 w 177"/>
                <a:gd name="T27" fmla="*/ 199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7" h="278">
                  <a:moveTo>
                    <a:pt x="177" y="199"/>
                  </a:moveTo>
                  <a:cubicBezTo>
                    <a:pt x="177" y="112"/>
                    <a:pt x="51" y="126"/>
                    <a:pt x="51" y="69"/>
                  </a:cubicBezTo>
                  <a:cubicBezTo>
                    <a:pt x="51" y="49"/>
                    <a:pt x="66" y="30"/>
                    <a:pt x="95" y="30"/>
                  </a:cubicBezTo>
                  <a:cubicBezTo>
                    <a:pt x="125" y="30"/>
                    <a:pt x="133" y="49"/>
                    <a:pt x="148" y="49"/>
                  </a:cubicBezTo>
                  <a:cubicBezTo>
                    <a:pt x="156" y="49"/>
                    <a:pt x="167" y="44"/>
                    <a:pt x="167" y="31"/>
                  </a:cubicBezTo>
                  <a:cubicBezTo>
                    <a:pt x="167" y="12"/>
                    <a:pt x="133" y="0"/>
                    <a:pt x="98" y="0"/>
                  </a:cubicBezTo>
                  <a:cubicBezTo>
                    <a:pt x="51" y="0"/>
                    <a:pt x="10" y="25"/>
                    <a:pt x="10" y="73"/>
                  </a:cubicBezTo>
                  <a:cubicBezTo>
                    <a:pt x="10" y="117"/>
                    <a:pt x="41" y="136"/>
                    <a:pt x="79" y="152"/>
                  </a:cubicBezTo>
                  <a:cubicBezTo>
                    <a:pt x="109" y="164"/>
                    <a:pt x="136" y="175"/>
                    <a:pt x="136" y="204"/>
                  </a:cubicBezTo>
                  <a:cubicBezTo>
                    <a:pt x="136" y="225"/>
                    <a:pt x="119" y="248"/>
                    <a:pt x="84" y="248"/>
                  </a:cubicBezTo>
                  <a:cubicBezTo>
                    <a:pt x="48" y="248"/>
                    <a:pt x="37" y="222"/>
                    <a:pt x="20" y="222"/>
                  </a:cubicBezTo>
                  <a:cubicBezTo>
                    <a:pt x="11" y="222"/>
                    <a:pt x="0" y="226"/>
                    <a:pt x="0" y="239"/>
                  </a:cubicBezTo>
                  <a:cubicBezTo>
                    <a:pt x="0" y="260"/>
                    <a:pt x="41" y="278"/>
                    <a:pt x="83" y="278"/>
                  </a:cubicBezTo>
                  <a:cubicBezTo>
                    <a:pt x="129" y="278"/>
                    <a:pt x="177" y="253"/>
                    <a:pt x="177" y="19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 name="Freeform 7"/>
            <p:cNvSpPr>
              <a:spLocks noEditPoints="1"/>
            </p:cNvSpPr>
            <p:nvPr userDrawn="1"/>
          </p:nvSpPr>
          <p:spPr bwMode="auto">
            <a:xfrm>
              <a:off x="4867" y="1870"/>
              <a:ext cx="357" cy="462"/>
            </a:xfrm>
            <a:custGeom>
              <a:avLst/>
              <a:gdLst>
                <a:gd name="T0" fmla="*/ 215 w 215"/>
                <a:gd name="T1" fmla="*/ 97 h 278"/>
                <a:gd name="T2" fmla="*/ 113 w 215"/>
                <a:gd name="T3" fmla="*/ 0 h 278"/>
                <a:gd name="T4" fmla="*/ 0 w 215"/>
                <a:gd name="T5" fmla="*/ 144 h 278"/>
                <a:gd name="T6" fmla="*/ 113 w 215"/>
                <a:gd name="T7" fmla="*/ 278 h 278"/>
                <a:gd name="T8" fmla="*/ 209 w 215"/>
                <a:gd name="T9" fmla="*/ 215 h 278"/>
                <a:gd name="T10" fmla="*/ 202 w 215"/>
                <a:gd name="T11" fmla="*/ 200 h 278"/>
                <a:gd name="T12" fmla="*/ 184 w 215"/>
                <a:gd name="T13" fmla="*/ 211 h 278"/>
                <a:gd name="T14" fmla="*/ 121 w 215"/>
                <a:gd name="T15" fmla="*/ 237 h 278"/>
                <a:gd name="T16" fmla="*/ 39 w 215"/>
                <a:gd name="T17" fmla="*/ 128 h 278"/>
                <a:gd name="T18" fmla="*/ 192 w 215"/>
                <a:gd name="T19" fmla="*/ 128 h 278"/>
                <a:gd name="T20" fmla="*/ 215 w 215"/>
                <a:gd name="T21" fmla="*/ 97 h 278"/>
                <a:gd name="T22" fmla="*/ 152 w 215"/>
                <a:gd name="T23" fmla="*/ 103 h 278"/>
                <a:gd name="T24" fmla="*/ 40 w 215"/>
                <a:gd name="T25" fmla="*/ 103 h 278"/>
                <a:gd name="T26" fmla="*/ 112 w 215"/>
                <a:gd name="T27" fmla="*/ 30 h 278"/>
                <a:gd name="T28" fmla="*/ 166 w 215"/>
                <a:gd name="T29" fmla="*/ 88 h 278"/>
                <a:gd name="T30" fmla="*/ 152 w 215"/>
                <a:gd name="T31" fmla="*/ 103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15" h="278">
                  <a:moveTo>
                    <a:pt x="215" y="97"/>
                  </a:moveTo>
                  <a:cubicBezTo>
                    <a:pt x="215" y="52"/>
                    <a:pt x="180" y="0"/>
                    <a:pt x="113" y="0"/>
                  </a:cubicBezTo>
                  <a:cubicBezTo>
                    <a:pt x="58" y="0"/>
                    <a:pt x="0" y="41"/>
                    <a:pt x="0" y="144"/>
                  </a:cubicBezTo>
                  <a:cubicBezTo>
                    <a:pt x="0" y="206"/>
                    <a:pt x="33" y="278"/>
                    <a:pt x="113" y="278"/>
                  </a:cubicBezTo>
                  <a:cubicBezTo>
                    <a:pt x="172" y="278"/>
                    <a:pt x="204" y="236"/>
                    <a:pt x="209" y="215"/>
                  </a:cubicBezTo>
                  <a:cubicBezTo>
                    <a:pt x="212" y="204"/>
                    <a:pt x="204" y="201"/>
                    <a:pt x="202" y="200"/>
                  </a:cubicBezTo>
                  <a:cubicBezTo>
                    <a:pt x="196" y="200"/>
                    <a:pt x="193" y="203"/>
                    <a:pt x="184" y="211"/>
                  </a:cubicBezTo>
                  <a:cubicBezTo>
                    <a:pt x="167" y="227"/>
                    <a:pt x="146" y="237"/>
                    <a:pt x="121" y="237"/>
                  </a:cubicBezTo>
                  <a:cubicBezTo>
                    <a:pt x="81" y="237"/>
                    <a:pt x="38" y="202"/>
                    <a:pt x="39" y="128"/>
                  </a:cubicBezTo>
                  <a:cubicBezTo>
                    <a:pt x="192" y="128"/>
                    <a:pt x="192" y="128"/>
                    <a:pt x="192" y="128"/>
                  </a:cubicBezTo>
                  <a:cubicBezTo>
                    <a:pt x="207" y="128"/>
                    <a:pt x="215" y="112"/>
                    <a:pt x="215" y="97"/>
                  </a:cubicBezTo>
                  <a:close/>
                  <a:moveTo>
                    <a:pt x="152" y="103"/>
                  </a:moveTo>
                  <a:cubicBezTo>
                    <a:pt x="40" y="103"/>
                    <a:pt x="40" y="103"/>
                    <a:pt x="40" y="103"/>
                  </a:cubicBezTo>
                  <a:cubicBezTo>
                    <a:pt x="45" y="63"/>
                    <a:pt x="67" y="30"/>
                    <a:pt x="112" y="30"/>
                  </a:cubicBezTo>
                  <a:cubicBezTo>
                    <a:pt x="144" y="30"/>
                    <a:pt x="166" y="58"/>
                    <a:pt x="166" y="88"/>
                  </a:cubicBezTo>
                  <a:cubicBezTo>
                    <a:pt x="166" y="96"/>
                    <a:pt x="164" y="103"/>
                    <a:pt x="152"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 name="Freeform 8"/>
            <p:cNvSpPr>
              <a:spLocks/>
            </p:cNvSpPr>
            <p:nvPr userDrawn="1"/>
          </p:nvSpPr>
          <p:spPr bwMode="auto">
            <a:xfrm>
              <a:off x="4249" y="1870"/>
              <a:ext cx="557" cy="452"/>
            </a:xfrm>
            <a:custGeom>
              <a:avLst/>
              <a:gdLst>
                <a:gd name="T0" fmla="*/ 243 w 336"/>
                <a:gd name="T1" fmla="*/ 0 h 272"/>
                <a:gd name="T2" fmla="*/ 172 w 336"/>
                <a:gd name="T3" fmla="*/ 27 h 272"/>
                <a:gd name="T4" fmla="*/ 96 w 336"/>
                <a:gd name="T5" fmla="*/ 0 h 272"/>
                <a:gd name="T6" fmla="*/ 23 w 336"/>
                <a:gd name="T7" fmla="*/ 13 h 272"/>
                <a:gd name="T8" fmla="*/ 0 w 336"/>
                <a:gd name="T9" fmla="*/ 34 h 272"/>
                <a:gd name="T10" fmla="*/ 0 w 336"/>
                <a:gd name="T11" fmla="*/ 267 h 272"/>
                <a:gd name="T12" fmla="*/ 5 w 336"/>
                <a:gd name="T13" fmla="*/ 272 h 272"/>
                <a:gd name="T14" fmla="*/ 10 w 336"/>
                <a:gd name="T15" fmla="*/ 272 h 272"/>
                <a:gd name="T16" fmla="*/ 35 w 336"/>
                <a:gd name="T17" fmla="*/ 272 h 272"/>
                <a:gd name="T18" fmla="*/ 41 w 336"/>
                <a:gd name="T19" fmla="*/ 272 h 272"/>
                <a:gd name="T20" fmla="*/ 46 w 336"/>
                <a:gd name="T21" fmla="*/ 267 h 272"/>
                <a:gd name="T22" fmla="*/ 46 w 336"/>
                <a:gd name="T23" fmla="*/ 51 h 272"/>
                <a:gd name="T24" fmla="*/ 94 w 336"/>
                <a:gd name="T25" fmla="*/ 30 h 272"/>
                <a:gd name="T26" fmla="*/ 146 w 336"/>
                <a:gd name="T27" fmla="*/ 85 h 272"/>
                <a:gd name="T28" fmla="*/ 146 w 336"/>
                <a:gd name="T29" fmla="*/ 267 h 272"/>
                <a:gd name="T30" fmla="*/ 146 w 336"/>
                <a:gd name="T31" fmla="*/ 268 h 272"/>
                <a:gd name="T32" fmla="*/ 151 w 336"/>
                <a:gd name="T33" fmla="*/ 272 h 272"/>
                <a:gd name="T34" fmla="*/ 187 w 336"/>
                <a:gd name="T35" fmla="*/ 272 h 272"/>
                <a:gd name="T36" fmla="*/ 191 w 336"/>
                <a:gd name="T37" fmla="*/ 269 h 272"/>
                <a:gd name="T38" fmla="*/ 192 w 336"/>
                <a:gd name="T39" fmla="*/ 267 h 272"/>
                <a:gd name="T40" fmla="*/ 192 w 336"/>
                <a:gd name="T41" fmla="*/ 85 h 272"/>
                <a:gd name="T42" fmla="*/ 241 w 336"/>
                <a:gd name="T43" fmla="*/ 30 h 272"/>
                <a:gd name="T44" fmla="*/ 291 w 336"/>
                <a:gd name="T45" fmla="*/ 90 h 272"/>
                <a:gd name="T46" fmla="*/ 291 w 336"/>
                <a:gd name="T47" fmla="*/ 267 h 272"/>
                <a:gd name="T48" fmla="*/ 296 w 336"/>
                <a:gd name="T49" fmla="*/ 272 h 272"/>
                <a:gd name="T50" fmla="*/ 302 w 336"/>
                <a:gd name="T51" fmla="*/ 272 h 272"/>
                <a:gd name="T52" fmla="*/ 330 w 336"/>
                <a:gd name="T53" fmla="*/ 272 h 272"/>
                <a:gd name="T54" fmla="*/ 331 w 336"/>
                <a:gd name="T55" fmla="*/ 272 h 272"/>
                <a:gd name="T56" fmla="*/ 336 w 336"/>
                <a:gd name="T57" fmla="*/ 267 h 272"/>
                <a:gd name="T58" fmla="*/ 336 w 336"/>
                <a:gd name="T59" fmla="*/ 83 h 272"/>
                <a:gd name="T60" fmla="*/ 243 w 336"/>
                <a:gd name="T61" fmla="*/ 0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36" h="272">
                  <a:moveTo>
                    <a:pt x="243" y="0"/>
                  </a:moveTo>
                  <a:cubicBezTo>
                    <a:pt x="208" y="0"/>
                    <a:pt x="186" y="15"/>
                    <a:pt x="172" y="27"/>
                  </a:cubicBezTo>
                  <a:cubicBezTo>
                    <a:pt x="158" y="15"/>
                    <a:pt x="135" y="0"/>
                    <a:pt x="96" y="0"/>
                  </a:cubicBezTo>
                  <a:cubicBezTo>
                    <a:pt x="67" y="0"/>
                    <a:pt x="38" y="8"/>
                    <a:pt x="23" y="13"/>
                  </a:cubicBezTo>
                  <a:cubicBezTo>
                    <a:pt x="6" y="18"/>
                    <a:pt x="0" y="25"/>
                    <a:pt x="0" y="34"/>
                  </a:cubicBezTo>
                  <a:cubicBezTo>
                    <a:pt x="0" y="267"/>
                    <a:pt x="0" y="267"/>
                    <a:pt x="0" y="267"/>
                  </a:cubicBezTo>
                  <a:cubicBezTo>
                    <a:pt x="0" y="269"/>
                    <a:pt x="3" y="272"/>
                    <a:pt x="5" y="272"/>
                  </a:cubicBezTo>
                  <a:cubicBezTo>
                    <a:pt x="10" y="272"/>
                    <a:pt x="10" y="272"/>
                    <a:pt x="10" y="272"/>
                  </a:cubicBezTo>
                  <a:cubicBezTo>
                    <a:pt x="35" y="272"/>
                    <a:pt x="35" y="272"/>
                    <a:pt x="35" y="272"/>
                  </a:cubicBezTo>
                  <a:cubicBezTo>
                    <a:pt x="41" y="272"/>
                    <a:pt x="41" y="272"/>
                    <a:pt x="41" y="272"/>
                  </a:cubicBezTo>
                  <a:cubicBezTo>
                    <a:pt x="44" y="272"/>
                    <a:pt x="46" y="269"/>
                    <a:pt x="46" y="267"/>
                  </a:cubicBezTo>
                  <a:cubicBezTo>
                    <a:pt x="46" y="51"/>
                    <a:pt x="46" y="51"/>
                    <a:pt x="46" y="51"/>
                  </a:cubicBezTo>
                  <a:cubicBezTo>
                    <a:pt x="46" y="40"/>
                    <a:pt x="65" y="30"/>
                    <a:pt x="94" y="30"/>
                  </a:cubicBezTo>
                  <a:cubicBezTo>
                    <a:pt x="143" y="30"/>
                    <a:pt x="146" y="61"/>
                    <a:pt x="146" y="85"/>
                  </a:cubicBezTo>
                  <a:cubicBezTo>
                    <a:pt x="146" y="85"/>
                    <a:pt x="146" y="267"/>
                    <a:pt x="146" y="267"/>
                  </a:cubicBezTo>
                  <a:cubicBezTo>
                    <a:pt x="146" y="267"/>
                    <a:pt x="146" y="267"/>
                    <a:pt x="146" y="268"/>
                  </a:cubicBezTo>
                  <a:cubicBezTo>
                    <a:pt x="147" y="270"/>
                    <a:pt x="149" y="272"/>
                    <a:pt x="151" y="272"/>
                  </a:cubicBezTo>
                  <a:cubicBezTo>
                    <a:pt x="187" y="272"/>
                    <a:pt x="187" y="272"/>
                    <a:pt x="187" y="272"/>
                  </a:cubicBezTo>
                  <a:cubicBezTo>
                    <a:pt x="189" y="272"/>
                    <a:pt x="190" y="270"/>
                    <a:pt x="191" y="269"/>
                  </a:cubicBezTo>
                  <a:cubicBezTo>
                    <a:pt x="191" y="268"/>
                    <a:pt x="192" y="267"/>
                    <a:pt x="192" y="267"/>
                  </a:cubicBezTo>
                  <a:cubicBezTo>
                    <a:pt x="192" y="267"/>
                    <a:pt x="192" y="85"/>
                    <a:pt x="192" y="85"/>
                  </a:cubicBezTo>
                  <a:cubicBezTo>
                    <a:pt x="192" y="61"/>
                    <a:pt x="194" y="31"/>
                    <a:pt x="241" y="30"/>
                  </a:cubicBezTo>
                  <a:cubicBezTo>
                    <a:pt x="292" y="31"/>
                    <a:pt x="291" y="67"/>
                    <a:pt x="291" y="90"/>
                  </a:cubicBezTo>
                  <a:cubicBezTo>
                    <a:pt x="291" y="267"/>
                    <a:pt x="291" y="267"/>
                    <a:pt x="291" y="267"/>
                  </a:cubicBezTo>
                  <a:cubicBezTo>
                    <a:pt x="291" y="269"/>
                    <a:pt x="293" y="272"/>
                    <a:pt x="296" y="272"/>
                  </a:cubicBezTo>
                  <a:cubicBezTo>
                    <a:pt x="302" y="272"/>
                    <a:pt x="302" y="272"/>
                    <a:pt x="302" y="272"/>
                  </a:cubicBezTo>
                  <a:cubicBezTo>
                    <a:pt x="330" y="272"/>
                    <a:pt x="330" y="272"/>
                    <a:pt x="330" y="272"/>
                  </a:cubicBezTo>
                  <a:cubicBezTo>
                    <a:pt x="331" y="272"/>
                    <a:pt x="331" y="272"/>
                    <a:pt x="331" y="272"/>
                  </a:cubicBezTo>
                  <a:cubicBezTo>
                    <a:pt x="334" y="272"/>
                    <a:pt x="336" y="269"/>
                    <a:pt x="336" y="267"/>
                  </a:cubicBezTo>
                  <a:cubicBezTo>
                    <a:pt x="336" y="83"/>
                    <a:pt x="336" y="83"/>
                    <a:pt x="336" y="83"/>
                  </a:cubicBezTo>
                  <a:cubicBezTo>
                    <a:pt x="336" y="49"/>
                    <a:pt x="331" y="0"/>
                    <a:pt x="24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 name="Freeform 9"/>
            <p:cNvSpPr>
              <a:spLocks/>
            </p:cNvSpPr>
            <p:nvPr userDrawn="1"/>
          </p:nvSpPr>
          <p:spPr bwMode="auto">
            <a:xfrm>
              <a:off x="3792" y="1880"/>
              <a:ext cx="413" cy="648"/>
            </a:xfrm>
            <a:custGeom>
              <a:avLst/>
              <a:gdLst>
                <a:gd name="T0" fmla="*/ 243 w 249"/>
                <a:gd name="T1" fmla="*/ 0 h 390"/>
                <a:gd name="T2" fmla="*/ 213 w 249"/>
                <a:gd name="T3" fmla="*/ 0 h 390"/>
                <a:gd name="T4" fmla="*/ 208 w 249"/>
                <a:gd name="T5" fmla="*/ 4 h 390"/>
                <a:gd name="T6" fmla="*/ 137 w 249"/>
                <a:gd name="T7" fmla="*/ 205 h 390"/>
                <a:gd name="T8" fmla="*/ 65 w 249"/>
                <a:gd name="T9" fmla="*/ 4 h 390"/>
                <a:gd name="T10" fmla="*/ 60 w 249"/>
                <a:gd name="T11" fmla="*/ 0 h 390"/>
                <a:gd name="T12" fmla="*/ 18 w 249"/>
                <a:gd name="T13" fmla="*/ 0 h 390"/>
                <a:gd name="T14" fmla="*/ 13 w 249"/>
                <a:gd name="T15" fmla="*/ 7 h 390"/>
                <a:gd name="T16" fmla="*/ 115 w 249"/>
                <a:gd name="T17" fmla="*/ 259 h 390"/>
                <a:gd name="T18" fmla="*/ 106 w 249"/>
                <a:gd name="T19" fmla="*/ 289 h 390"/>
                <a:gd name="T20" fmla="*/ 78 w 249"/>
                <a:gd name="T21" fmla="*/ 340 h 390"/>
                <a:gd name="T22" fmla="*/ 46 w 249"/>
                <a:gd name="T23" fmla="*/ 353 h 390"/>
                <a:gd name="T24" fmla="*/ 18 w 249"/>
                <a:gd name="T25" fmla="*/ 351 h 390"/>
                <a:gd name="T26" fmla="*/ 0 w 249"/>
                <a:gd name="T27" fmla="*/ 368 h 390"/>
                <a:gd name="T28" fmla="*/ 27 w 249"/>
                <a:gd name="T29" fmla="*/ 390 h 390"/>
                <a:gd name="T30" fmla="*/ 103 w 249"/>
                <a:gd name="T31" fmla="*/ 359 h 390"/>
                <a:gd name="T32" fmla="*/ 152 w 249"/>
                <a:gd name="T33" fmla="*/ 262 h 390"/>
                <a:gd name="T34" fmla="*/ 248 w 249"/>
                <a:gd name="T35" fmla="*/ 7 h 390"/>
                <a:gd name="T36" fmla="*/ 248 w 249"/>
                <a:gd name="T37" fmla="*/ 7 h 390"/>
                <a:gd name="T38" fmla="*/ 243 w 249"/>
                <a:gd name="T39" fmla="*/ 0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9" h="390">
                  <a:moveTo>
                    <a:pt x="243" y="0"/>
                  </a:moveTo>
                  <a:cubicBezTo>
                    <a:pt x="213" y="0"/>
                    <a:pt x="213" y="0"/>
                    <a:pt x="213" y="0"/>
                  </a:cubicBezTo>
                  <a:cubicBezTo>
                    <a:pt x="211" y="0"/>
                    <a:pt x="209" y="2"/>
                    <a:pt x="208" y="4"/>
                  </a:cubicBezTo>
                  <a:cubicBezTo>
                    <a:pt x="137" y="205"/>
                    <a:pt x="137" y="205"/>
                    <a:pt x="137" y="205"/>
                  </a:cubicBezTo>
                  <a:cubicBezTo>
                    <a:pt x="65" y="4"/>
                    <a:pt x="65" y="4"/>
                    <a:pt x="65" y="4"/>
                  </a:cubicBezTo>
                  <a:cubicBezTo>
                    <a:pt x="64" y="2"/>
                    <a:pt x="62" y="0"/>
                    <a:pt x="60" y="0"/>
                  </a:cubicBezTo>
                  <a:cubicBezTo>
                    <a:pt x="18" y="0"/>
                    <a:pt x="18" y="0"/>
                    <a:pt x="18" y="0"/>
                  </a:cubicBezTo>
                  <a:cubicBezTo>
                    <a:pt x="15" y="0"/>
                    <a:pt x="12" y="4"/>
                    <a:pt x="13" y="7"/>
                  </a:cubicBezTo>
                  <a:cubicBezTo>
                    <a:pt x="115" y="259"/>
                    <a:pt x="115" y="259"/>
                    <a:pt x="115" y="259"/>
                  </a:cubicBezTo>
                  <a:cubicBezTo>
                    <a:pt x="106" y="289"/>
                    <a:pt x="106" y="289"/>
                    <a:pt x="106" y="289"/>
                  </a:cubicBezTo>
                  <a:cubicBezTo>
                    <a:pt x="100" y="309"/>
                    <a:pt x="93" y="325"/>
                    <a:pt x="78" y="340"/>
                  </a:cubicBezTo>
                  <a:cubicBezTo>
                    <a:pt x="69" y="350"/>
                    <a:pt x="58" y="353"/>
                    <a:pt x="46" y="353"/>
                  </a:cubicBezTo>
                  <a:cubicBezTo>
                    <a:pt x="35" y="353"/>
                    <a:pt x="26" y="351"/>
                    <a:pt x="18" y="351"/>
                  </a:cubicBezTo>
                  <a:cubicBezTo>
                    <a:pt x="7" y="351"/>
                    <a:pt x="0" y="358"/>
                    <a:pt x="0" y="368"/>
                  </a:cubicBezTo>
                  <a:cubicBezTo>
                    <a:pt x="0" y="381"/>
                    <a:pt x="7" y="390"/>
                    <a:pt x="27" y="390"/>
                  </a:cubicBezTo>
                  <a:cubicBezTo>
                    <a:pt x="37" y="390"/>
                    <a:pt x="74" y="389"/>
                    <a:pt x="103" y="359"/>
                  </a:cubicBezTo>
                  <a:cubicBezTo>
                    <a:pt x="126" y="334"/>
                    <a:pt x="143" y="286"/>
                    <a:pt x="152" y="262"/>
                  </a:cubicBezTo>
                  <a:cubicBezTo>
                    <a:pt x="248" y="7"/>
                    <a:pt x="248" y="7"/>
                    <a:pt x="248" y="7"/>
                  </a:cubicBezTo>
                  <a:cubicBezTo>
                    <a:pt x="248" y="7"/>
                    <a:pt x="248" y="7"/>
                    <a:pt x="248" y="7"/>
                  </a:cubicBezTo>
                  <a:cubicBezTo>
                    <a:pt x="249" y="4"/>
                    <a:pt x="246" y="0"/>
                    <a:pt x="24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 name="Freeform 10"/>
            <p:cNvSpPr>
              <a:spLocks/>
            </p:cNvSpPr>
            <p:nvPr userDrawn="1"/>
          </p:nvSpPr>
          <p:spPr bwMode="auto">
            <a:xfrm>
              <a:off x="3481" y="1880"/>
              <a:ext cx="297" cy="442"/>
            </a:xfrm>
            <a:custGeom>
              <a:avLst/>
              <a:gdLst>
                <a:gd name="T0" fmla="*/ 173 w 179"/>
                <a:gd name="T1" fmla="*/ 237 h 266"/>
                <a:gd name="T2" fmla="*/ 61 w 179"/>
                <a:gd name="T3" fmla="*/ 237 h 266"/>
                <a:gd name="T4" fmla="*/ 176 w 179"/>
                <a:gd name="T5" fmla="*/ 15 h 266"/>
                <a:gd name="T6" fmla="*/ 167 w 179"/>
                <a:gd name="T7" fmla="*/ 0 h 266"/>
                <a:gd name="T8" fmla="*/ 12 w 179"/>
                <a:gd name="T9" fmla="*/ 0 h 266"/>
                <a:gd name="T10" fmla="*/ 7 w 179"/>
                <a:gd name="T11" fmla="*/ 5 h 266"/>
                <a:gd name="T12" fmla="*/ 7 w 179"/>
                <a:gd name="T13" fmla="*/ 24 h 266"/>
                <a:gd name="T14" fmla="*/ 12 w 179"/>
                <a:gd name="T15" fmla="*/ 29 h 266"/>
                <a:gd name="T16" fmla="*/ 121 w 179"/>
                <a:gd name="T17" fmla="*/ 29 h 266"/>
                <a:gd name="T18" fmla="*/ 3 w 179"/>
                <a:gd name="T19" fmla="*/ 251 h 266"/>
                <a:gd name="T20" fmla="*/ 12 w 179"/>
                <a:gd name="T21" fmla="*/ 266 h 266"/>
                <a:gd name="T22" fmla="*/ 173 w 179"/>
                <a:gd name="T23" fmla="*/ 266 h 266"/>
                <a:gd name="T24" fmla="*/ 178 w 179"/>
                <a:gd name="T25" fmla="*/ 261 h 266"/>
                <a:gd name="T26" fmla="*/ 178 w 179"/>
                <a:gd name="T27" fmla="*/ 242 h 266"/>
                <a:gd name="T28" fmla="*/ 173 w 179"/>
                <a:gd name="T29" fmla="*/ 237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9" h="266">
                  <a:moveTo>
                    <a:pt x="173" y="237"/>
                  </a:moveTo>
                  <a:cubicBezTo>
                    <a:pt x="61" y="237"/>
                    <a:pt x="61" y="237"/>
                    <a:pt x="61" y="237"/>
                  </a:cubicBezTo>
                  <a:cubicBezTo>
                    <a:pt x="176" y="15"/>
                    <a:pt x="176" y="15"/>
                    <a:pt x="176" y="15"/>
                  </a:cubicBezTo>
                  <a:cubicBezTo>
                    <a:pt x="179" y="9"/>
                    <a:pt x="175" y="0"/>
                    <a:pt x="167" y="0"/>
                  </a:cubicBezTo>
                  <a:cubicBezTo>
                    <a:pt x="12" y="0"/>
                    <a:pt x="12" y="0"/>
                    <a:pt x="12" y="0"/>
                  </a:cubicBezTo>
                  <a:cubicBezTo>
                    <a:pt x="9" y="0"/>
                    <a:pt x="7" y="3"/>
                    <a:pt x="7" y="5"/>
                  </a:cubicBezTo>
                  <a:cubicBezTo>
                    <a:pt x="7" y="24"/>
                    <a:pt x="7" y="24"/>
                    <a:pt x="7" y="24"/>
                  </a:cubicBezTo>
                  <a:cubicBezTo>
                    <a:pt x="7" y="27"/>
                    <a:pt x="9" y="29"/>
                    <a:pt x="12" y="29"/>
                  </a:cubicBezTo>
                  <a:cubicBezTo>
                    <a:pt x="121" y="29"/>
                    <a:pt x="121" y="29"/>
                    <a:pt x="121" y="29"/>
                  </a:cubicBezTo>
                  <a:cubicBezTo>
                    <a:pt x="3" y="251"/>
                    <a:pt x="3" y="251"/>
                    <a:pt x="3" y="251"/>
                  </a:cubicBezTo>
                  <a:cubicBezTo>
                    <a:pt x="0" y="258"/>
                    <a:pt x="5" y="266"/>
                    <a:pt x="12" y="266"/>
                  </a:cubicBezTo>
                  <a:cubicBezTo>
                    <a:pt x="173" y="266"/>
                    <a:pt x="173" y="266"/>
                    <a:pt x="173" y="266"/>
                  </a:cubicBezTo>
                  <a:cubicBezTo>
                    <a:pt x="176" y="266"/>
                    <a:pt x="178" y="263"/>
                    <a:pt x="178" y="261"/>
                  </a:cubicBezTo>
                  <a:cubicBezTo>
                    <a:pt x="178" y="242"/>
                    <a:pt x="178" y="242"/>
                    <a:pt x="178" y="242"/>
                  </a:cubicBezTo>
                  <a:cubicBezTo>
                    <a:pt x="178" y="239"/>
                    <a:pt x="176" y="237"/>
                    <a:pt x="173" y="2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 name="Freeform 11"/>
            <p:cNvSpPr>
              <a:spLocks noEditPoints="1"/>
            </p:cNvSpPr>
            <p:nvPr userDrawn="1"/>
          </p:nvSpPr>
          <p:spPr bwMode="auto">
            <a:xfrm>
              <a:off x="3069" y="1870"/>
              <a:ext cx="383" cy="462"/>
            </a:xfrm>
            <a:custGeom>
              <a:avLst/>
              <a:gdLst>
                <a:gd name="T0" fmla="*/ 231 w 231"/>
                <a:gd name="T1" fmla="*/ 139 h 278"/>
                <a:gd name="T2" fmla="*/ 182 w 231"/>
                <a:gd name="T3" fmla="*/ 19 h 278"/>
                <a:gd name="T4" fmla="*/ 115 w 231"/>
                <a:gd name="T5" fmla="*/ 0 h 278"/>
                <a:gd name="T6" fmla="*/ 49 w 231"/>
                <a:gd name="T7" fmla="*/ 19 h 278"/>
                <a:gd name="T8" fmla="*/ 0 w 231"/>
                <a:gd name="T9" fmla="*/ 139 h 278"/>
                <a:gd name="T10" fmla="*/ 49 w 231"/>
                <a:gd name="T11" fmla="*/ 259 h 278"/>
                <a:gd name="T12" fmla="*/ 115 w 231"/>
                <a:gd name="T13" fmla="*/ 278 h 278"/>
                <a:gd name="T14" fmla="*/ 182 w 231"/>
                <a:gd name="T15" fmla="*/ 259 h 278"/>
                <a:gd name="T16" fmla="*/ 231 w 231"/>
                <a:gd name="T17" fmla="*/ 139 h 278"/>
                <a:gd name="T18" fmla="*/ 184 w 231"/>
                <a:gd name="T19" fmla="*/ 139 h 278"/>
                <a:gd name="T20" fmla="*/ 160 w 231"/>
                <a:gd name="T21" fmla="*/ 232 h 278"/>
                <a:gd name="T22" fmla="*/ 115 w 231"/>
                <a:gd name="T23" fmla="*/ 248 h 278"/>
                <a:gd name="T24" fmla="*/ 71 w 231"/>
                <a:gd name="T25" fmla="*/ 232 h 278"/>
                <a:gd name="T26" fmla="*/ 47 w 231"/>
                <a:gd name="T27" fmla="*/ 139 h 278"/>
                <a:gd name="T28" fmla="*/ 71 w 231"/>
                <a:gd name="T29" fmla="*/ 47 h 278"/>
                <a:gd name="T30" fmla="*/ 115 w 231"/>
                <a:gd name="T31" fmla="*/ 30 h 278"/>
                <a:gd name="T32" fmla="*/ 160 w 231"/>
                <a:gd name="T33" fmla="*/ 47 h 278"/>
                <a:gd name="T34" fmla="*/ 184 w 231"/>
                <a:gd name="T35" fmla="*/ 139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31" h="278">
                  <a:moveTo>
                    <a:pt x="231" y="139"/>
                  </a:moveTo>
                  <a:cubicBezTo>
                    <a:pt x="231" y="78"/>
                    <a:pt x="211" y="39"/>
                    <a:pt x="182" y="19"/>
                  </a:cubicBezTo>
                  <a:cubicBezTo>
                    <a:pt x="163" y="6"/>
                    <a:pt x="139" y="0"/>
                    <a:pt x="115" y="0"/>
                  </a:cubicBezTo>
                  <a:cubicBezTo>
                    <a:pt x="92" y="0"/>
                    <a:pt x="67" y="6"/>
                    <a:pt x="49" y="19"/>
                  </a:cubicBezTo>
                  <a:cubicBezTo>
                    <a:pt x="20" y="39"/>
                    <a:pt x="0" y="78"/>
                    <a:pt x="0" y="139"/>
                  </a:cubicBezTo>
                  <a:cubicBezTo>
                    <a:pt x="0" y="200"/>
                    <a:pt x="20" y="239"/>
                    <a:pt x="49" y="259"/>
                  </a:cubicBezTo>
                  <a:cubicBezTo>
                    <a:pt x="67" y="272"/>
                    <a:pt x="92" y="278"/>
                    <a:pt x="115" y="278"/>
                  </a:cubicBezTo>
                  <a:cubicBezTo>
                    <a:pt x="139" y="278"/>
                    <a:pt x="163" y="272"/>
                    <a:pt x="182" y="259"/>
                  </a:cubicBezTo>
                  <a:cubicBezTo>
                    <a:pt x="211" y="239"/>
                    <a:pt x="231" y="200"/>
                    <a:pt x="231" y="139"/>
                  </a:cubicBezTo>
                  <a:moveTo>
                    <a:pt x="184" y="139"/>
                  </a:moveTo>
                  <a:cubicBezTo>
                    <a:pt x="184" y="187"/>
                    <a:pt x="174" y="218"/>
                    <a:pt x="160" y="232"/>
                  </a:cubicBezTo>
                  <a:cubicBezTo>
                    <a:pt x="146" y="245"/>
                    <a:pt x="133" y="248"/>
                    <a:pt x="115" y="248"/>
                  </a:cubicBezTo>
                  <a:cubicBezTo>
                    <a:pt x="98" y="248"/>
                    <a:pt x="85" y="245"/>
                    <a:pt x="71" y="232"/>
                  </a:cubicBezTo>
                  <a:cubicBezTo>
                    <a:pt x="57" y="218"/>
                    <a:pt x="47" y="187"/>
                    <a:pt x="47" y="139"/>
                  </a:cubicBezTo>
                  <a:cubicBezTo>
                    <a:pt x="47" y="91"/>
                    <a:pt x="57" y="60"/>
                    <a:pt x="71" y="47"/>
                  </a:cubicBezTo>
                  <a:cubicBezTo>
                    <a:pt x="85" y="33"/>
                    <a:pt x="98" y="30"/>
                    <a:pt x="115" y="30"/>
                  </a:cubicBezTo>
                  <a:cubicBezTo>
                    <a:pt x="133" y="30"/>
                    <a:pt x="146" y="33"/>
                    <a:pt x="160" y="47"/>
                  </a:cubicBezTo>
                  <a:cubicBezTo>
                    <a:pt x="174" y="60"/>
                    <a:pt x="184" y="91"/>
                    <a:pt x="184" y="13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 name="Freeform 12"/>
            <p:cNvSpPr>
              <a:spLocks/>
            </p:cNvSpPr>
            <p:nvPr userDrawn="1"/>
          </p:nvSpPr>
          <p:spPr bwMode="auto">
            <a:xfrm>
              <a:off x="2671" y="1880"/>
              <a:ext cx="378" cy="442"/>
            </a:xfrm>
            <a:custGeom>
              <a:avLst/>
              <a:gdLst>
                <a:gd name="T0" fmla="*/ 222 w 228"/>
                <a:gd name="T1" fmla="*/ 0 h 266"/>
                <a:gd name="T2" fmla="*/ 194 w 228"/>
                <a:gd name="T3" fmla="*/ 0 h 266"/>
                <a:gd name="T4" fmla="*/ 189 w 228"/>
                <a:gd name="T5" fmla="*/ 4 h 266"/>
                <a:gd name="T6" fmla="*/ 121 w 228"/>
                <a:gd name="T7" fmla="*/ 203 h 266"/>
                <a:gd name="T8" fmla="*/ 50 w 228"/>
                <a:gd name="T9" fmla="*/ 4 h 266"/>
                <a:gd name="T10" fmla="*/ 45 w 228"/>
                <a:gd name="T11" fmla="*/ 0 h 266"/>
                <a:gd name="T12" fmla="*/ 6 w 228"/>
                <a:gd name="T13" fmla="*/ 0 h 266"/>
                <a:gd name="T14" fmla="*/ 2 w 228"/>
                <a:gd name="T15" fmla="*/ 7 h 266"/>
                <a:gd name="T16" fmla="*/ 98 w 228"/>
                <a:gd name="T17" fmla="*/ 263 h 266"/>
                <a:gd name="T18" fmla="*/ 103 w 228"/>
                <a:gd name="T19" fmla="*/ 266 h 266"/>
                <a:gd name="T20" fmla="*/ 128 w 228"/>
                <a:gd name="T21" fmla="*/ 266 h 266"/>
                <a:gd name="T22" fmla="*/ 132 w 228"/>
                <a:gd name="T23" fmla="*/ 262 h 266"/>
                <a:gd name="T24" fmla="*/ 227 w 228"/>
                <a:gd name="T25" fmla="*/ 7 h 266"/>
                <a:gd name="T26" fmla="*/ 222 w 228"/>
                <a:gd name="T27" fmla="*/ 0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8" h="266">
                  <a:moveTo>
                    <a:pt x="222" y="0"/>
                  </a:moveTo>
                  <a:cubicBezTo>
                    <a:pt x="194" y="0"/>
                    <a:pt x="194" y="0"/>
                    <a:pt x="194" y="0"/>
                  </a:cubicBezTo>
                  <a:cubicBezTo>
                    <a:pt x="192" y="0"/>
                    <a:pt x="190" y="2"/>
                    <a:pt x="189" y="4"/>
                  </a:cubicBezTo>
                  <a:cubicBezTo>
                    <a:pt x="121" y="203"/>
                    <a:pt x="121" y="203"/>
                    <a:pt x="121" y="203"/>
                  </a:cubicBezTo>
                  <a:cubicBezTo>
                    <a:pt x="50" y="4"/>
                    <a:pt x="50" y="4"/>
                    <a:pt x="50" y="4"/>
                  </a:cubicBezTo>
                  <a:cubicBezTo>
                    <a:pt x="49" y="2"/>
                    <a:pt x="47" y="0"/>
                    <a:pt x="45" y="0"/>
                  </a:cubicBezTo>
                  <a:cubicBezTo>
                    <a:pt x="45" y="0"/>
                    <a:pt x="6" y="0"/>
                    <a:pt x="6" y="0"/>
                  </a:cubicBezTo>
                  <a:cubicBezTo>
                    <a:pt x="3" y="0"/>
                    <a:pt x="0" y="4"/>
                    <a:pt x="2" y="7"/>
                  </a:cubicBezTo>
                  <a:cubicBezTo>
                    <a:pt x="98" y="263"/>
                    <a:pt x="98" y="263"/>
                    <a:pt x="98" y="263"/>
                  </a:cubicBezTo>
                  <a:cubicBezTo>
                    <a:pt x="99" y="264"/>
                    <a:pt x="101" y="266"/>
                    <a:pt x="103" y="266"/>
                  </a:cubicBezTo>
                  <a:cubicBezTo>
                    <a:pt x="128" y="266"/>
                    <a:pt x="128" y="266"/>
                    <a:pt x="128" y="266"/>
                  </a:cubicBezTo>
                  <a:cubicBezTo>
                    <a:pt x="130" y="266"/>
                    <a:pt x="132" y="264"/>
                    <a:pt x="132" y="262"/>
                  </a:cubicBezTo>
                  <a:cubicBezTo>
                    <a:pt x="227" y="7"/>
                    <a:pt x="227" y="7"/>
                    <a:pt x="227" y="7"/>
                  </a:cubicBezTo>
                  <a:cubicBezTo>
                    <a:pt x="228" y="3"/>
                    <a:pt x="225" y="0"/>
                    <a:pt x="22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 name="Freeform 13"/>
            <p:cNvSpPr>
              <a:spLocks noEditPoints="1"/>
            </p:cNvSpPr>
            <p:nvPr userDrawn="1"/>
          </p:nvSpPr>
          <p:spPr bwMode="auto">
            <a:xfrm>
              <a:off x="2280" y="1870"/>
              <a:ext cx="381" cy="462"/>
            </a:xfrm>
            <a:custGeom>
              <a:avLst/>
              <a:gdLst>
                <a:gd name="T0" fmla="*/ 230 w 230"/>
                <a:gd name="T1" fmla="*/ 139 h 278"/>
                <a:gd name="T2" fmla="*/ 181 w 230"/>
                <a:gd name="T3" fmla="*/ 19 h 278"/>
                <a:gd name="T4" fmla="*/ 115 w 230"/>
                <a:gd name="T5" fmla="*/ 0 h 278"/>
                <a:gd name="T6" fmla="*/ 49 w 230"/>
                <a:gd name="T7" fmla="*/ 19 h 278"/>
                <a:gd name="T8" fmla="*/ 0 w 230"/>
                <a:gd name="T9" fmla="*/ 139 h 278"/>
                <a:gd name="T10" fmla="*/ 49 w 230"/>
                <a:gd name="T11" fmla="*/ 259 h 278"/>
                <a:gd name="T12" fmla="*/ 115 w 230"/>
                <a:gd name="T13" fmla="*/ 278 h 278"/>
                <a:gd name="T14" fmla="*/ 181 w 230"/>
                <a:gd name="T15" fmla="*/ 259 h 278"/>
                <a:gd name="T16" fmla="*/ 230 w 230"/>
                <a:gd name="T17" fmla="*/ 139 h 278"/>
                <a:gd name="T18" fmla="*/ 183 w 230"/>
                <a:gd name="T19" fmla="*/ 139 h 278"/>
                <a:gd name="T20" fmla="*/ 159 w 230"/>
                <a:gd name="T21" fmla="*/ 232 h 278"/>
                <a:gd name="T22" fmla="*/ 115 w 230"/>
                <a:gd name="T23" fmla="*/ 248 h 278"/>
                <a:gd name="T24" fmla="*/ 70 w 230"/>
                <a:gd name="T25" fmla="*/ 232 h 278"/>
                <a:gd name="T26" fmla="*/ 47 w 230"/>
                <a:gd name="T27" fmla="*/ 139 h 278"/>
                <a:gd name="T28" fmla="*/ 70 w 230"/>
                <a:gd name="T29" fmla="*/ 47 h 278"/>
                <a:gd name="T30" fmla="*/ 115 w 230"/>
                <a:gd name="T31" fmla="*/ 30 h 278"/>
                <a:gd name="T32" fmla="*/ 159 w 230"/>
                <a:gd name="T33" fmla="*/ 47 h 278"/>
                <a:gd name="T34" fmla="*/ 183 w 230"/>
                <a:gd name="T35" fmla="*/ 139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30" h="278">
                  <a:moveTo>
                    <a:pt x="230" y="139"/>
                  </a:moveTo>
                  <a:cubicBezTo>
                    <a:pt x="230" y="78"/>
                    <a:pt x="211" y="39"/>
                    <a:pt x="181" y="19"/>
                  </a:cubicBezTo>
                  <a:cubicBezTo>
                    <a:pt x="163" y="6"/>
                    <a:pt x="138" y="0"/>
                    <a:pt x="115" y="0"/>
                  </a:cubicBezTo>
                  <a:cubicBezTo>
                    <a:pt x="91" y="0"/>
                    <a:pt x="67" y="6"/>
                    <a:pt x="49" y="19"/>
                  </a:cubicBezTo>
                  <a:cubicBezTo>
                    <a:pt x="19" y="39"/>
                    <a:pt x="0" y="78"/>
                    <a:pt x="0" y="139"/>
                  </a:cubicBezTo>
                  <a:cubicBezTo>
                    <a:pt x="0" y="200"/>
                    <a:pt x="19" y="239"/>
                    <a:pt x="49" y="259"/>
                  </a:cubicBezTo>
                  <a:cubicBezTo>
                    <a:pt x="67" y="272"/>
                    <a:pt x="91" y="278"/>
                    <a:pt x="115" y="278"/>
                  </a:cubicBezTo>
                  <a:cubicBezTo>
                    <a:pt x="138" y="278"/>
                    <a:pt x="163" y="272"/>
                    <a:pt x="181" y="259"/>
                  </a:cubicBezTo>
                  <a:cubicBezTo>
                    <a:pt x="211" y="239"/>
                    <a:pt x="230" y="200"/>
                    <a:pt x="230" y="139"/>
                  </a:cubicBezTo>
                  <a:moveTo>
                    <a:pt x="183" y="139"/>
                  </a:moveTo>
                  <a:cubicBezTo>
                    <a:pt x="183" y="187"/>
                    <a:pt x="173" y="218"/>
                    <a:pt x="159" y="232"/>
                  </a:cubicBezTo>
                  <a:cubicBezTo>
                    <a:pt x="145" y="245"/>
                    <a:pt x="133" y="248"/>
                    <a:pt x="115" y="248"/>
                  </a:cubicBezTo>
                  <a:cubicBezTo>
                    <a:pt x="97" y="248"/>
                    <a:pt x="84" y="245"/>
                    <a:pt x="70" y="232"/>
                  </a:cubicBezTo>
                  <a:cubicBezTo>
                    <a:pt x="56" y="218"/>
                    <a:pt x="47" y="187"/>
                    <a:pt x="47" y="139"/>
                  </a:cubicBezTo>
                  <a:cubicBezTo>
                    <a:pt x="47" y="91"/>
                    <a:pt x="56" y="60"/>
                    <a:pt x="70" y="47"/>
                  </a:cubicBezTo>
                  <a:cubicBezTo>
                    <a:pt x="84" y="33"/>
                    <a:pt x="97" y="30"/>
                    <a:pt x="115" y="30"/>
                  </a:cubicBezTo>
                  <a:cubicBezTo>
                    <a:pt x="133" y="30"/>
                    <a:pt x="145" y="33"/>
                    <a:pt x="159" y="47"/>
                  </a:cubicBezTo>
                  <a:cubicBezTo>
                    <a:pt x="173" y="60"/>
                    <a:pt x="183" y="91"/>
                    <a:pt x="183" y="13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 name="Freeform 14"/>
            <p:cNvSpPr>
              <a:spLocks/>
            </p:cNvSpPr>
            <p:nvPr userDrawn="1"/>
          </p:nvSpPr>
          <p:spPr bwMode="auto">
            <a:xfrm>
              <a:off x="1877" y="1870"/>
              <a:ext cx="342" cy="452"/>
            </a:xfrm>
            <a:custGeom>
              <a:avLst/>
              <a:gdLst>
                <a:gd name="T0" fmla="*/ 103 w 206"/>
                <a:gd name="T1" fmla="*/ 0 h 272"/>
                <a:gd name="T2" fmla="*/ 23 w 206"/>
                <a:gd name="T3" fmla="*/ 13 h 272"/>
                <a:gd name="T4" fmla="*/ 0 w 206"/>
                <a:gd name="T5" fmla="*/ 34 h 272"/>
                <a:gd name="T6" fmla="*/ 0 w 206"/>
                <a:gd name="T7" fmla="*/ 267 h 272"/>
                <a:gd name="T8" fmla="*/ 5 w 206"/>
                <a:gd name="T9" fmla="*/ 272 h 272"/>
                <a:gd name="T10" fmla="*/ 10 w 206"/>
                <a:gd name="T11" fmla="*/ 272 h 272"/>
                <a:gd name="T12" fmla="*/ 35 w 206"/>
                <a:gd name="T13" fmla="*/ 272 h 272"/>
                <a:gd name="T14" fmla="*/ 40 w 206"/>
                <a:gd name="T15" fmla="*/ 272 h 272"/>
                <a:gd name="T16" fmla="*/ 45 w 206"/>
                <a:gd name="T17" fmla="*/ 267 h 272"/>
                <a:gd name="T18" fmla="*/ 45 w 206"/>
                <a:gd name="T19" fmla="*/ 51 h 272"/>
                <a:gd name="T20" fmla="*/ 101 w 206"/>
                <a:gd name="T21" fmla="*/ 30 h 272"/>
                <a:gd name="T22" fmla="*/ 161 w 206"/>
                <a:gd name="T23" fmla="*/ 90 h 272"/>
                <a:gd name="T24" fmla="*/ 161 w 206"/>
                <a:gd name="T25" fmla="*/ 267 h 272"/>
                <a:gd name="T26" fmla="*/ 166 w 206"/>
                <a:gd name="T27" fmla="*/ 272 h 272"/>
                <a:gd name="T28" fmla="*/ 172 w 206"/>
                <a:gd name="T29" fmla="*/ 272 h 272"/>
                <a:gd name="T30" fmla="*/ 200 w 206"/>
                <a:gd name="T31" fmla="*/ 272 h 272"/>
                <a:gd name="T32" fmla="*/ 201 w 206"/>
                <a:gd name="T33" fmla="*/ 272 h 272"/>
                <a:gd name="T34" fmla="*/ 206 w 206"/>
                <a:gd name="T35" fmla="*/ 267 h 272"/>
                <a:gd name="T36" fmla="*/ 206 w 206"/>
                <a:gd name="T37" fmla="*/ 85 h 272"/>
                <a:gd name="T38" fmla="*/ 103 w 206"/>
                <a:gd name="T39" fmla="*/ 0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6" h="272">
                  <a:moveTo>
                    <a:pt x="103" y="0"/>
                  </a:moveTo>
                  <a:cubicBezTo>
                    <a:pt x="64" y="0"/>
                    <a:pt x="37" y="8"/>
                    <a:pt x="23" y="13"/>
                  </a:cubicBezTo>
                  <a:cubicBezTo>
                    <a:pt x="5" y="18"/>
                    <a:pt x="0" y="25"/>
                    <a:pt x="0" y="34"/>
                  </a:cubicBezTo>
                  <a:cubicBezTo>
                    <a:pt x="0" y="267"/>
                    <a:pt x="0" y="267"/>
                    <a:pt x="0" y="267"/>
                  </a:cubicBezTo>
                  <a:cubicBezTo>
                    <a:pt x="0" y="269"/>
                    <a:pt x="2" y="272"/>
                    <a:pt x="5" y="272"/>
                  </a:cubicBezTo>
                  <a:cubicBezTo>
                    <a:pt x="10" y="272"/>
                    <a:pt x="10" y="272"/>
                    <a:pt x="10" y="272"/>
                  </a:cubicBezTo>
                  <a:cubicBezTo>
                    <a:pt x="35" y="272"/>
                    <a:pt x="35" y="272"/>
                    <a:pt x="35" y="272"/>
                  </a:cubicBezTo>
                  <a:cubicBezTo>
                    <a:pt x="40" y="272"/>
                    <a:pt x="40" y="272"/>
                    <a:pt x="40" y="272"/>
                  </a:cubicBezTo>
                  <a:cubicBezTo>
                    <a:pt x="43" y="272"/>
                    <a:pt x="45" y="269"/>
                    <a:pt x="45" y="267"/>
                  </a:cubicBezTo>
                  <a:cubicBezTo>
                    <a:pt x="45" y="51"/>
                    <a:pt x="45" y="51"/>
                    <a:pt x="45" y="51"/>
                  </a:cubicBezTo>
                  <a:cubicBezTo>
                    <a:pt x="45" y="40"/>
                    <a:pt x="65" y="30"/>
                    <a:pt x="101" y="30"/>
                  </a:cubicBezTo>
                  <a:cubicBezTo>
                    <a:pt x="161" y="30"/>
                    <a:pt x="161" y="66"/>
                    <a:pt x="161" y="90"/>
                  </a:cubicBezTo>
                  <a:cubicBezTo>
                    <a:pt x="161" y="267"/>
                    <a:pt x="161" y="267"/>
                    <a:pt x="161" y="267"/>
                  </a:cubicBezTo>
                  <a:cubicBezTo>
                    <a:pt x="161" y="269"/>
                    <a:pt x="163" y="272"/>
                    <a:pt x="166" y="272"/>
                  </a:cubicBezTo>
                  <a:cubicBezTo>
                    <a:pt x="172" y="272"/>
                    <a:pt x="172" y="272"/>
                    <a:pt x="172" y="272"/>
                  </a:cubicBezTo>
                  <a:cubicBezTo>
                    <a:pt x="200" y="272"/>
                    <a:pt x="200" y="272"/>
                    <a:pt x="200" y="272"/>
                  </a:cubicBezTo>
                  <a:cubicBezTo>
                    <a:pt x="201" y="272"/>
                    <a:pt x="201" y="272"/>
                    <a:pt x="201" y="272"/>
                  </a:cubicBezTo>
                  <a:cubicBezTo>
                    <a:pt x="204" y="272"/>
                    <a:pt x="206" y="269"/>
                    <a:pt x="206" y="267"/>
                  </a:cubicBezTo>
                  <a:cubicBezTo>
                    <a:pt x="206" y="85"/>
                    <a:pt x="206" y="85"/>
                    <a:pt x="206" y="85"/>
                  </a:cubicBezTo>
                  <a:cubicBezTo>
                    <a:pt x="206" y="55"/>
                    <a:pt x="206" y="0"/>
                    <a:pt x="10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 name="Freeform 15"/>
            <p:cNvSpPr>
              <a:spLocks noEditPoints="1"/>
            </p:cNvSpPr>
            <p:nvPr userDrawn="1"/>
          </p:nvSpPr>
          <p:spPr bwMode="auto">
            <a:xfrm>
              <a:off x="5695" y="1165"/>
              <a:ext cx="807" cy="754"/>
            </a:xfrm>
            <a:custGeom>
              <a:avLst/>
              <a:gdLst>
                <a:gd name="T0" fmla="*/ 439 w 487"/>
                <a:gd name="T1" fmla="*/ 130 h 454"/>
                <a:gd name="T2" fmla="*/ 275 w 487"/>
                <a:gd name="T3" fmla="*/ 222 h 454"/>
                <a:gd name="T4" fmla="*/ 264 w 487"/>
                <a:gd name="T5" fmla="*/ 210 h 454"/>
                <a:gd name="T6" fmla="*/ 253 w 487"/>
                <a:gd name="T7" fmla="*/ 199 h 454"/>
                <a:gd name="T8" fmla="*/ 353 w 487"/>
                <a:gd name="T9" fmla="*/ 48 h 454"/>
                <a:gd name="T10" fmla="*/ 303 w 487"/>
                <a:gd name="T11" fmla="*/ 0 h 454"/>
                <a:gd name="T12" fmla="*/ 190 w 487"/>
                <a:gd name="T13" fmla="*/ 0 h 454"/>
                <a:gd name="T14" fmla="*/ 139 w 487"/>
                <a:gd name="T15" fmla="*/ 46 h 454"/>
                <a:gd name="T16" fmla="*/ 230 w 487"/>
                <a:gd name="T17" fmla="*/ 199 h 454"/>
                <a:gd name="T18" fmla="*/ 219 w 487"/>
                <a:gd name="T19" fmla="*/ 209 h 454"/>
                <a:gd name="T20" fmla="*/ 207 w 487"/>
                <a:gd name="T21" fmla="*/ 222 h 454"/>
                <a:gd name="T22" fmla="*/ 41 w 487"/>
                <a:gd name="T23" fmla="*/ 123 h 454"/>
                <a:gd name="T24" fmla="*/ 0 w 487"/>
                <a:gd name="T25" fmla="*/ 167 h 454"/>
                <a:gd name="T26" fmla="*/ 38 w 487"/>
                <a:gd name="T27" fmla="*/ 132 h 454"/>
                <a:gd name="T28" fmla="*/ 193 w 487"/>
                <a:gd name="T29" fmla="*/ 235 h 454"/>
                <a:gd name="T30" fmla="*/ 48 w 487"/>
                <a:gd name="T31" fmla="*/ 319 h 454"/>
                <a:gd name="T32" fmla="*/ 0 w 487"/>
                <a:gd name="T33" fmla="*/ 280 h 454"/>
                <a:gd name="T34" fmla="*/ 51 w 487"/>
                <a:gd name="T35" fmla="*/ 331 h 454"/>
                <a:gd name="T36" fmla="*/ 204 w 487"/>
                <a:gd name="T37" fmla="*/ 245 h 454"/>
                <a:gd name="T38" fmla="*/ 215 w 487"/>
                <a:gd name="T39" fmla="*/ 257 h 454"/>
                <a:gd name="T40" fmla="*/ 227 w 487"/>
                <a:gd name="T41" fmla="*/ 268 h 454"/>
                <a:gd name="T42" fmla="*/ 138 w 487"/>
                <a:gd name="T43" fmla="*/ 409 h 454"/>
                <a:gd name="T44" fmla="*/ 153 w 487"/>
                <a:gd name="T45" fmla="*/ 444 h 454"/>
                <a:gd name="T46" fmla="*/ 190 w 487"/>
                <a:gd name="T47" fmla="*/ 454 h 454"/>
                <a:gd name="T48" fmla="*/ 159 w 487"/>
                <a:gd name="T49" fmla="*/ 443 h 454"/>
                <a:gd name="T50" fmla="*/ 145 w 487"/>
                <a:gd name="T51" fmla="*/ 410 h 454"/>
                <a:gd name="T52" fmla="*/ 234 w 487"/>
                <a:gd name="T53" fmla="*/ 275 h 454"/>
                <a:gd name="T54" fmla="*/ 334 w 487"/>
                <a:gd name="T55" fmla="*/ 419 h 454"/>
                <a:gd name="T56" fmla="*/ 297 w 487"/>
                <a:gd name="T57" fmla="*/ 454 h 454"/>
                <a:gd name="T58" fmla="*/ 350 w 487"/>
                <a:gd name="T59" fmla="*/ 414 h 454"/>
                <a:gd name="T60" fmla="*/ 248 w 487"/>
                <a:gd name="T61" fmla="*/ 262 h 454"/>
                <a:gd name="T62" fmla="*/ 259 w 487"/>
                <a:gd name="T63" fmla="*/ 251 h 454"/>
                <a:gd name="T64" fmla="*/ 271 w 487"/>
                <a:gd name="T65" fmla="*/ 241 h 454"/>
                <a:gd name="T66" fmla="*/ 441 w 487"/>
                <a:gd name="T67" fmla="*/ 343 h 454"/>
                <a:gd name="T68" fmla="*/ 487 w 487"/>
                <a:gd name="T69" fmla="*/ 300 h 454"/>
                <a:gd name="T70" fmla="*/ 487 w 487"/>
                <a:gd name="T71" fmla="*/ 300 h 454"/>
                <a:gd name="T72" fmla="*/ 487 w 487"/>
                <a:gd name="T73" fmla="*/ 179 h 454"/>
                <a:gd name="T74" fmla="*/ 439 w 487"/>
                <a:gd name="T75" fmla="*/ 130 h 454"/>
                <a:gd name="T76" fmla="*/ 158 w 487"/>
                <a:gd name="T77" fmla="*/ 48 h 454"/>
                <a:gd name="T78" fmla="*/ 195 w 487"/>
                <a:gd name="T79" fmla="*/ 20 h 454"/>
                <a:gd name="T80" fmla="*/ 292 w 487"/>
                <a:gd name="T81" fmla="*/ 20 h 454"/>
                <a:gd name="T82" fmla="*/ 333 w 487"/>
                <a:gd name="T83" fmla="*/ 52 h 454"/>
                <a:gd name="T84" fmla="*/ 241 w 487"/>
                <a:gd name="T85" fmla="*/ 187 h 454"/>
                <a:gd name="T86" fmla="*/ 158 w 487"/>
                <a:gd name="T87" fmla="*/ 48 h 454"/>
                <a:gd name="T88" fmla="*/ 255 w 487"/>
                <a:gd name="T89" fmla="*/ 241 h 454"/>
                <a:gd name="T90" fmla="*/ 241 w 487"/>
                <a:gd name="T91" fmla="*/ 255 h 454"/>
                <a:gd name="T92" fmla="*/ 230 w 487"/>
                <a:gd name="T93" fmla="*/ 244 h 454"/>
                <a:gd name="T94" fmla="*/ 218 w 487"/>
                <a:gd name="T95" fmla="*/ 232 h 454"/>
                <a:gd name="T96" fmla="*/ 230 w 487"/>
                <a:gd name="T97" fmla="*/ 221 h 454"/>
                <a:gd name="T98" fmla="*/ 241 w 487"/>
                <a:gd name="T99" fmla="*/ 210 h 454"/>
                <a:gd name="T100" fmla="*/ 252 w 487"/>
                <a:gd name="T101" fmla="*/ 221 h 454"/>
                <a:gd name="T102" fmla="*/ 263 w 487"/>
                <a:gd name="T103" fmla="*/ 233 h 454"/>
                <a:gd name="T104" fmla="*/ 255 w 487"/>
                <a:gd name="T105" fmla="*/ 241 h 454"/>
                <a:gd name="T106" fmla="*/ 466 w 487"/>
                <a:gd name="T107" fmla="*/ 291 h 454"/>
                <a:gd name="T108" fmla="*/ 435 w 487"/>
                <a:gd name="T109" fmla="*/ 325 h 454"/>
                <a:gd name="T110" fmla="*/ 283 w 487"/>
                <a:gd name="T111" fmla="*/ 230 h 454"/>
                <a:gd name="T112" fmla="*/ 431 w 487"/>
                <a:gd name="T113" fmla="*/ 149 h 454"/>
                <a:gd name="T114" fmla="*/ 466 w 487"/>
                <a:gd name="T115" fmla="*/ 184 h 454"/>
                <a:gd name="T116" fmla="*/ 466 w 487"/>
                <a:gd name="T117" fmla="*/ 291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87" h="454">
                  <a:moveTo>
                    <a:pt x="439" y="130"/>
                  </a:moveTo>
                  <a:cubicBezTo>
                    <a:pt x="381" y="130"/>
                    <a:pt x="315" y="185"/>
                    <a:pt x="275" y="222"/>
                  </a:cubicBezTo>
                  <a:cubicBezTo>
                    <a:pt x="271" y="218"/>
                    <a:pt x="268" y="214"/>
                    <a:pt x="264" y="210"/>
                  </a:cubicBezTo>
                  <a:cubicBezTo>
                    <a:pt x="260" y="207"/>
                    <a:pt x="256" y="203"/>
                    <a:pt x="253" y="199"/>
                  </a:cubicBezTo>
                  <a:cubicBezTo>
                    <a:pt x="317" y="138"/>
                    <a:pt x="353" y="101"/>
                    <a:pt x="353" y="48"/>
                  </a:cubicBezTo>
                  <a:cubicBezTo>
                    <a:pt x="353" y="29"/>
                    <a:pt x="345" y="0"/>
                    <a:pt x="303" y="0"/>
                  </a:cubicBezTo>
                  <a:cubicBezTo>
                    <a:pt x="190" y="0"/>
                    <a:pt x="190" y="0"/>
                    <a:pt x="190" y="0"/>
                  </a:cubicBezTo>
                  <a:cubicBezTo>
                    <a:pt x="156" y="0"/>
                    <a:pt x="139" y="13"/>
                    <a:pt x="139" y="46"/>
                  </a:cubicBezTo>
                  <a:cubicBezTo>
                    <a:pt x="139" y="84"/>
                    <a:pt x="168" y="132"/>
                    <a:pt x="230" y="199"/>
                  </a:cubicBezTo>
                  <a:cubicBezTo>
                    <a:pt x="226" y="202"/>
                    <a:pt x="223" y="206"/>
                    <a:pt x="219" y="209"/>
                  </a:cubicBezTo>
                  <a:cubicBezTo>
                    <a:pt x="215" y="213"/>
                    <a:pt x="211" y="218"/>
                    <a:pt x="207" y="222"/>
                  </a:cubicBezTo>
                  <a:cubicBezTo>
                    <a:pt x="127" y="146"/>
                    <a:pt x="91" y="123"/>
                    <a:pt x="41" y="123"/>
                  </a:cubicBezTo>
                  <a:cubicBezTo>
                    <a:pt x="19" y="123"/>
                    <a:pt x="0" y="140"/>
                    <a:pt x="0" y="167"/>
                  </a:cubicBezTo>
                  <a:cubicBezTo>
                    <a:pt x="0" y="167"/>
                    <a:pt x="8" y="132"/>
                    <a:pt x="38" y="132"/>
                  </a:cubicBezTo>
                  <a:cubicBezTo>
                    <a:pt x="89" y="132"/>
                    <a:pt x="124" y="165"/>
                    <a:pt x="193" y="235"/>
                  </a:cubicBezTo>
                  <a:cubicBezTo>
                    <a:pt x="136" y="288"/>
                    <a:pt x="83" y="319"/>
                    <a:pt x="48" y="319"/>
                  </a:cubicBezTo>
                  <a:cubicBezTo>
                    <a:pt x="31" y="319"/>
                    <a:pt x="5" y="315"/>
                    <a:pt x="0" y="280"/>
                  </a:cubicBezTo>
                  <a:cubicBezTo>
                    <a:pt x="0" y="320"/>
                    <a:pt x="23" y="331"/>
                    <a:pt x="51" y="331"/>
                  </a:cubicBezTo>
                  <a:cubicBezTo>
                    <a:pt x="93" y="331"/>
                    <a:pt x="143" y="299"/>
                    <a:pt x="204" y="245"/>
                  </a:cubicBezTo>
                  <a:cubicBezTo>
                    <a:pt x="207" y="249"/>
                    <a:pt x="211" y="253"/>
                    <a:pt x="215" y="257"/>
                  </a:cubicBezTo>
                  <a:cubicBezTo>
                    <a:pt x="219" y="261"/>
                    <a:pt x="223" y="265"/>
                    <a:pt x="227" y="268"/>
                  </a:cubicBezTo>
                  <a:cubicBezTo>
                    <a:pt x="170" y="327"/>
                    <a:pt x="138" y="374"/>
                    <a:pt x="138" y="409"/>
                  </a:cubicBezTo>
                  <a:cubicBezTo>
                    <a:pt x="138" y="425"/>
                    <a:pt x="146" y="438"/>
                    <a:pt x="153" y="444"/>
                  </a:cubicBezTo>
                  <a:cubicBezTo>
                    <a:pt x="162" y="451"/>
                    <a:pt x="177" y="454"/>
                    <a:pt x="190" y="454"/>
                  </a:cubicBezTo>
                  <a:cubicBezTo>
                    <a:pt x="179" y="452"/>
                    <a:pt x="167" y="450"/>
                    <a:pt x="159" y="443"/>
                  </a:cubicBezTo>
                  <a:cubicBezTo>
                    <a:pt x="152" y="437"/>
                    <a:pt x="145" y="424"/>
                    <a:pt x="145" y="410"/>
                  </a:cubicBezTo>
                  <a:cubicBezTo>
                    <a:pt x="145" y="372"/>
                    <a:pt x="194" y="316"/>
                    <a:pt x="234" y="275"/>
                  </a:cubicBezTo>
                  <a:cubicBezTo>
                    <a:pt x="315" y="359"/>
                    <a:pt x="334" y="398"/>
                    <a:pt x="334" y="419"/>
                  </a:cubicBezTo>
                  <a:cubicBezTo>
                    <a:pt x="334" y="439"/>
                    <a:pt x="318" y="452"/>
                    <a:pt x="297" y="454"/>
                  </a:cubicBezTo>
                  <a:cubicBezTo>
                    <a:pt x="349" y="454"/>
                    <a:pt x="350" y="422"/>
                    <a:pt x="350" y="414"/>
                  </a:cubicBezTo>
                  <a:cubicBezTo>
                    <a:pt x="350" y="385"/>
                    <a:pt x="326" y="340"/>
                    <a:pt x="248" y="262"/>
                  </a:cubicBezTo>
                  <a:cubicBezTo>
                    <a:pt x="252" y="258"/>
                    <a:pt x="256" y="254"/>
                    <a:pt x="259" y="251"/>
                  </a:cubicBezTo>
                  <a:cubicBezTo>
                    <a:pt x="263" y="248"/>
                    <a:pt x="267" y="244"/>
                    <a:pt x="271" y="241"/>
                  </a:cubicBezTo>
                  <a:cubicBezTo>
                    <a:pt x="342" y="312"/>
                    <a:pt x="382" y="343"/>
                    <a:pt x="441" y="343"/>
                  </a:cubicBezTo>
                  <a:cubicBezTo>
                    <a:pt x="471" y="343"/>
                    <a:pt x="487" y="323"/>
                    <a:pt x="487" y="300"/>
                  </a:cubicBezTo>
                  <a:cubicBezTo>
                    <a:pt x="487" y="300"/>
                    <a:pt x="487" y="300"/>
                    <a:pt x="487" y="300"/>
                  </a:cubicBezTo>
                  <a:cubicBezTo>
                    <a:pt x="487" y="179"/>
                    <a:pt x="487" y="179"/>
                    <a:pt x="487" y="179"/>
                  </a:cubicBezTo>
                  <a:cubicBezTo>
                    <a:pt x="487" y="137"/>
                    <a:pt x="457" y="130"/>
                    <a:pt x="439" y="130"/>
                  </a:cubicBezTo>
                  <a:close/>
                  <a:moveTo>
                    <a:pt x="158" y="48"/>
                  </a:moveTo>
                  <a:cubicBezTo>
                    <a:pt x="158" y="38"/>
                    <a:pt x="164" y="20"/>
                    <a:pt x="195" y="20"/>
                  </a:cubicBezTo>
                  <a:cubicBezTo>
                    <a:pt x="292" y="20"/>
                    <a:pt x="292" y="20"/>
                    <a:pt x="292" y="20"/>
                  </a:cubicBezTo>
                  <a:cubicBezTo>
                    <a:pt x="320" y="20"/>
                    <a:pt x="333" y="34"/>
                    <a:pt x="333" y="52"/>
                  </a:cubicBezTo>
                  <a:cubicBezTo>
                    <a:pt x="333" y="101"/>
                    <a:pt x="291" y="138"/>
                    <a:pt x="241" y="187"/>
                  </a:cubicBezTo>
                  <a:cubicBezTo>
                    <a:pt x="199" y="143"/>
                    <a:pt x="158" y="93"/>
                    <a:pt x="158" y="48"/>
                  </a:cubicBezTo>
                  <a:close/>
                  <a:moveTo>
                    <a:pt x="255" y="241"/>
                  </a:moveTo>
                  <a:cubicBezTo>
                    <a:pt x="250" y="245"/>
                    <a:pt x="245" y="250"/>
                    <a:pt x="241" y="255"/>
                  </a:cubicBezTo>
                  <a:cubicBezTo>
                    <a:pt x="237" y="251"/>
                    <a:pt x="234" y="247"/>
                    <a:pt x="230" y="244"/>
                  </a:cubicBezTo>
                  <a:cubicBezTo>
                    <a:pt x="226" y="240"/>
                    <a:pt x="222" y="236"/>
                    <a:pt x="218" y="232"/>
                  </a:cubicBezTo>
                  <a:cubicBezTo>
                    <a:pt x="222" y="228"/>
                    <a:pt x="226" y="225"/>
                    <a:pt x="230" y="221"/>
                  </a:cubicBezTo>
                  <a:cubicBezTo>
                    <a:pt x="233" y="217"/>
                    <a:pt x="237" y="214"/>
                    <a:pt x="241" y="210"/>
                  </a:cubicBezTo>
                  <a:cubicBezTo>
                    <a:pt x="244" y="214"/>
                    <a:pt x="248" y="218"/>
                    <a:pt x="252" y="221"/>
                  </a:cubicBezTo>
                  <a:cubicBezTo>
                    <a:pt x="256" y="225"/>
                    <a:pt x="259" y="229"/>
                    <a:pt x="263" y="233"/>
                  </a:cubicBezTo>
                  <a:cubicBezTo>
                    <a:pt x="260" y="236"/>
                    <a:pt x="257" y="238"/>
                    <a:pt x="255" y="241"/>
                  </a:cubicBezTo>
                  <a:close/>
                  <a:moveTo>
                    <a:pt x="466" y="291"/>
                  </a:moveTo>
                  <a:cubicBezTo>
                    <a:pt x="466" y="315"/>
                    <a:pt x="449" y="325"/>
                    <a:pt x="435" y="325"/>
                  </a:cubicBezTo>
                  <a:cubicBezTo>
                    <a:pt x="381" y="325"/>
                    <a:pt x="341" y="288"/>
                    <a:pt x="283" y="230"/>
                  </a:cubicBezTo>
                  <a:cubicBezTo>
                    <a:pt x="324" y="194"/>
                    <a:pt x="382" y="149"/>
                    <a:pt x="431" y="149"/>
                  </a:cubicBezTo>
                  <a:cubicBezTo>
                    <a:pt x="448" y="149"/>
                    <a:pt x="466" y="163"/>
                    <a:pt x="466" y="184"/>
                  </a:cubicBezTo>
                  <a:cubicBezTo>
                    <a:pt x="466" y="197"/>
                    <a:pt x="466" y="291"/>
                    <a:pt x="466" y="29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38" name="Group 36"/>
          <p:cNvGrpSpPr>
            <a:grpSpLocks noChangeAspect="1"/>
          </p:cNvGrpSpPr>
          <p:nvPr userDrawn="1"/>
        </p:nvGrpSpPr>
        <p:grpSpPr bwMode="auto">
          <a:xfrm>
            <a:off x="2982913" y="4113219"/>
            <a:ext cx="4014787" cy="363538"/>
            <a:chOff x="1879" y="2591"/>
            <a:chExt cx="2529" cy="229"/>
          </a:xfrm>
          <a:solidFill>
            <a:schemeClr val="accent2"/>
          </a:solidFill>
        </p:grpSpPr>
        <p:sp>
          <p:nvSpPr>
            <p:cNvPr id="40" name="Freeform 37"/>
            <p:cNvSpPr>
              <a:spLocks noEditPoints="1"/>
            </p:cNvSpPr>
            <p:nvPr userDrawn="1"/>
          </p:nvSpPr>
          <p:spPr bwMode="auto">
            <a:xfrm>
              <a:off x="1879" y="2593"/>
              <a:ext cx="169" cy="224"/>
            </a:xfrm>
            <a:custGeom>
              <a:avLst/>
              <a:gdLst>
                <a:gd name="T0" fmla="*/ 36 w 149"/>
                <a:gd name="T1" fmla="*/ 186 h 194"/>
                <a:gd name="T2" fmla="*/ 28 w 149"/>
                <a:gd name="T3" fmla="*/ 194 h 194"/>
                <a:gd name="T4" fmla="*/ 8 w 149"/>
                <a:gd name="T5" fmla="*/ 194 h 194"/>
                <a:gd name="T6" fmla="*/ 0 w 149"/>
                <a:gd name="T7" fmla="*/ 186 h 194"/>
                <a:gd name="T8" fmla="*/ 0 w 149"/>
                <a:gd name="T9" fmla="*/ 8 h 194"/>
                <a:gd name="T10" fmla="*/ 8 w 149"/>
                <a:gd name="T11" fmla="*/ 0 h 194"/>
                <a:gd name="T12" fmla="*/ 74 w 149"/>
                <a:gd name="T13" fmla="*/ 0 h 194"/>
                <a:gd name="T14" fmla="*/ 141 w 149"/>
                <a:gd name="T15" fmla="*/ 56 h 194"/>
                <a:gd name="T16" fmla="*/ 106 w 149"/>
                <a:gd name="T17" fmla="*/ 109 h 194"/>
                <a:gd name="T18" fmla="*/ 145 w 149"/>
                <a:gd name="T19" fmla="*/ 181 h 194"/>
                <a:gd name="T20" fmla="*/ 140 w 149"/>
                <a:gd name="T21" fmla="*/ 194 h 194"/>
                <a:gd name="T22" fmla="*/ 118 w 149"/>
                <a:gd name="T23" fmla="*/ 194 h 194"/>
                <a:gd name="T24" fmla="*/ 106 w 149"/>
                <a:gd name="T25" fmla="*/ 186 h 194"/>
                <a:gd name="T26" fmla="*/ 71 w 149"/>
                <a:gd name="T27" fmla="*/ 117 h 194"/>
                <a:gd name="T28" fmla="*/ 36 w 149"/>
                <a:gd name="T29" fmla="*/ 117 h 194"/>
                <a:gd name="T30" fmla="*/ 36 w 149"/>
                <a:gd name="T31" fmla="*/ 186 h 194"/>
                <a:gd name="T32" fmla="*/ 69 w 149"/>
                <a:gd name="T33" fmla="*/ 91 h 194"/>
                <a:gd name="T34" fmla="*/ 104 w 149"/>
                <a:gd name="T35" fmla="*/ 58 h 194"/>
                <a:gd name="T36" fmla="*/ 70 w 149"/>
                <a:gd name="T37" fmla="*/ 26 h 194"/>
                <a:gd name="T38" fmla="*/ 36 w 149"/>
                <a:gd name="T39" fmla="*/ 26 h 194"/>
                <a:gd name="T40" fmla="*/ 36 w 149"/>
                <a:gd name="T41" fmla="*/ 91 h 194"/>
                <a:gd name="T42" fmla="*/ 69 w 149"/>
                <a:gd name="T43" fmla="*/ 91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49" h="194">
                  <a:moveTo>
                    <a:pt x="36" y="186"/>
                  </a:moveTo>
                  <a:cubicBezTo>
                    <a:pt x="36" y="190"/>
                    <a:pt x="32" y="194"/>
                    <a:pt x="28" y="194"/>
                  </a:cubicBezTo>
                  <a:cubicBezTo>
                    <a:pt x="8" y="194"/>
                    <a:pt x="8" y="194"/>
                    <a:pt x="8" y="194"/>
                  </a:cubicBezTo>
                  <a:cubicBezTo>
                    <a:pt x="4" y="194"/>
                    <a:pt x="0" y="190"/>
                    <a:pt x="0" y="186"/>
                  </a:cubicBezTo>
                  <a:cubicBezTo>
                    <a:pt x="0" y="8"/>
                    <a:pt x="0" y="8"/>
                    <a:pt x="0" y="8"/>
                  </a:cubicBezTo>
                  <a:cubicBezTo>
                    <a:pt x="0" y="4"/>
                    <a:pt x="4" y="0"/>
                    <a:pt x="8" y="0"/>
                  </a:cubicBezTo>
                  <a:cubicBezTo>
                    <a:pt x="74" y="0"/>
                    <a:pt x="74" y="0"/>
                    <a:pt x="74" y="0"/>
                  </a:cubicBezTo>
                  <a:cubicBezTo>
                    <a:pt x="122" y="0"/>
                    <a:pt x="141" y="23"/>
                    <a:pt x="141" y="56"/>
                  </a:cubicBezTo>
                  <a:cubicBezTo>
                    <a:pt x="141" y="81"/>
                    <a:pt x="130" y="99"/>
                    <a:pt x="106" y="109"/>
                  </a:cubicBezTo>
                  <a:cubicBezTo>
                    <a:pt x="145" y="181"/>
                    <a:pt x="145" y="181"/>
                    <a:pt x="145" y="181"/>
                  </a:cubicBezTo>
                  <a:cubicBezTo>
                    <a:pt x="149" y="188"/>
                    <a:pt x="147" y="194"/>
                    <a:pt x="140" y="194"/>
                  </a:cubicBezTo>
                  <a:cubicBezTo>
                    <a:pt x="118" y="194"/>
                    <a:pt x="118" y="194"/>
                    <a:pt x="118" y="194"/>
                  </a:cubicBezTo>
                  <a:cubicBezTo>
                    <a:pt x="113" y="194"/>
                    <a:pt x="109" y="191"/>
                    <a:pt x="106" y="186"/>
                  </a:cubicBezTo>
                  <a:cubicBezTo>
                    <a:pt x="71" y="117"/>
                    <a:pt x="71" y="117"/>
                    <a:pt x="71" y="117"/>
                  </a:cubicBezTo>
                  <a:cubicBezTo>
                    <a:pt x="36" y="117"/>
                    <a:pt x="36" y="117"/>
                    <a:pt x="36" y="117"/>
                  </a:cubicBezTo>
                  <a:lnTo>
                    <a:pt x="36" y="186"/>
                  </a:lnTo>
                  <a:close/>
                  <a:moveTo>
                    <a:pt x="69" y="91"/>
                  </a:moveTo>
                  <a:cubicBezTo>
                    <a:pt x="90" y="91"/>
                    <a:pt x="104" y="79"/>
                    <a:pt x="104" y="58"/>
                  </a:cubicBezTo>
                  <a:cubicBezTo>
                    <a:pt x="104" y="39"/>
                    <a:pt x="92" y="26"/>
                    <a:pt x="70" y="26"/>
                  </a:cubicBezTo>
                  <a:cubicBezTo>
                    <a:pt x="36" y="26"/>
                    <a:pt x="36" y="26"/>
                    <a:pt x="36" y="26"/>
                  </a:cubicBezTo>
                  <a:cubicBezTo>
                    <a:pt x="36" y="91"/>
                    <a:pt x="36" y="91"/>
                    <a:pt x="36" y="91"/>
                  </a:cubicBezTo>
                  <a:lnTo>
                    <a:pt x="69" y="9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1" name="Freeform 38"/>
            <p:cNvSpPr>
              <a:spLocks noEditPoints="1"/>
            </p:cNvSpPr>
            <p:nvPr userDrawn="1"/>
          </p:nvSpPr>
          <p:spPr bwMode="auto">
            <a:xfrm>
              <a:off x="2063" y="2650"/>
              <a:ext cx="145" cy="170"/>
            </a:xfrm>
            <a:custGeom>
              <a:avLst/>
              <a:gdLst>
                <a:gd name="T0" fmla="*/ 0 w 128"/>
                <a:gd name="T1" fmla="*/ 75 h 148"/>
                <a:gd name="T2" fmla="*/ 66 w 128"/>
                <a:gd name="T3" fmla="*/ 0 h 148"/>
                <a:gd name="T4" fmla="*/ 128 w 128"/>
                <a:gd name="T5" fmla="*/ 69 h 148"/>
                <a:gd name="T6" fmla="*/ 119 w 128"/>
                <a:gd name="T7" fmla="*/ 80 h 148"/>
                <a:gd name="T8" fmla="*/ 34 w 128"/>
                <a:gd name="T9" fmla="*/ 80 h 148"/>
                <a:gd name="T10" fmla="*/ 72 w 128"/>
                <a:gd name="T11" fmla="*/ 124 h 148"/>
                <a:gd name="T12" fmla="*/ 112 w 128"/>
                <a:gd name="T13" fmla="*/ 112 h 148"/>
                <a:gd name="T14" fmla="*/ 123 w 128"/>
                <a:gd name="T15" fmla="*/ 122 h 148"/>
                <a:gd name="T16" fmla="*/ 71 w 128"/>
                <a:gd name="T17" fmla="*/ 148 h 148"/>
                <a:gd name="T18" fmla="*/ 0 w 128"/>
                <a:gd name="T19" fmla="*/ 75 h 148"/>
                <a:gd name="T20" fmla="*/ 34 w 128"/>
                <a:gd name="T21" fmla="*/ 60 h 148"/>
                <a:gd name="T22" fmla="*/ 95 w 128"/>
                <a:gd name="T23" fmla="*/ 60 h 148"/>
                <a:gd name="T24" fmla="*/ 65 w 128"/>
                <a:gd name="T25" fmla="*/ 23 h 148"/>
                <a:gd name="T26" fmla="*/ 34 w 128"/>
                <a:gd name="T27" fmla="*/ 60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8" h="148">
                  <a:moveTo>
                    <a:pt x="0" y="75"/>
                  </a:moveTo>
                  <a:cubicBezTo>
                    <a:pt x="0" y="30"/>
                    <a:pt x="28" y="0"/>
                    <a:pt x="66" y="0"/>
                  </a:cubicBezTo>
                  <a:cubicBezTo>
                    <a:pt x="105" y="0"/>
                    <a:pt x="128" y="30"/>
                    <a:pt x="128" y="69"/>
                  </a:cubicBezTo>
                  <a:cubicBezTo>
                    <a:pt x="128" y="77"/>
                    <a:pt x="126" y="80"/>
                    <a:pt x="119" y="80"/>
                  </a:cubicBezTo>
                  <a:cubicBezTo>
                    <a:pt x="34" y="80"/>
                    <a:pt x="34" y="80"/>
                    <a:pt x="34" y="80"/>
                  </a:cubicBezTo>
                  <a:cubicBezTo>
                    <a:pt x="34" y="109"/>
                    <a:pt x="51" y="124"/>
                    <a:pt x="72" y="124"/>
                  </a:cubicBezTo>
                  <a:cubicBezTo>
                    <a:pt x="91" y="124"/>
                    <a:pt x="102" y="112"/>
                    <a:pt x="112" y="112"/>
                  </a:cubicBezTo>
                  <a:cubicBezTo>
                    <a:pt x="118" y="112"/>
                    <a:pt x="123" y="116"/>
                    <a:pt x="123" y="122"/>
                  </a:cubicBezTo>
                  <a:cubicBezTo>
                    <a:pt x="123" y="137"/>
                    <a:pt x="104" y="148"/>
                    <a:pt x="71" y="148"/>
                  </a:cubicBezTo>
                  <a:cubicBezTo>
                    <a:pt x="26" y="148"/>
                    <a:pt x="0" y="120"/>
                    <a:pt x="0" y="75"/>
                  </a:cubicBezTo>
                  <a:close/>
                  <a:moveTo>
                    <a:pt x="34" y="60"/>
                  </a:moveTo>
                  <a:cubicBezTo>
                    <a:pt x="95" y="60"/>
                    <a:pt x="95" y="60"/>
                    <a:pt x="95" y="60"/>
                  </a:cubicBezTo>
                  <a:cubicBezTo>
                    <a:pt x="95" y="40"/>
                    <a:pt x="86" y="23"/>
                    <a:pt x="65" y="23"/>
                  </a:cubicBezTo>
                  <a:cubicBezTo>
                    <a:pt x="48" y="23"/>
                    <a:pt x="35" y="38"/>
                    <a:pt x="34"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2" name="Freeform 39"/>
            <p:cNvSpPr>
              <a:spLocks/>
            </p:cNvSpPr>
            <p:nvPr userDrawn="1"/>
          </p:nvSpPr>
          <p:spPr bwMode="auto">
            <a:xfrm>
              <a:off x="2223" y="2611"/>
              <a:ext cx="101" cy="208"/>
            </a:xfrm>
            <a:custGeom>
              <a:avLst/>
              <a:gdLst>
                <a:gd name="T0" fmla="*/ 57 w 89"/>
                <a:gd name="T1" fmla="*/ 61 h 181"/>
                <a:gd name="T2" fmla="*/ 57 w 89"/>
                <a:gd name="T3" fmla="*/ 144 h 181"/>
                <a:gd name="T4" fmla="*/ 71 w 89"/>
                <a:gd name="T5" fmla="*/ 157 h 181"/>
                <a:gd name="T6" fmla="*/ 82 w 89"/>
                <a:gd name="T7" fmla="*/ 156 h 181"/>
                <a:gd name="T8" fmla="*/ 89 w 89"/>
                <a:gd name="T9" fmla="*/ 164 h 181"/>
                <a:gd name="T10" fmla="*/ 89 w 89"/>
                <a:gd name="T11" fmla="*/ 171 h 181"/>
                <a:gd name="T12" fmla="*/ 69 w 89"/>
                <a:gd name="T13" fmla="*/ 181 h 181"/>
                <a:gd name="T14" fmla="*/ 23 w 89"/>
                <a:gd name="T15" fmla="*/ 140 h 181"/>
                <a:gd name="T16" fmla="*/ 23 w 89"/>
                <a:gd name="T17" fmla="*/ 61 h 181"/>
                <a:gd name="T18" fmla="*/ 8 w 89"/>
                <a:gd name="T19" fmla="*/ 61 h 181"/>
                <a:gd name="T20" fmla="*/ 0 w 89"/>
                <a:gd name="T21" fmla="*/ 53 h 181"/>
                <a:gd name="T22" fmla="*/ 0 w 89"/>
                <a:gd name="T23" fmla="*/ 46 h 181"/>
                <a:gd name="T24" fmla="*/ 8 w 89"/>
                <a:gd name="T25" fmla="*/ 38 h 181"/>
                <a:gd name="T26" fmla="*/ 23 w 89"/>
                <a:gd name="T27" fmla="*/ 38 h 181"/>
                <a:gd name="T28" fmla="*/ 23 w 89"/>
                <a:gd name="T29" fmla="*/ 8 h 181"/>
                <a:gd name="T30" fmla="*/ 31 w 89"/>
                <a:gd name="T31" fmla="*/ 0 h 181"/>
                <a:gd name="T32" fmla="*/ 48 w 89"/>
                <a:gd name="T33" fmla="*/ 0 h 181"/>
                <a:gd name="T34" fmla="*/ 57 w 89"/>
                <a:gd name="T35" fmla="*/ 8 h 181"/>
                <a:gd name="T36" fmla="*/ 57 w 89"/>
                <a:gd name="T37" fmla="*/ 38 h 181"/>
                <a:gd name="T38" fmla="*/ 81 w 89"/>
                <a:gd name="T39" fmla="*/ 38 h 181"/>
                <a:gd name="T40" fmla="*/ 89 w 89"/>
                <a:gd name="T41" fmla="*/ 46 h 181"/>
                <a:gd name="T42" fmla="*/ 89 w 89"/>
                <a:gd name="T43" fmla="*/ 53 h 181"/>
                <a:gd name="T44" fmla="*/ 81 w 89"/>
                <a:gd name="T45" fmla="*/ 61 h 181"/>
                <a:gd name="T46" fmla="*/ 57 w 89"/>
                <a:gd name="T47" fmla="*/ 61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9" h="181">
                  <a:moveTo>
                    <a:pt x="57" y="61"/>
                  </a:moveTo>
                  <a:cubicBezTo>
                    <a:pt x="57" y="144"/>
                    <a:pt x="57" y="144"/>
                    <a:pt x="57" y="144"/>
                  </a:cubicBezTo>
                  <a:cubicBezTo>
                    <a:pt x="57" y="152"/>
                    <a:pt x="60" y="157"/>
                    <a:pt x="71" y="157"/>
                  </a:cubicBezTo>
                  <a:cubicBezTo>
                    <a:pt x="75" y="157"/>
                    <a:pt x="79" y="156"/>
                    <a:pt x="82" y="156"/>
                  </a:cubicBezTo>
                  <a:cubicBezTo>
                    <a:pt x="86" y="156"/>
                    <a:pt x="89" y="159"/>
                    <a:pt x="89" y="164"/>
                  </a:cubicBezTo>
                  <a:cubicBezTo>
                    <a:pt x="89" y="171"/>
                    <a:pt x="89" y="171"/>
                    <a:pt x="89" y="171"/>
                  </a:cubicBezTo>
                  <a:cubicBezTo>
                    <a:pt x="89" y="180"/>
                    <a:pt x="80" y="181"/>
                    <a:pt x="69" y="181"/>
                  </a:cubicBezTo>
                  <a:cubicBezTo>
                    <a:pt x="40" y="181"/>
                    <a:pt x="23" y="175"/>
                    <a:pt x="23" y="140"/>
                  </a:cubicBezTo>
                  <a:cubicBezTo>
                    <a:pt x="23" y="61"/>
                    <a:pt x="23" y="61"/>
                    <a:pt x="23" y="61"/>
                  </a:cubicBezTo>
                  <a:cubicBezTo>
                    <a:pt x="8" y="61"/>
                    <a:pt x="8" y="61"/>
                    <a:pt x="8" y="61"/>
                  </a:cubicBezTo>
                  <a:cubicBezTo>
                    <a:pt x="4" y="61"/>
                    <a:pt x="0" y="57"/>
                    <a:pt x="0" y="53"/>
                  </a:cubicBezTo>
                  <a:cubicBezTo>
                    <a:pt x="0" y="46"/>
                    <a:pt x="0" y="46"/>
                    <a:pt x="0" y="46"/>
                  </a:cubicBezTo>
                  <a:cubicBezTo>
                    <a:pt x="0" y="42"/>
                    <a:pt x="4" y="38"/>
                    <a:pt x="8" y="38"/>
                  </a:cubicBezTo>
                  <a:cubicBezTo>
                    <a:pt x="23" y="38"/>
                    <a:pt x="23" y="38"/>
                    <a:pt x="23" y="38"/>
                  </a:cubicBezTo>
                  <a:cubicBezTo>
                    <a:pt x="23" y="8"/>
                    <a:pt x="23" y="8"/>
                    <a:pt x="23" y="8"/>
                  </a:cubicBezTo>
                  <a:cubicBezTo>
                    <a:pt x="23" y="4"/>
                    <a:pt x="26" y="0"/>
                    <a:pt x="31" y="0"/>
                  </a:cubicBezTo>
                  <a:cubicBezTo>
                    <a:pt x="48" y="0"/>
                    <a:pt x="48" y="0"/>
                    <a:pt x="48" y="0"/>
                  </a:cubicBezTo>
                  <a:cubicBezTo>
                    <a:pt x="53" y="0"/>
                    <a:pt x="57" y="4"/>
                    <a:pt x="57" y="8"/>
                  </a:cubicBezTo>
                  <a:cubicBezTo>
                    <a:pt x="57" y="38"/>
                    <a:pt x="57" y="38"/>
                    <a:pt x="57" y="38"/>
                  </a:cubicBezTo>
                  <a:cubicBezTo>
                    <a:pt x="81" y="38"/>
                    <a:pt x="81" y="38"/>
                    <a:pt x="81" y="38"/>
                  </a:cubicBezTo>
                  <a:cubicBezTo>
                    <a:pt x="85" y="38"/>
                    <a:pt x="89" y="42"/>
                    <a:pt x="89" y="46"/>
                  </a:cubicBezTo>
                  <a:cubicBezTo>
                    <a:pt x="89" y="53"/>
                    <a:pt x="89" y="53"/>
                    <a:pt x="89" y="53"/>
                  </a:cubicBezTo>
                  <a:cubicBezTo>
                    <a:pt x="89" y="57"/>
                    <a:pt x="85" y="61"/>
                    <a:pt x="81" y="61"/>
                  </a:cubicBezTo>
                  <a:lnTo>
                    <a:pt x="57"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3" name="Freeform 40"/>
            <p:cNvSpPr>
              <a:spLocks/>
            </p:cNvSpPr>
            <p:nvPr userDrawn="1"/>
          </p:nvSpPr>
          <p:spPr bwMode="auto">
            <a:xfrm>
              <a:off x="2356" y="2593"/>
              <a:ext cx="134" cy="224"/>
            </a:xfrm>
            <a:custGeom>
              <a:avLst/>
              <a:gdLst>
                <a:gd name="T0" fmla="*/ 0 w 118"/>
                <a:gd name="T1" fmla="*/ 8 h 194"/>
                <a:gd name="T2" fmla="*/ 8 w 118"/>
                <a:gd name="T3" fmla="*/ 0 h 194"/>
                <a:gd name="T4" fmla="*/ 25 w 118"/>
                <a:gd name="T5" fmla="*/ 0 h 194"/>
                <a:gd name="T6" fmla="*/ 33 w 118"/>
                <a:gd name="T7" fmla="*/ 8 h 194"/>
                <a:gd name="T8" fmla="*/ 33 w 118"/>
                <a:gd name="T9" fmla="*/ 61 h 194"/>
                <a:gd name="T10" fmla="*/ 69 w 118"/>
                <a:gd name="T11" fmla="*/ 49 h 194"/>
                <a:gd name="T12" fmla="*/ 118 w 118"/>
                <a:gd name="T13" fmla="*/ 96 h 194"/>
                <a:gd name="T14" fmla="*/ 118 w 118"/>
                <a:gd name="T15" fmla="*/ 186 h 194"/>
                <a:gd name="T16" fmla="*/ 110 w 118"/>
                <a:gd name="T17" fmla="*/ 194 h 194"/>
                <a:gd name="T18" fmla="*/ 93 w 118"/>
                <a:gd name="T19" fmla="*/ 194 h 194"/>
                <a:gd name="T20" fmla="*/ 85 w 118"/>
                <a:gd name="T21" fmla="*/ 186 h 194"/>
                <a:gd name="T22" fmla="*/ 85 w 118"/>
                <a:gd name="T23" fmla="*/ 96 h 194"/>
                <a:gd name="T24" fmla="*/ 59 w 118"/>
                <a:gd name="T25" fmla="*/ 73 h 194"/>
                <a:gd name="T26" fmla="*/ 33 w 118"/>
                <a:gd name="T27" fmla="*/ 83 h 194"/>
                <a:gd name="T28" fmla="*/ 33 w 118"/>
                <a:gd name="T29" fmla="*/ 186 h 194"/>
                <a:gd name="T30" fmla="*/ 25 w 118"/>
                <a:gd name="T31" fmla="*/ 194 h 194"/>
                <a:gd name="T32" fmla="*/ 8 w 118"/>
                <a:gd name="T33" fmla="*/ 194 h 194"/>
                <a:gd name="T34" fmla="*/ 0 w 118"/>
                <a:gd name="T35" fmla="*/ 186 h 194"/>
                <a:gd name="T36" fmla="*/ 0 w 118"/>
                <a:gd name="T37" fmla="*/ 8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8" h="194">
                  <a:moveTo>
                    <a:pt x="0" y="8"/>
                  </a:moveTo>
                  <a:cubicBezTo>
                    <a:pt x="0" y="4"/>
                    <a:pt x="3" y="0"/>
                    <a:pt x="8" y="0"/>
                  </a:cubicBezTo>
                  <a:cubicBezTo>
                    <a:pt x="25" y="0"/>
                    <a:pt x="25" y="0"/>
                    <a:pt x="25" y="0"/>
                  </a:cubicBezTo>
                  <a:cubicBezTo>
                    <a:pt x="29" y="0"/>
                    <a:pt x="33" y="4"/>
                    <a:pt x="33" y="8"/>
                  </a:cubicBezTo>
                  <a:cubicBezTo>
                    <a:pt x="33" y="61"/>
                    <a:pt x="33" y="61"/>
                    <a:pt x="33" y="61"/>
                  </a:cubicBezTo>
                  <a:cubicBezTo>
                    <a:pt x="40" y="55"/>
                    <a:pt x="52" y="49"/>
                    <a:pt x="69" y="49"/>
                  </a:cubicBezTo>
                  <a:cubicBezTo>
                    <a:pt x="101" y="49"/>
                    <a:pt x="118" y="67"/>
                    <a:pt x="118" y="96"/>
                  </a:cubicBezTo>
                  <a:cubicBezTo>
                    <a:pt x="118" y="186"/>
                    <a:pt x="118" y="186"/>
                    <a:pt x="118" y="186"/>
                  </a:cubicBezTo>
                  <a:cubicBezTo>
                    <a:pt x="118" y="190"/>
                    <a:pt x="114" y="194"/>
                    <a:pt x="110" y="194"/>
                  </a:cubicBezTo>
                  <a:cubicBezTo>
                    <a:pt x="93" y="194"/>
                    <a:pt x="93" y="194"/>
                    <a:pt x="93" y="194"/>
                  </a:cubicBezTo>
                  <a:cubicBezTo>
                    <a:pt x="88" y="194"/>
                    <a:pt x="85" y="190"/>
                    <a:pt x="85" y="186"/>
                  </a:cubicBezTo>
                  <a:cubicBezTo>
                    <a:pt x="85" y="96"/>
                    <a:pt x="85" y="96"/>
                    <a:pt x="85" y="96"/>
                  </a:cubicBezTo>
                  <a:cubicBezTo>
                    <a:pt x="85" y="82"/>
                    <a:pt x="78" y="73"/>
                    <a:pt x="59" y="73"/>
                  </a:cubicBezTo>
                  <a:cubicBezTo>
                    <a:pt x="42" y="73"/>
                    <a:pt x="33" y="77"/>
                    <a:pt x="33" y="83"/>
                  </a:cubicBezTo>
                  <a:cubicBezTo>
                    <a:pt x="33" y="186"/>
                    <a:pt x="33" y="186"/>
                    <a:pt x="33" y="186"/>
                  </a:cubicBezTo>
                  <a:cubicBezTo>
                    <a:pt x="33" y="190"/>
                    <a:pt x="29" y="194"/>
                    <a:pt x="25" y="194"/>
                  </a:cubicBezTo>
                  <a:cubicBezTo>
                    <a:pt x="8" y="194"/>
                    <a:pt x="8" y="194"/>
                    <a:pt x="8" y="194"/>
                  </a:cubicBezTo>
                  <a:cubicBezTo>
                    <a:pt x="3" y="194"/>
                    <a:pt x="0" y="190"/>
                    <a:pt x="0" y="186"/>
                  </a:cubicBezTo>
                  <a:lnTo>
                    <a:pt x="0"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4" name="Freeform 41"/>
            <p:cNvSpPr>
              <a:spLocks noEditPoints="1"/>
            </p:cNvSpPr>
            <p:nvPr userDrawn="1"/>
          </p:nvSpPr>
          <p:spPr bwMode="auto">
            <a:xfrm>
              <a:off x="2533" y="2591"/>
              <a:ext cx="46" cy="226"/>
            </a:xfrm>
            <a:custGeom>
              <a:avLst/>
              <a:gdLst>
                <a:gd name="T0" fmla="*/ 20 w 40"/>
                <a:gd name="T1" fmla="*/ 0 h 196"/>
                <a:gd name="T2" fmla="*/ 40 w 40"/>
                <a:gd name="T3" fmla="*/ 20 h 196"/>
                <a:gd name="T4" fmla="*/ 20 w 40"/>
                <a:gd name="T5" fmla="*/ 39 h 196"/>
                <a:gd name="T6" fmla="*/ 0 w 40"/>
                <a:gd name="T7" fmla="*/ 20 h 196"/>
                <a:gd name="T8" fmla="*/ 20 w 40"/>
                <a:gd name="T9" fmla="*/ 0 h 196"/>
                <a:gd name="T10" fmla="*/ 37 w 40"/>
                <a:gd name="T11" fmla="*/ 188 h 196"/>
                <a:gd name="T12" fmla="*/ 29 w 40"/>
                <a:gd name="T13" fmla="*/ 196 h 196"/>
                <a:gd name="T14" fmla="*/ 11 w 40"/>
                <a:gd name="T15" fmla="*/ 196 h 196"/>
                <a:gd name="T16" fmla="*/ 3 w 40"/>
                <a:gd name="T17" fmla="*/ 188 h 196"/>
                <a:gd name="T18" fmla="*/ 3 w 40"/>
                <a:gd name="T19" fmla="*/ 63 h 196"/>
                <a:gd name="T20" fmla="*/ 11 w 40"/>
                <a:gd name="T21" fmla="*/ 55 h 196"/>
                <a:gd name="T22" fmla="*/ 29 w 40"/>
                <a:gd name="T23" fmla="*/ 55 h 196"/>
                <a:gd name="T24" fmla="*/ 37 w 40"/>
                <a:gd name="T25" fmla="*/ 63 h 196"/>
                <a:gd name="T26" fmla="*/ 37 w 40"/>
                <a:gd name="T27" fmla="*/ 188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196">
                  <a:moveTo>
                    <a:pt x="20" y="0"/>
                  </a:moveTo>
                  <a:cubicBezTo>
                    <a:pt x="31" y="0"/>
                    <a:pt x="40" y="9"/>
                    <a:pt x="40" y="20"/>
                  </a:cubicBezTo>
                  <a:cubicBezTo>
                    <a:pt x="40" y="31"/>
                    <a:pt x="31" y="39"/>
                    <a:pt x="20" y="39"/>
                  </a:cubicBezTo>
                  <a:cubicBezTo>
                    <a:pt x="9" y="39"/>
                    <a:pt x="0" y="31"/>
                    <a:pt x="0" y="20"/>
                  </a:cubicBezTo>
                  <a:cubicBezTo>
                    <a:pt x="0" y="9"/>
                    <a:pt x="9" y="0"/>
                    <a:pt x="20" y="0"/>
                  </a:cubicBezTo>
                  <a:close/>
                  <a:moveTo>
                    <a:pt x="37" y="188"/>
                  </a:moveTo>
                  <a:cubicBezTo>
                    <a:pt x="37" y="192"/>
                    <a:pt x="33" y="196"/>
                    <a:pt x="29" y="196"/>
                  </a:cubicBezTo>
                  <a:cubicBezTo>
                    <a:pt x="11" y="196"/>
                    <a:pt x="11" y="196"/>
                    <a:pt x="11" y="196"/>
                  </a:cubicBezTo>
                  <a:cubicBezTo>
                    <a:pt x="7" y="196"/>
                    <a:pt x="3" y="192"/>
                    <a:pt x="3" y="188"/>
                  </a:cubicBezTo>
                  <a:cubicBezTo>
                    <a:pt x="3" y="63"/>
                    <a:pt x="3" y="63"/>
                    <a:pt x="3" y="63"/>
                  </a:cubicBezTo>
                  <a:cubicBezTo>
                    <a:pt x="3" y="59"/>
                    <a:pt x="7" y="55"/>
                    <a:pt x="11" y="55"/>
                  </a:cubicBezTo>
                  <a:cubicBezTo>
                    <a:pt x="29" y="55"/>
                    <a:pt x="29" y="55"/>
                    <a:pt x="29" y="55"/>
                  </a:cubicBezTo>
                  <a:cubicBezTo>
                    <a:pt x="33" y="55"/>
                    <a:pt x="37" y="59"/>
                    <a:pt x="37" y="63"/>
                  </a:cubicBezTo>
                  <a:lnTo>
                    <a:pt x="37" y="1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5" name="Freeform 42"/>
            <p:cNvSpPr>
              <a:spLocks/>
            </p:cNvSpPr>
            <p:nvPr userDrawn="1"/>
          </p:nvSpPr>
          <p:spPr bwMode="auto">
            <a:xfrm>
              <a:off x="2620" y="2650"/>
              <a:ext cx="135" cy="167"/>
            </a:xfrm>
            <a:custGeom>
              <a:avLst/>
              <a:gdLst>
                <a:gd name="T0" fmla="*/ 0 w 119"/>
                <a:gd name="T1" fmla="*/ 12 h 145"/>
                <a:gd name="T2" fmla="*/ 8 w 119"/>
                <a:gd name="T3" fmla="*/ 4 h 145"/>
                <a:gd name="T4" fmla="*/ 25 w 119"/>
                <a:gd name="T5" fmla="*/ 4 h 145"/>
                <a:gd name="T6" fmla="*/ 33 w 119"/>
                <a:gd name="T7" fmla="*/ 12 h 145"/>
                <a:gd name="T8" fmla="*/ 33 w 119"/>
                <a:gd name="T9" fmla="*/ 14 h 145"/>
                <a:gd name="T10" fmla="*/ 70 w 119"/>
                <a:gd name="T11" fmla="*/ 0 h 145"/>
                <a:gd name="T12" fmla="*/ 119 w 119"/>
                <a:gd name="T13" fmla="*/ 48 h 145"/>
                <a:gd name="T14" fmla="*/ 119 w 119"/>
                <a:gd name="T15" fmla="*/ 137 h 145"/>
                <a:gd name="T16" fmla="*/ 111 w 119"/>
                <a:gd name="T17" fmla="*/ 145 h 145"/>
                <a:gd name="T18" fmla="*/ 94 w 119"/>
                <a:gd name="T19" fmla="*/ 145 h 145"/>
                <a:gd name="T20" fmla="*/ 85 w 119"/>
                <a:gd name="T21" fmla="*/ 137 h 145"/>
                <a:gd name="T22" fmla="*/ 85 w 119"/>
                <a:gd name="T23" fmla="*/ 47 h 145"/>
                <a:gd name="T24" fmla="*/ 60 w 119"/>
                <a:gd name="T25" fmla="*/ 24 h 145"/>
                <a:gd name="T26" fmla="*/ 34 w 119"/>
                <a:gd name="T27" fmla="*/ 41 h 145"/>
                <a:gd name="T28" fmla="*/ 34 w 119"/>
                <a:gd name="T29" fmla="*/ 137 h 145"/>
                <a:gd name="T30" fmla="*/ 26 w 119"/>
                <a:gd name="T31" fmla="*/ 145 h 145"/>
                <a:gd name="T32" fmla="*/ 8 w 119"/>
                <a:gd name="T33" fmla="*/ 145 h 145"/>
                <a:gd name="T34" fmla="*/ 0 w 119"/>
                <a:gd name="T35" fmla="*/ 137 h 145"/>
                <a:gd name="T36" fmla="*/ 0 w 119"/>
                <a:gd name="T37" fmla="*/ 12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9" h="145">
                  <a:moveTo>
                    <a:pt x="0" y="12"/>
                  </a:moveTo>
                  <a:cubicBezTo>
                    <a:pt x="0" y="8"/>
                    <a:pt x="4" y="4"/>
                    <a:pt x="8" y="4"/>
                  </a:cubicBezTo>
                  <a:cubicBezTo>
                    <a:pt x="25" y="4"/>
                    <a:pt x="25" y="4"/>
                    <a:pt x="25" y="4"/>
                  </a:cubicBezTo>
                  <a:cubicBezTo>
                    <a:pt x="29" y="4"/>
                    <a:pt x="33" y="8"/>
                    <a:pt x="33" y="12"/>
                  </a:cubicBezTo>
                  <a:cubicBezTo>
                    <a:pt x="33" y="14"/>
                    <a:pt x="33" y="14"/>
                    <a:pt x="33" y="14"/>
                  </a:cubicBezTo>
                  <a:cubicBezTo>
                    <a:pt x="38" y="7"/>
                    <a:pt x="51" y="0"/>
                    <a:pt x="70" y="0"/>
                  </a:cubicBezTo>
                  <a:cubicBezTo>
                    <a:pt x="102" y="0"/>
                    <a:pt x="119" y="18"/>
                    <a:pt x="119" y="48"/>
                  </a:cubicBezTo>
                  <a:cubicBezTo>
                    <a:pt x="119" y="137"/>
                    <a:pt x="119" y="137"/>
                    <a:pt x="119" y="137"/>
                  </a:cubicBezTo>
                  <a:cubicBezTo>
                    <a:pt x="119" y="141"/>
                    <a:pt x="115" y="145"/>
                    <a:pt x="111" y="145"/>
                  </a:cubicBezTo>
                  <a:cubicBezTo>
                    <a:pt x="94" y="145"/>
                    <a:pt x="94" y="145"/>
                    <a:pt x="94" y="145"/>
                  </a:cubicBezTo>
                  <a:cubicBezTo>
                    <a:pt x="89" y="145"/>
                    <a:pt x="85" y="141"/>
                    <a:pt x="85" y="137"/>
                  </a:cubicBezTo>
                  <a:cubicBezTo>
                    <a:pt x="85" y="47"/>
                    <a:pt x="85" y="47"/>
                    <a:pt x="85" y="47"/>
                  </a:cubicBezTo>
                  <a:cubicBezTo>
                    <a:pt x="85" y="33"/>
                    <a:pt x="78" y="24"/>
                    <a:pt x="60" y="24"/>
                  </a:cubicBezTo>
                  <a:cubicBezTo>
                    <a:pt x="35" y="24"/>
                    <a:pt x="34" y="30"/>
                    <a:pt x="34" y="41"/>
                  </a:cubicBezTo>
                  <a:cubicBezTo>
                    <a:pt x="34" y="137"/>
                    <a:pt x="34" y="137"/>
                    <a:pt x="34" y="137"/>
                  </a:cubicBezTo>
                  <a:cubicBezTo>
                    <a:pt x="34" y="141"/>
                    <a:pt x="30" y="145"/>
                    <a:pt x="26" y="145"/>
                  </a:cubicBezTo>
                  <a:cubicBezTo>
                    <a:pt x="8" y="145"/>
                    <a:pt x="8" y="145"/>
                    <a:pt x="8" y="145"/>
                  </a:cubicBezTo>
                  <a:cubicBezTo>
                    <a:pt x="4" y="145"/>
                    <a:pt x="0" y="141"/>
                    <a:pt x="0" y="137"/>
                  </a:cubicBezTo>
                  <a:lnTo>
                    <a:pt x="0"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6" name="Freeform 43"/>
            <p:cNvSpPr>
              <a:spLocks/>
            </p:cNvSpPr>
            <p:nvPr userDrawn="1"/>
          </p:nvSpPr>
          <p:spPr bwMode="auto">
            <a:xfrm>
              <a:off x="2798" y="2593"/>
              <a:ext cx="140" cy="224"/>
            </a:xfrm>
            <a:custGeom>
              <a:avLst/>
              <a:gdLst>
                <a:gd name="T0" fmla="*/ 34 w 123"/>
                <a:gd name="T1" fmla="*/ 112 h 194"/>
                <a:gd name="T2" fmla="*/ 35 w 123"/>
                <a:gd name="T3" fmla="*/ 112 h 194"/>
                <a:gd name="T4" fmla="*/ 79 w 123"/>
                <a:gd name="T5" fmla="*/ 61 h 194"/>
                <a:gd name="T6" fmla="*/ 94 w 123"/>
                <a:gd name="T7" fmla="*/ 53 h 194"/>
                <a:gd name="T8" fmla="*/ 109 w 123"/>
                <a:gd name="T9" fmla="*/ 53 h 194"/>
                <a:gd name="T10" fmla="*/ 115 w 123"/>
                <a:gd name="T11" fmla="*/ 59 h 194"/>
                <a:gd name="T12" fmla="*/ 112 w 123"/>
                <a:gd name="T13" fmla="*/ 66 h 194"/>
                <a:gd name="T14" fmla="*/ 77 w 123"/>
                <a:gd name="T15" fmla="*/ 103 h 194"/>
                <a:gd name="T16" fmla="*/ 121 w 123"/>
                <a:gd name="T17" fmla="*/ 179 h 194"/>
                <a:gd name="T18" fmla="*/ 123 w 123"/>
                <a:gd name="T19" fmla="*/ 186 h 194"/>
                <a:gd name="T20" fmla="*/ 115 w 123"/>
                <a:gd name="T21" fmla="*/ 194 h 194"/>
                <a:gd name="T22" fmla="*/ 98 w 123"/>
                <a:gd name="T23" fmla="*/ 194 h 194"/>
                <a:gd name="T24" fmla="*/ 84 w 123"/>
                <a:gd name="T25" fmla="*/ 183 h 194"/>
                <a:gd name="T26" fmla="*/ 55 w 123"/>
                <a:gd name="T27" fmla="*/ 126 h 194"/>
                <a:gd name="T28" fmla="*/ 34 w 123"/>
                <a:gd name="T29" fmla="*/ 148 h 194"/>
                <a:gd name="T30" fmla="*/ 34 w 123"/>
                <a:gd name="T31" fmla="*/ 186 h 194"/>
                <a:gd name="T32" fmla="*/ 26 w 123"/>
                <a:gd name="T33" fmla="*/ 194 h 194"/>
                <a:gd name="T34" fmla="*/ 8 w 123"/>
                <a:gd name="T35" fmla="*/ 194 h 194"/>
                <a:gd name="T36" fmla="*/ 0 w 123"/>
                <a:gd name="T37" fmla="*/ 186 h 194"/>
                <a:gd name="T38" fmla="*/ 0 w 123"/>
                <a:gd name="T39" fmla="*/ 8 h 194"/>
                <a:gd name="T40" fmla="*/ 8 w 123"/>
                <a:gd name="T41" fmla="*/ 0 h 194"/>
                <a:gd name="T42" fmla="*/ 26 w 123"/>
                <a:gd name="T43" fmla="*/ 0 h 194"/>
                <a:gd name="T44" fmla="*/ 34 w 123"/>
                <a:gd name="T45" fmla="*/ 8 h 194"/>
                <a:gd name="T46" fmla="*/ 34 w 123"/>
                <a:gd name="T47" fmla="*/ 112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23" h="194">
                  <a:moveTo>
                    <a:pt x="34" y="112"/>
                  </a:moveTo>
                  <a:cubicBezTo>
                    <a:pt x="35" y="112"/>
                    <a:pt x="35" y="112"/>
                    <a:pt x="35" y="112"/>
                  </a:cubicBezTo>
                  <a:cubicBezTo>
                    <a:pt x="79" y="61"/>
                    <a:pt x="79" y="61"/>
                    <a:pt x="79" y="61"/>
                  </a:cubicBezTo>
                  <a:cubicBezTo>
                    <a:pt x="84" y="56"/>
                    <a:pt x="87" y="53"/>
                    <a:pt x="94" y="53"/>
                  </a:cubicBezTo>
                  <a:cubicBezTo>
                    <a:pt x="109" y="53"/>
                    <a:pt x="109" y="53"/>
                    <a:pt x="109" y="53"/>
                  </a:cubicBezTo>
                  <a:cubicBezTo>
                    <a:pt x="113" y="53"/>
                    <a:pt x="115" y="55"/>
                    <a:pt x="115" y="59"/>
                  </a:cubicBezTo>
                  <a:cubicBezTo>
                    <a:pt x="115" y="61"/>
                    <a:pt x="114" y="63"/>
                    <a:pt x="112" y="66"/>
                  </a:cubicBezTo>
                  <a:cubicBezTo>
                    <a:pt x="77" y="103"/>
                    <a:pt x="77" y="103"/>
                    <a:pt x="77" y="103"/>
                  </a:cubicBezTo>
                  <a:cubicBezTo>
                    <a:pt x="121" y="179"/>
                    <a:pt x="121" y="179"/>
                    <a:pt x="121" y="179"/>
                  </a:cubicBezTo>
                  <a:cubicBezTo>
                    <a:pt x="122" y="182"/>
                    <a:pt x="123" y="184"/>
                    <a:pt x="123" y="186"/>
                  </a:cubicBezTo>
                  <a:cubicBezTo>
                    <a:pt x="123" y="191"/>
                    <a:pt x="119" y="194"/>
                    <a:pt x="115" y="194"/>
                  </a:cubicBezTo>
                  <a:cubicBezTo>
                    <a:pt x="98" y="194"/>
                    <a:pt x="98" y="194"/>
                    <a:pt x="98" y="194"/>
                  </a:cubicBezTo>
                  <a:cubicBezTo>
                    <a:pt x="90" y="194"/>
                    <a:pt x="88" y="191"/>
                    <a:pt x="84" y="183"/>
                  </a:cubicBezTo>
                  <a:cubicBezTo>
                    <a:pt x="55" y="126"/>
                    <a:pt x="55" y="126"/>
                    <a:pt x="55" y="126"/>
                  </a:cubicBezTo>
                  <a:cubicBezTo>
                    <a:pt x="34" y="148"/>
                    <a:pt x="34" y="148"/>
                    <a:pt x="34" y="148"/>
                  </a:cubicBezTo>
                  <a:cubicBezTo>
                    <a:pt x="34" y="186"/>
                    <a:pt x="34" y="186"/>
                    <a:pt x="34" y="186"/>
                  </a:cubicBezTo>
                  <a:cubicBezTo>
                    <a:pt x="34" y="190"/>
                    <a:pt x="30" y="194"/>
                    <a:pt x="26" y="194"/>
                  </a:cubicBezTo>
                  <a:cubicBezTo>
                    <a:pt x="8" y="194"/>
                    <a:pt x="8" y="194"/>
                    <a:pt x="8" y="194"/>
                  </a:cubicBezTo>
                  <a:cubicBezTo>
                    <a:pt x="4" y="194"/>
                    <a:pt x="0" y="190"/>
                    <a:pt x="0" y="186"/>
                  </a:cubicBezTo>
                  <a:cubicBezTo>
                    <a:pt x="0" y="8"/>
                    <a:pt x="0" y="8"/>
                    <a:pt x="0" y="8"/>
                  </a:cubicBezTo>
                  <a:cubicBezTo>
                    <a:pt x="0" y="4"/>
                    <a:pt x="4" y="0"/>
                    <a:pt x="8" y="0"/>
                  </a:cubicBezTo>
                  <a:cubicBezTo>
                    <a:pt x="26" y="0"/>
                    <a:pt x="26" y="0"/>
                    <a:pt x="26" y="0"/>
                  </a:cubicBezTo>
                  <a:cubicBezTo>
                    <a:pt x="30" y="0"/>
                    <a:pt x="34" y="4"/>
                    <a:pt x="34" y="8"/>
                  </a:cubicBezTo>
                  <a:lnTo>
                    <a:pt x="34" y="1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 name="Freeform 44"/>
            <p:cNvSpPr>
              <a:spLocks/>
            </p:cNvSpPr>
            <p:nvPr userDrawn="1"/>
          </p:nvSpPr>
          <p:spPr bwMode="auto">
            <a:xfrm>
              <a:off x="3018" y="2593"/>
              <a:ext cx="165" cy="224"/>
            </a:xfrm>
            <a:custGeom>
              <a:avLst/>
              <a:gdLst>
                <a:gd name="T0" fmla="*/ 137 w 145"/>
                <a:gd name="T1" fmla="*/ 0 h 194"/>
                <a:gd name="T2" fmla="*/ 145 w 145"/>
                <a:gd name="T3" fmla="*/ 8 h 194"/>
                <a:gd name="T4" fmla="*/ 145 w 145"/>
                <a:gd name="T5" fmla="*/ 18 h 194"/>
                <a:gd name="T6" fmla="*/ 137 w 145"/>
                <a:gd name="T7" fmla="*/ 26 h 194"/>
                <a:gd name="T8" fmla="*/ 91 w 145"/>
                <a:gd name="T9" fmla="*/ 26 h 194"/>
                <a:gd name="T10" fmla="*/ 91 w 145"/>
                <a:gd name="T11" fmla="*/ 186 h 194"/>
                <a:gd name="T12" fmla="*/ 83 w 145"/>
                <a:gd name="T13" fmla="*/ 194 h 194"/>
                <a:gd name="T14" fmla="*/ 62 w 145"/>
                <a:gd name="T15" fmla="*/ 194 h 194"/>
                <a:gd name="T16" fmla="*/ 54 w 145"/>
                <a:gd name="T17" fmla="*/ 186 h 194"/>
                <a:gd name="T18" fmla="*/ 54 w 145"/>
                <a:gd name="T19" fmla="*/ 26 h 194"/>
                <a:gd name="T20" fmla="*/ 8 w 145"/>
                <a:gd name="T21" fmla="*/ 26 h 194"/>
                <a:gd name="T22" fmla="*/ 0 w 145"/>
                <a:gd name="T23" fmla="*/ 18 h 194"/>
                <a:gd name="T24" fmla="*/ 0 w 145"/>
                <a:gd name="T25" fmla="*/ 8 h 194"/>
                <a:gd name="T26" fmla="*/ 8 w 145"/>
                <a:gd name="T27" fmla="*/ 0 h 194"/>
                <a:gd name="T28" fmla="*/ 137 w 145"/>
                <a:gd name="T29"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5" h="194">
                  <a:moveTo>
                    <a:pt x="137" y="0"/>
                  </a:moveTo>
                  <a:cubicBezTo>
                    <a:pt x="141" y="0"/>
                    <a:pt x="145" y="4"/>
                    <a:pt x="145" y="8"/>
                  </a:cubicBezTo>
                  <a:cubicBezTo>
                    <a:pt x="145" y="18"/>
                    <a:pt x="145" y="18"/>
                    <a:pt x="145" y="18"/>
                  </a:cubicBezTo>
                  <a:cubicBezTo>
                    <a:pt x="145" y="23"/>
                    <a:pt x="141" y="26"/>
                    <a:pt x="137" y="26"/>
                  </a:cubicBezTo>
                  <a:cubicBezTo>
                    <a:pt x="91" y="26"/>
                    <a:pt x="91" y="26"/>
                    <a:pt x="91" y="26"/>
                  </a:cubicBezTo>
                  <a:cubicBezTo>
                    <a:pt x="91" y="186"/>
                    <a:pt x="91" y="186"/>
                    <a:pt x="91" y="186"/>
                  </a:cubicBezTo>
                  <a:cubicBezTo>
                    <a:pt x="91" y="190"/>
                    <a:pt x="87" y="194"/>
                    <a:pt x="83" y="194"/>
                  </a:cubicBezTo>
                  <a:cubicBezTo>
                    <a:pt x="62" y="194"/>
                    <a:pt x="62" y="194"/>
                    <a:pt x="62" y="194"/>
                  </a:cubicBezTo>
                  <a:cubicBezTo>
                    <a:pt x="58" y="194"/>
                    <a:pt x="54" y="190"/>
                    <a:pt x="54" y="186"/>
                  </a:cubicBezTo>
                  <a:cubicBezTo>
                    <a:pt x="54" y="26"/>
                    <a:pt x="54" y="26"/>
                    <a:pt x="54" y="26"/>
                  </a:cubicBezTo>
                  <a:cubicBezTo>
                    <a:pt x="8" y="26"/>
                    <a:pt x="8" y="26"/>
                    <a:pt x="8" y="26"/>
                  </a:cubicBezTo>
                  <a:cubicBezTo>
                    <a:pt x="4" y="26"/>
                    <a:pt x="0" y="23"/>
                    <a:pt x="0" y="18"/>
                  </a:cubicBezTo>
                  <a:cubicBezTo>
                    <a:pt x="0" y="8"/>
                    <a:pt x="0" y="8"/>
                    <a:pt x="0" y="8"/>
                  </a:cubicBezTo>
                  <a:cubicBezTo>
                    <a:pt x="0" y="4"/>
                    <a:pt x="4" y="0"/>
                    <a:pt x="8" y="0"/>
                  </a:cubicBezTo>
                  <a:lnTo>
                    <a:pt x="13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8" name="Freeform 45"/>
            <p:cNvSpPr>
              <a:spLocks noEditPoints="1"/>
            </p:cNvSpPr>
            <p:nvPr userDrawn="1"/>
          </p:nvSpPr>
          <p:spPr bwMode="auto">
            <a:xfrm>
              <a:off x="3168" y="2650"/>
              <a:ext cx="155" cy="170"/>
            </a:xfrm>
            <a:custGeom>
              <a:avLst/>
              <a:gdLst>
                <a:gd name="T0" fmla="*/ 0 w 136"/>
                <a:gd name="T1" fmla="*/ 74 h 148"/>
                <a:gd name="T2" fmla="*/ 68 w 136"/>
                <a:gd name="T3" fmla="*/ 0 h 148"/>
                <a:gd name="T4" fmla="*/ 136 w 136"/>
                <a:gd name="T5" fmla="*/ 74 h 148"/>
                <a:gd name="T6" fmla="*/ 68 w 136"/>
                <a:gd name="T7" fmla="*/ 148 h 148"/>
                <a:gd name="T8" fmla="*/ 0 w 136"/>
                <a:gd name="T9" fmla="*/ 74 h 148"/>
                <a:gd name="T10" fmla="*/ 102 w 136"/>
                <a:gd name="T11" fmla="*/ 74 h 148"/>
                <a:gd name="T12" fmla="*/ 68 w 136"/>
                <a:gd name="T13" fmla="*/ 23 h 148"/>
                <a:gd name="T14" fmla="*/ 34 w 136"/>
                <a:gd name="T15" fmla="*/ 74 h 148"/>
                <a:gd name="T16" fmla="*/ 68 w 136"/>
                <a:gd name="T17" fmla="*/ 125 h 148"/>
                <a:gd name="T18" fmla="*/ 102 w 136"/>
                <a:gd name="T19" fmla="*/ 74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6" h="148">
                  <a:moveTo>
                    <a:pt x="0" y="74"/>
                  </a:moveTo>
                  <a:cubicBezTo>
                    <a:pt x="0" y="28"/>
                    <a:pt x="28" y="0"/>
                    <a:pt x="68" y="0"/>
                  </a:cubicBezTo>
                  <a:cubicBezTo>
                    <a:pt x="109" y="0"/>
                    <a:pt x="136" y="28"/>
                    <a:pt x="136" y="74"/>
                  </a:cubicBezTo>
                  <a:cubicBezTo>
                    <a:pt x="136" y="120"/>
                    <a:pt x="109" y="148"/>
                    <a:pt x="68" y="148"/>
                  </a:cubicBezTo>
                  <a:cubicBezTo>
                    <a:pt x="28" y="148"/>
                    <a:pt x="0" y="120"/>
                    <a:pt x="0" y="74"/>
                  </a:cubicBezTo>
                  <a:close/>
                  <a:moveTo>
                    <a:pt x="102" y="74"/>
                  </a:moveTo>
                  <a:cubicBezTo>
                    <a:pt x="102" y="42"/>
                    <a:pt x="90" y="23"/>
                    <a:pt x="68" y="23"/>
                  </a:cubicBezTo>
                  <a:cubicBezTo>
                    <a:pt x="47" y="23"/>
                    <a:pt x="34" y="42"/>
                    <a:pt x="34" y="74"/>
                  </a:cubicBezTo>
                  <a:cubicBezTo>
                    <a:pt x="34" y="103"/>
                    <a:pt x="45" y="125"/>
                    <a:pt x="68" y="125"/>
                  </a:cubicBezTo>
                  <a:cubicBezTo>
                    <a:pt x="92" y="125"/>
                    <a:pt x="102" y="103"/>
                    <a:pt x="102" y="7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9" name="Freeform 46"/>
            <p:cNvSpPr>
              <a:spLocks/>
            </p:cNvSpPr>
            <p:nvPr userDrawn="1"/>
          </p:nvSpPr>
          <p:spPr bwMode="auto">
            <a:xfrm>
              <a:off x="3356" y="2650"/>
              <a:ext cx="219" cy="167"/>
            </a:xfrm>
            <a:custGeom>
              <a:avLst/>
              <a:gdLst>
                <a:gd name="T0" fmla="*/ 114 w 193"/>
                <a:gd name="T1" fmla="*/ 137 h 145"/>
                <a:gd name="T2" fmla="*/ 106 w 193"/>
                <a:gd name="T3" fmla="*/ 145 h 145"/>
                <a:gd name="T4" fmla="*/ 88 w 193"/>
                <a:gd name="T5" fmla="*/ 145 h 145"/>
                <a:gd name="T6" fmla="*/ 80 w 193"/>
                <a:gd name="T7" fmla="*/ 137 h 145"/>
                <a:gd name="T8" fmla="*/ 80 w 193"/>
                <a:gd name="T9" fmla="*/ 45 h 145"/>
                <a:gd name="T10" fmla="*/ 56 w 193"/>
                <a:gd name="T11" fmla="*/ 24 h 145"/>
                <a:gd name="T12" fmla="*/ 34 w 193"/>
                <a:gd name="T13" fmla="*/ 38 h 145"/>
                <a:gd name="T14" fmla="*/ 34 w 193"/>
                <a:gd name="T15" fmla="*/ 137 h 145"/>
                <a:gd name="T16" fmla="*/ 26 w 193"/>
                <a:gd name="T17" fmla="*/ 145 h 145"/>
                <a:gd name="T18" fmla="*/ 8 w 193"/>
                <a:gd name="T19" fmla="*/ 145 h 145"/>
                <a:gd name="T20" fmla="*/ 0 w 193"/>
                <a:gd name="T21" fmla="*/ 137 h 145"/>
                <a:gd name="T22" fmla="*/ 0 w 193"/>
                <a:gd name="T23" fmla="*/ 12 h 145"/>
                <a:gd name="T24" fmla="*/ 8 w 193"/>
                <a:gd name="T25" fmla="*/ 4 h 145"/>
                <a:gd name="T26" fmla="*/ 24 w 193"/>
                <a:gd name="T27" fmla="*/ 4 h 145"/>
                <a:gd name="T28" fmla="*/ 32 w 193"/>
                <a:gd name="T29" fmla="*/ 12 h 145"/>
                <a:gd name="T30" fmla="*/ 32 w 193"/>
                <a:gd name="T31" fmla="*/ 14 h 145"/>
                <a:gd name="T32" fmla="*/ 69 w 193"/>
                <a:gd name="T33" fmla="*/ 0 h 145"/>
                <a:gd name="T34" fmla="*/ 105 w 193"/>
                <a:gd name="T35" fmla="*/ 16 h 145"/>
                <a:gd name="T36" fmla="*/ 106 w 193"/>
                <a:gd name="T37" fmla="*/ 16 h 145"/>
                <a:gd name="T38" fmla="*/ 147 w 193"/>
                <a:gd name="T39" fmla="*/ 0 h 145"/>
                <a:gd name="T40" fmla="*/ 193 w 193"/>
                <a:gd name="T41" fmla="*/ 47 h 145"/>
                <a:gd name="T42" fmla="*/ 193 w 193"/>
                <a:gd name="T43" fmla="*/ 137 h 145"/>
                <a:gd name="T44" fmla="*/ 185 w 193"/>
                <a:gd name="T45" fmla="*/ 145 h 145"/>
                <a:gd name="T46" fmla="*/ 167 w 193"/>
                <a:gd name="T47" fmla="*/ 145 h 145"/>
                <a:gd name="T48" fmla="*/ 159 w 193"/>
                <a:gd name="T49" fmla="*/ 137 h 145"/>
                <a:gd name="T50" fmla="*/ 159 w 193"/>
                <a:gd name="T51" fmla="*/ 46 h 145"/>
                <a:gd name="T52" fmla="*/ 136 w 193"/>
                <a:gd name="T53" fmla="*/ 24 h 145"/>
                <a:gd name="T54" fmla="*/ 114 w 193"/>
                <a:gd name="T55" fmla="*/ 34 h 145"/>
                <a:gd name="T56" fmla="*/ 114 w 193"/>
                <a:gd name="T57" fmla="*/ 137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93" h="145">
                  <a:moveTo>
                    <a:pt x="114" y="137"/>
                  </a:moveTo>
                  <a:cubicBezTo>
                    <a:pt x="114" y="141"/>
                    <a:pt x="110" y="145"/>
                    <a:pt x="106" y="145"/>
                  </a:cubicBezTo>
                  <a:cubicBezTo>
                    <a:pt x="88" y="145"/>
                    <a:pt x="88" y="145"/>
                    <a:pt x="88" y="145"/>
                  </a:cubicBezTo>
                  <a:cubicBezTo>
                    <a:pt x="84" y="145"/>
                    <a:pt x="80" y="141"/>
                    <a:pt x="80" y="137"/>
                  </a:cubicBezTo>
                  <a:cubicBezTo>
                    <a:pt x="80" y="45"/>
                    <a:pt x="80" y="45"/>
                    <a:pt x="80" y="45"/>
                  </a:cubicBezTo>
                  <a:cubicBezTo>
                    <a:pt x="80" y="31"/>
                    <a:pt x="75" y="24"/>
                    <a:pt x="56" y="24"/>
                  </a:cubicBezTo>
                  <a:cubicBezTo>
                    <a:pt x="36" y="24"/>
                    <a:pt x="34" y="31"/>
                    <a:pt x="34" y="38"/>
                  </a:cubicBezTo>
                  <a:cubicBezTo>
                    <a:pt x="34" y="137"/>
                    <a:pt x="34" y="137"/>
                    <a:pt x="34" y="137"/>
                  </a:cubicBezTo>
                  <a:cubicBezTo>
                    <a:pt x="34" y="141"/>
                    <a:pt x="30" y="145"/>
                    <a:pt x="26" y="145"/>
                  </a:cubicBezTo>
                  <a:cubicBezTo>
                    <a:pt x="8" y="145"/>
                    <a:pt x="8" y="145"/>
                    <a:pt x="8" y="145"/>
                  </a:cubicBezTo>
                  <a:cubicBezTo>
                    <a:pt x="4" y="145"/>
                    <a:pt x="0" y="141"/>
                    <a:pt x="0" y="137"/>
                  </a:cubicBezTo>
                  <a:cubicBezTo>
                    <a:pt x="0" y="12"/>
                    <a:pt x="0" y="12"/>
                    <a:pt x="0" y="12"/>
                  </a:cubicBezTo>
                  <a:cubicBezTo>
                    <a:pt x="0" y="8"/>
                    <a:pt x="4" y="4"/>
                    <a:pt x="8" y="4"/>
                  </a:cubicBezTo>
                  <a:cubicBezTo>
                    <a:pt x="24" y="4"/>
                    <a:pt x="24" y="4"/>
                    <a:pt x="24" y="4"/>
                  </a:cubicBezTo>
                  <a:cubicBezTo>
                    <a:pt x="29" y="4"/>
                    <a:pt x="32" y="8"/>
                    <a:pt x="32" y="12"/>
                  </a:cubicBezTo>
                  <a:cubicBezTo>
                    <a:pt x="32" y="14"/>
                    <a:pt x="32" y="14"/>
                    <a:pt x="32" y="14"/>
                  </a:cubicBezTo>
                  <a:cubicBezTo>
                    <a:pt x="38" y="7"/>
                    <a:pt x="51" y="0"/>
                    <a:pt x="69" y="0"/>
                  </a:cubicBezTo>
                  <a:cubicBezTo>
                    <a:pt x="86" y="0"/>
                    <a:pt x="98" y="6"/>
                    <a:pt x="105" y="16"/>
                  </a:cubicBezTo>
                  <a:cubicBezTo>
                    <a:pt x="106" y="16"/>
                    <a:pt x="106" y="16"/>
                    <a:pt x="106" y="16"/>
                  </a:cubicBezTo>
                  <a:cubicBezTo>
                    <a:pt x="111" y="9"/>
                    <a:pt x="124" y="0"/>
                    <a:pt x="147" y="0"/>
                  </a:cubicBezTo>
                  <a:cubicBezTo>
                    <a:pt x="179" y="0"/>
                    <a:pt x="193" y="18"/>
                    <a:pt x="193" y="47"/>
                  </a:cubicBezTo>
                  <a:cubicBezTo>
                    <a:pt x="193" y="137"/>
                    <a:pt x="193" y="137"/>
                    <a:pt x="193" y="137"/>
                  </a:cubicBezTo>
                  <a:cubicBezTo>
                    <a:pt x="193" y="141"/>
                    <a:pt x="190" y="145"/>
                    <a:pt x="185" y="145"/>
                  </a:cubicBezTo>
                  <a:cubicBezTo>
                    <a:pt x="167" y="145"/>
                    <a:pt x="167" y="145"/>
                    <a:pt x="167" y="145"/>
                  </a:cubicBezTo>
                  <a:cubicBezTo>
                    <a:pt x="163" y="145"/>
                    <a:pt x="159" y="141"/>
                    <a:pt x="159" y="137"/>
                  </a:cubicBezTo>
                  <a:cubicBezTo>
                    <a:pt x="159" y="46"/>
                    <a:pt x="159" y="46"/>
                    <a:pt x="159" y="46"/>
                  </a:cubicBezTo>
                  <a:cubicBezTo>
                    <a:pt x="159" y="33"/>
                    <a:pt x="155" y="24"/>
                    <a:pt x="136" y="24"/>
                  </a:cubicBezTo>
                  <a:cubicBezTo>
                    <a:pt x="121" y="24"/>
                    <a:pt x="114" y="29"/>
                    <a:pt x="114" y="34"/>
                  </a:cubicBezTo>
                  <a:lnTo>
                    <a:pt x="114" y="1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0" name="Freeform 47"/>
            <p:cNvSpPr>
              <a:spLocks noEditPoints="1"/>
            </p:cNvSpPr>
            <p:nvPr userDrawn="1"/>
          </p:nvSpPr>
          <p:spPr bwMode="auto">
            <a:xfrm>
              <a:off x="3608" y="2650"/>
              <a:ext cx="155" cy="170"/>
            </a:xfrm>
            <a:custGeom>
              <a:avLst/>
              <a:gdLst>
                <a:gd name="T0" fmla="*/ 0 w 136"/>
                <a:gd name="T1" fmla="*/ 74 h 148"/>
                <a:gd name="T2" fmla="*/ 68 w 136"/>
                <a:gd name="T3" fmla="*/ 0 h 148"/>
                <a:gd name="T4" fmla="*/ 136 w 136"/>
                <a:gd name="T5" fmla="*/ 74 h 148"/>
                <a:gd name="T6" fmla="*/ 68 w 136"/>
                <a:gd name="T7" fmla="*/ 148 h 148"/>
                <a:gd name="T8" fmla="*/ 0 w 136"/>
                <a:gd name="T9" fmla="*/ 74 h 148"/>
                <a:gd name="T10" fmla="*/ 102 w 136"/>
                <a:gd name="T11" fmla="*/ 74 h 148"/>
                <a:gd name="T12" fmla="*/ 68 w 136"/>
                <a:gd name="T13" fmla="*/ 23 h 148"/>
                <a:gd name="T14" fmla="*/ 34 w 136"/>
                <a:gd name="T15" fmla="*/ 74 h 148"/>
                <a:gd name="T16" fmla="*/ 68 w 136"/>
                <a:gd name="T17" fmla="*/ 125 h 148"/>
                <a:gd name="T18" fmla="*/ 102 w 136"/>
                <a:gd name="T19" fmla="*/ 74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6" h="148">
                  <a:moveTo>
                    <a:pt x="0" y="74"/>
                  </a:moveTo>
                  <a:cubicBezTo>
                    <a:pt x="0" y="28"/>
                    <a:pt x="27" y="0"/>
                    <a:pt x="68" y="0"/>
                  </a:cubicBezTo>
                  <a:cubicBezTo>
                    <a:pt x="109" y="0"/>
                    <a:pt x="136" y="28"/>
                    <a:pt x="136" y="74"/>
                  </a:cubicBezTo>
                  <a:cubicBezTo>
                    <a:pt x="136" y="120"/>
                    <a:pt x="109" y="148"/>
                    <a:pt x="68" y="148"/>
                  </a:cubicBezTo>
                  <a:cubicBezTo>
                    <a:pt x="27" y="148"/>
                    <a:pt x="0" y="120"/>
                    <a:pt x="0" y="74"/>
                  </a:cubicBezTo>
                  <a:close/>
                  <a:moveTo>
                    <a:pt x="102" y="74"/>
                  </a:moveTo>
                  <a:cubicBezTo>
                    <a:pt x="102" y="42"/>
                    <a:pt x="90" y="23"/>
                    <a:pt x="68" y="23"/>
                  </a:cubicBezTo>
                  <a:cubicBezTo>
                    <a:pt x="46" y="23"/>
                    <a:pt x="34" y="42"/>
                    <a:pt x="34" y="74"/>
                  </a:cubicBezTo>
                  <a:cubicBezTo>
                    <a:pt x="34" y="103"/>
                    <a:pt x="45" y="125"/>
                    <a:pt x="68" y="125"/>
                  </a:cubicBezTo>
                  <a:cubicBezTo>
                    <a:pt x="91" y="125"/>
                    <a:pt x="102" y="103"/>
                    <a:pt x="102" y="7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1" name="Freeform 48"/>
            <p:cNvSpPr>
              <a:spLocks/>
            </p:cNvSpPr>
            <p:nvPr userDrawn="1"/>
          </p:nvSpPr>
          <p:spPr bwMode="auto">
            <a:xfrm>
              <a:off x="3797" y="2650"/>
              <a:ext cx="93" cy="167"/>
            </a:xfrm>
            <a:custGeom>
              <a:avLst/>
              <a:gdLst>
                <a:gd name="T0" fmla="*/ 82 w 82"/>
                <a:gd name="T1" fmla="*/ 15 h 145"/>
                <a:gd name="T2" fmla="*/ 66 w 82"/>
                <a:gd name="T3" fmla="*/ 31 h 145"/>
                <a:gd name="T4" fmla="*/ 44 w 82"/>
                <a:gd name="T5" fmla="*/ 27 h 145"/>
                <a:gd name="T6" fmla="*/ 33 w 82"/>
                <a:gd name="T7" fmla="*/ 38 h 145"/>
                <a:gd name="T8" fmla="*/ 33 w 82"/>
                <a:gd name="T9" fmla="*/ 137 h 145"/>
                <a:gd name="T10" fmla="*/ 25 w 82"/>
                <a:gd name="T11" fmla="*/ 145 h 145"/>
                <a:gd name="T12" fmla="*/ 8 w 82"/>
                <a:gd name="T13" fmla="*/ 145 h 145"/>
                <a:gd name="T14" fmla="*/ 0 w 82"/>
                <a:gd name="T15" fmla="*/ 137 h 145"/>
                <a:gd name="T16" fmla="*/ 0 w 82"/>
                <a:gd name="T17" fmla="*/ 12 h 145"/>
                <a:gd name="T18" fmla="*/ 8 w 82"/>
                <a:gd name="T19" fmla="*/ 4 h 145"/>
                <a:gd name="T20" fmla="*/ 24 w 82"/>
                <a:gd name="T21" fmla="*/ 4 h 145"/>
                <a:gd name="T22" fmla="*/ 32 w 82"/>
                <a:gd name="T23" fmla="*/ 12 h 145"/>
                <a:gd name="T24" fmla="*/ 32 w 82"/>
                <a:gd name="T25" fmla="*/ 15 h 145"/>
                <a:gd name="T26" fmla="*/ 65 w 82"/>
                <a:gd name="T27" fmla="*/ 0 h 145"/>
                <a:gd name="T28" fmla="*/ 82 w 82"/>
                <a:gd name="T29" fmla="*/ 15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2" h="145">
                  <a:moveTo>
                    <a:pt x="82" y="15"/>
                  </a:moveTo>
                  <a:cubicBezTo>
                    <a:pt x="82" y="24"/>
                    <a:pt x="79" y="31"/>
                    <a:pt x="66" y="31"/>
                  </a:cubicBezTo>
                  <a:cubicBezTo>
                    <a:pt x="59" y="31"/>
                    <a:pt x="51" y="27"/>
                    <a:pt x="44" y="27"/>
                  </a:cubicBezTo>
                  <a:cubicBezTo>
                    <a:pt x="36" y="27"/>
                    <a:pt x="33" y="32"/>
                    <a:pt x="33" y="38"/>
                  </a:cubicBezTo>
                  <a:cubicBezTo>
                    <a:pt x="33" y="137"/>
                    <a:pt x="33" y="137"/>
                    <a:pt x="33" y="137"/>
                  </a:cubicBezTo>
                  <a:cubicBezTo>
                    <a:pt x="33" y="141"/>
                    <a:pt x="29" y="145"/>
                    <a:pt x="25" y="145"/>
                  </a:cubicBezTo>
                  <a:cubicBezTo>
                    <a:pt x="8" y="145"/>
                    <a:pt x="8" y="145"/>
                    <a:pt x="8" y="145"/>
                  </a:cubicBezTo>
                  <a:cubicBezTo>
                    <a:pt x="3" y="145"/>
                    <a:pt x="0" y="141"/>
                    <a:pt x="0" y="137"/>
                  </a:cubicBezTo>
                  <a:cubicBezTo>
                    <a:pt x="0" y="12"/>
                    <a:pt x="0" y="12"/>
                    <a:pt x="0" y="12"/>
                  </a:cubicBezTo>
                  <a:cubicBezTo>
                    <a:pt x="0" y="8"/>
                    <a:pt x="3" y="4"/>
                    <a:pt x="8" y="4"/>
                  </a:cubicBezTo>
                  <a:cubicBezTo>
                    <a:pt x="24" y="4"/>
                    <a:pt x="24" y="4"/>
                    <a:pt x="24" y="4"/>
                  </a:cubicBezTo>
                  <a:cubicBezTo>
                    <a:pt x="28" y="4"/>
                    <a:pt x="32" y="8"/>
                    <a:pt x="32" y="12"/>
                  </a:cubicBezTo>
                  <a:cubicBezTo>
                    <a:pt x="32" y="15"/>
                    <a:pt x="32" y="15"/>
                    <a:pt x="32" y="15"/>
                  </a:cubicBezTo>
                  <a:cubicBezTo>
                    <a:pt x="38" y="7"/>
                    <a:pt x="52" y="0"/>
                    <a:pt x="65" y="0"/>
                  </a:cubicBezTo>
                  <a:cubicBezTo>
                    <a:pt x="77" y="0"/>
                    <a:pt x="82" y="6"/>
                    <a:pt x="82"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2" name="Freeform 49"/>
            <p:cNvSpPr>
              <a:spLocks/>
            </p:cNvSpPr>
            <p:nvPr userDrawn="1"/>
          </p:nvSpPr>
          <p:spPr bwMode="auto">
            <a:xfrm>
              <a:off x="3916" y="2650"/>
              <a:ext cx="93" cy="167"/>
            </a:xfrm>
            <a:custGeom>
              <a:avLst/>
              <a:gdLst>
                <a:gd name="T0" fmla="*/ 82 w 82"/>
                <a:gd name="T1" fmla="*/ 15 h 145"/>
                <a:gd name="T2" fmla="*/ 66 w 82"/>
                <a:gd name="T3" fmla="*/ 31 h 145"/>
                <a:gd name="T4" fmla="*/ 44 w 82"/>
                <a:gd name="T5" fmla="*/ 27 h 145"/>
                <a:gd name="T6" fmla="*/ 33 w 82"/>
                <a:gd name="T7" fmla="*/ 38 h 145"/>
                <a:gd name="T8" fmla="*/ 33 w 82"/>
                <a:gd name="T9" fmla="*/ 137 h 145"/>
                <a:gd name="T10" fmla="*/ 25 w 82"/>
                <a:gd name="T11" fmla="*/ 145 h 145"/>
                <a:gd name="T12" fmla="*/ 8 w 82"/>
                <a:gd name="T13" fmla="*/ 145 h 145"/>
                <a:gd name="T14" fmla="*/ 0 w 82"/>
                <a:gd name="T15" fmla="*/ 137 h 145"/>
                <a:gd name="T16" fmla="*/ 0 w 82"/>
                <a:gd name="T17" fmla="*/ 12 h 145"/>
                <a:gd name="T18" fmla="*/ 8 w 82"/>
                <a:gd name="T19" fmla="*/ 4 h 145"/>
                <a:gd name="T20" fmla="*/ 24 w 82"/>
                <a:gd name="T21" fmla="*/ 4 h 145"/>
                <a:gd name="T22" fmla="*/ 32 w 82"/>
                <a:gd name="T23" fmla="*/ 12 h 145"/>
                <a:gd name="T24" fmla="*/ 32 w 82"/>
                <a:gd name="T25" fmla="*/ 15 h 145"/>
                <a:gd name="T26" fmla="*/ 65 w 82"/>
                <a:gd name="T27" fmla="*/ 0 h 145"/>
                <a:gd name="T28" fmla="*/ 82 w 82"/>
                <a:gd name="T29" fmla="*/ 15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2" h="145">
                  <a:moveTo>
                    <a:pt x="82" y="15"/>
                  </a:moveTo>
                  <a:cubicBezTo>
                    <a:pt x="82" y="24"/>
                    <a:pt x="79" y="31"/>
                    <a:pt x="66" y="31"/>
                  </a:cubicBezTo>
                  <a:cubicBezTo>
                    <a:pt x="59" y="31"/>
                    <a:pt x="51" y="27"/>
                    <a:pt x="44" y="27"/>
                  </a:cubicBezTo>
                  <a:cubicBezTo>
                    <a:pt x="36" y="27"/>
                    <a:pt x="33" y="32"/>
                    <a:pt x="33" y="38"/>
                  </a:cubicBezTo>
                  <a:cubicBezTo>
                    <a:pt x="33" y="137"/>
                    <a:pt x="33" y="137"/>
                    <a:pt x="33" y="137"/>
                  </a:cubicBezTo>
                  <a:cubicBezTo>
                    <a:pt x="33" y="141"/>
                    <a:pt x="29" y="145"/>
                    <a:pt x="25" y="145"/>
                  </a:cubicBezTo>
                  <a:cubicBezTo>
                    <a:pt x="8" y="145"/>
                    <a:pt x="8" y="145"/>
                    <a:pt x="8" y="145"/>
                  </a:cubicBezTo>
                  <a:cubicBezTo>
                    <a:pt x="3" y="145"/>
                    <a:pt x="0" y="141"/>
                    <a:pt x="0" y="137"/>
                  </a:cubicBezTo>
                  <a:cubicBezTo>
                    <a:pt x="0" y="12"/>
                    <a:pt x="0" y="12"/>
                    <a:pt x="0" y="12"/>
                  </a:cubicBezTo>
                  <a:cubicBezTo>
                    <a:pt x="0" y="8"/>
                    <a:pt x="3" y="4"/>
                    <a:pt x="8" y="4"/>
                  </a:cubicBezTo>
                  <a:cubicBezTo>
                    <a:pt x="24" y="4"/>
                    <a:pt x="24" y="4"/>
                    <a:pt x="24" y="4"/>
                  </a:cubicBezTo>
                  <a:cubicBezTo>
                    <a:pt x="28" y="4"/>
                    <a:pt x="32" y="8"/>
                    <a:pt x="32" y="12"/>
                  </a:cubicBezTo>
                  <a:cubicBezTo>
                    <a:pt x="32" y="15"/>
                    <a:pt x="32" y="15"/>
                    <a:pt x="32" y="15"/>
                  </a:cubicBezTo>
                  <a:cubicBezTo>
                    <a:pt x="38" y="7"/>
                    <a:pt x="52" y="0"/>
                    <a:pt x="65" y="0"/>
                  </a:cubicBezTo>
                  <a:cubicBezTo>
                    <a:pt x="77" y="0"/>
                    <a:pt x="82" y="6"/>
                    <a:pt x="82"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3" name="Freeform 50"/>
            <p:cNvSpPr>
              <a:spLocks noEditPoints="1"/>
            </p:cNvSpPr>
            <p:nvPr userDrawn="1"/>
          </p:nvSpPr>
          <p:spPr bwMode="auto">
            <a:xfrm>
              <a:off x="4018" y="2650"/>
              <a:ext cx="155" cy="170"/>
            </a:xfrm>
            <a:custGeom>
              <a:avLst/>
              <a:gdLst>
                <a:gd name="T0" fmla="*/ 0 w 136"/>
                <a:gd name="T1" fmla="*/ 74 h 148"/>
                <a:gd name="T2" fmla="*/ 68 w 136"/>
                <a:gd name="T3" fmla="*/ 0 h 148"/>
                <a:gd name="T4" fmla="*/ 136 w 136"/>
                <a:gd name="T5" fmla="*/ 74 h 148"/>
                <a:gd name="T6" fmla="*/ 68 w 136"/>
                <a:gd name="T7" fmla="*/ 148 h 148"/>
                <a:gd name="T8" fmla="*/ 0 w 136"/>
                <a:gd name="T9" fmla="*/ 74 h 148"/>
                <a:gd name="T10" fmla="*/ 102 w 136"/>
                <a:gd name="T11" fmla="*/ 74 h 148"/>
                <a:gd name="T12" fmla="*/ 68 w 136"/>
                <a:gd name="T13" fmla="*/ 23 h 148"/>
                <a:gd name="T14" fmla="*/ 34 w 136"/>
                <a:gd name="T15" fmla="*/ 74 h 148"/>
                <a:gd name="T16" fmla="*/ 68 w 136"/>
                <a:gd name="T17" fmla="*/ 125 h 148"/>
                <a:gd name="T18" fmla="*/ 102 w 136"/>
                <a:gd name="T19" fmla="*/ 74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6" h="148">
                  <a:moveTo>
                    <a:pt x="0" y="74"/>
                  </a:moveTo>
                  <a:cubicBezTo>
                    <a:pt x="0" y="28"/>
                    <a:pt x="28" y="0"/>
                    <a:pt x="68" y="0"/>
                  </a:cubicBezTo>
                  <a:cubicBezTo>
                    <a:pt x="109" y="0"/>
                    <a:pt x="136" y="28"/>
                    <a:pt x="136" y="74"/>
                  </a:cubicBezTo>
                  <a:cubicBezTo>
                    <a:pt x="136" y="120"/>
                    <a:pt x="109" y="148"/>
                    <a:pt x="68" y="148"/>
                  </a:cubicBezTo>
                  <a:cubicBezTo>
                    <a:pt x="28" y="148"/>
                    <a:pt x="0" y="120"/>
                    <a:pt x="0" y="74"/>
                  </a:cubicBezTo>
                  <a:close/>
                  <a:moveTo>
                    <a:pt x="102" y="74"/>
                  </a:moveTo>
                  <a:cubicBezTo>
                    <a:pt x="102" y="42"/>
                    <a:pt x="90" y="23"/>
                    <a:pt x="68" y="23"/>
                  </a:cubicBezTo>
                  <a:cubicBezTo>
                    <a:pt x="47" y="23"/>
                    <a:pt x="34" y="42"/>
                    <a:pt x="34" y="74"/>
                  </a:cubicBezTo>
                  <a:cubicBezTo>
                    <a:pt x="34" y="103"/>
                    <a:pt x="45" y="125"/>
                    <a:pt x="68" y="125"/>
                  </a:cubicBezTo>
                  <a:cubicBezTo>
                    <a:pt x="91" y="125"/>
                    <a:pt x="102" y="103"/>
                    <a:pt x="102" y="7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4" name="Freeform 51"/>
            <p:cNvSpPr>
              <a:spLocks/>
            </p:cNvSpPr>
            <p:nvPr userDrawn="1"/>
          </p:nvSpPr>
          <p:spPr bwMode="auto">
            <a:xfrm>
              <a:off x="4189" y="2654"/>
              <a:ext cx="219" cy="164"/>
            </a:xfrm>
            <a:custGeom>
              <a:avLst/>
              <a:gdLst>
                <a:gd name="T0" fmla="*/ 138 w 193"/>
                <a:gd name="T1" fmla="*/ 108 h 142"/>
                <a:gd name="T2" fmla="*/ 160 w 193"/>
                <a:gd name="T3" fmla="*/ 8 h 142"/>
                <a:gd name="T4" fmla="*/ 168 w 193"/>
                <a:gd name="T5" fmla="*/ 0 h 142"/>
                <a:gd name="T6" fmla="*/ 184 w 193"/>
                <a:gd name="T7" fmla="*/ 0 h 142"/>
                <a:gd name="T8" fmla="*/ 191 w 193"/>
                <a:gd name="T9" fmla="*/ 12 h 142"/>
                <a:gd name="T10" fmla="*/ 158 w 193"/>
                <a:gd name="T11" fmla="*/ 131 h 142"/>
                <a:gd name="T12" fmla="*/ 138 w 193"/>
                <a:gd name="T13" fmla="*/ 142 h 142"/>
                <a:gd name="T14" fmla="*/ 115 w 193"/>
                <a:gd name="T15" fmla="*/ 131 h 142"/>
                <a:gd name="T16" fmla="*/ 95 w 193"/>
                <a:gd name="T17" fmla="*/ 53 h 142"/>
                <a:gd name="T18" fmla="*/ 94 w 193"/>
                <a:gd name="T19" fmla="*/ 53 h 142"/>
                <a:gd name="T20" fmla="*/ 74 w 193"/>
                <a:gd name="T21" fmla="*/ 131 h 142"/>
                <a:gd name="T22" fmla="*/ 54 w 193"/>
                <a:gd name="T23" fmla="*/ 142 h 142"/>
                <a:gd name="T24" fmla="*/ 33 w 193"/>
                <a:gd name="T25" fmla="*/ 131 h 142"/>
                <a:gd name="T26" fmla="*/ 2 w 193"/>
                <a:gd name="T27" fmla="*/ 11 h 142"/>
                <a:gd name="T28" fmla="*/ 9 w 193"/>
                <a:gd name="T29" fmla="*/ 0 h 142"/>
                <a:gd name="T30" fmla="*/ 29 w 193"/>
                <a:gd name="T31" fmla="*/ 0 h 142"/>
                <a:gd name="T32" fmla="*/ 37 w 193"/>
                <a:gd name="T33" fmla="*/ 8 h 142"/>
                <a:gd name="T34" fmla="*/ 57 w 193"/>
                <a:gd name="T35" fmla="*/ 108 h 142"/>
                <a:gd name="T36" fmla="*/ 57 w 193"/>
                <a:gd name="T37" fmla="*/ 108 h 142"/>
                <a:gd name="T38" fmla="*/ 79 w 193"/>
                <a:gd name="T39" fmla="*/ 20 h 142"/>
                <a:gd name="T40" fmla="*/ 98 w 193"/>
                <a:gd name="T41" fmla="*/ 1 h 142"/>
                <a:gd name="T42" fmla="*/ 117 w 193"/>
                <a:gd name="T43" fmla="*/ 18 h 142"/>
                <a:gd name="T44" fmla="*/ 138 w 193"/>
                <a:gd name="T45" fmla="*/ 10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93" h="142">
                  <a:moveTo>
                    <a:pt x="138" y="108"/>
                  </a:moveTo>
                  <a:cubicBezTo>
                    <a:pt x="160" y="8"/>
                    <a:pt x="160" y="8"/>
                    <a:pt x="160" y="8"/>
                  </a:cubicBezTo>
                  <a:cubicBezTo>
                    <a:pt x="161" y="4"/>
                    <a:pt x="164" y="0"/>
                    <a:pt x="168" y="0"/>
                  </a:cubicBezTo>
                  <a:cubicBezTo>
                    <a:pt x="184" y="0"/>
                    <a:pt x="184" y="0"/>
                    <a:pt x="184" y="0"/>
                  </a:cubicBezTo>
                  <a:cubicBezTo>
                    <a:pt x="191" y="0"/>
                    <a:pt x="193" y="5"/>
                    <a:pt x="191" y="12"/>
                  </a:cubicBezTo>
                  <a:cubicBezTo>
                    <a:pt x="158" y="131"/>
                    <a:pt x="158" y="131"/>
                    <a:pt x="158" y="131"/>
                  </a:cubicBezTo>
                  <a:cubicBezTo>
                    <a:pt x="155" y="138"/>
                    <a:pt x="149" y="142"/>
                    <a:pt x="138" y="142"/>
                  </a:cubicBezTo>
                  <a:cubicBezTo>
                    <a:pt x="125" y="142"/>
                    <a:pt x="117" y="139"/>
                    <a:pt x="115" y="131"/>
                  </a:cubicBezTo>
                  <a:cubicBezTo>
                    <a:pt x="95" y="53"/>
                    <a:pt x="95" y="53"/>
                    <a:pt x="95" y="53"/>
                  </a:cubicBezTo>
                  <a:cubicBezTo>
                    <a:pt x="94" y="53"/>
                    <a:pt x="94" y="53"/>
                    <a:pt x="94" y="53"/>
                  </a:cubicBezTo>
                  <a:cubicBezTo>
                    <a:pt x="74" y="131"/>
                    <a:pt x="74" y="131"/>
                    <a:pt x="74" y="131"/>
                  </a:cubicBezTo>
                  <a:cubicBezTo>
                    <a:pt x="73" y="138"/>
                    <a:pt x="68" y="142"/>
                    <a:pt x="54" y="142"/>
                  </a:cubicBezTo>
                  <a:cubicBezTo>
                    <a:pt x="42" y="142"/>
                    <a:pt x="35" y="139"/>
                    <a:pt x="33" y="131"/>
                  </a:cubicBezTo>
                  <a:cubicBezTo>
                    <a:pt x="2" y="11"/>
                    <a:pt x="2" y="11"/>
                    <a:pt x="2" y="11"/>
                  </a:cubicBezTo>
                  <a:cubicBezTo>
                    <a:pt x="0" y="5"/>
                    <a:pt x="2" y="0"/>
                    <a:pt x="9" y="0"/>
                  </a:cubicBezTo>
                  <a:cubicBezTo>
                    <a:pt x="29" y="0"/>
                    <a:pt x="29" y="0"/>
                    <a:pt x="29" y="0"/>
                  </a:cubicBezTo>
                  <a:cubicBezTo>
                    <a:pt x="33" y="0"/>
                    <a:pt x="36" y="3"/>
                    <a:pt x="37" y="8"/>
                  </a:cubicBezTo>
                  <a:cubicBezTo>
                    <a:pt x="57" y="108"/>
                    <a:pt x="57" y="108"/>
                    <a:pt x="57" y="108"/>
                  </a:cubicBezTo>
                  <a:cubicBezTo>
                    <a:pt x="57" y="108"/>
                    <a:pt x="57" y="108"/>
                    <a:pt x="57" y="108"/>
                  </a:cubicBezTo>
                  <a:cubicBezTo>
                    <a:pt x="79" y="20"/>
                    <a:pt x="79" y="20"/>
                    <a:pt x="79" y="20"/>
                  </a:cubicBezTo>
                  <a:cubicBezTo>
                    <a:pt x="82" y="7"/>
                    <a:pt x="87" y="1"/>
                    <a:pt x="98" y="1"/>
                  </a:cubicBezTo>
                  <a:cubicBezTo>
                    <a:pt x="107" y="1"/>
                    <a:pt x="114" y="6"/>
                    <a:pt x="117" y="18"/>
                  </a:cubicBezTo>
                  <a:cubicBezTo>
                    <a:pt x="138" y="108"/>
                    <a:pt x="138" y="108"/>
                    <a:pt x="138" y="1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321984720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Text">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a:xfrm>
            <a:off x="487362" y="1763713"/>
            <a:ext cx="8339137" cy="4227512"/>
          </a:xfrm>
        </p:spPr>
        <p:txBody>
          <a:bodyPr/>
          <a:lstStyle/>
          <a:p>
            <a:pPr lvl="0"/>
            <a:r>
              <a:rPr lang="da-DK" dirty="0" err="1"/>
              <a:t>Click</a:t>
            </a:r>
            <a:r>
              <a:rPr lang="da-DK" dirty="0"/>
              <a:t> to </a:t>
            </a:r>
            <a:r>
              <a:rPr lang="da-DK" dirty="0" err="1"/>
              <a:t>edit</a:t>
            </a:r>
            <a:r>
              <a:rPr lang="da-DK" dirty="0"/>
              <a:t> Master </a:t>
            </a:r>
            <a:r>
              <a:rPr lang="da-DK" dirty="0" err="1"/>
              <a:t>text</a:t>
            </a:r>
            <a:r>
              <a:rPr lang="da-DK" dirty="0"/>
              <a:t> </a:t>
            </a:r>
            <a:r>
              <a:rPr lang="da-DK" dirty="0" err="1"/>
              <a:t>styles</a:t>
            </a:r>
            <a:endParaRPr lang="da-DK" dirty="0"/>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p:txBody>
      </p:sp>
      <p:sp>
        <p:nvSpPr>
          <p:cNvPr id="2" name="Title 1"/>
          <p:cNvSpPr>
            <a:spLocks noGrp="1"/>
          </p:cNvSpPr>
          <p:nvPr>
            <p:ph type="title"/>
          </p:nvPr>
        </p:nvSpPr>
        <p:spPr>
          <a:xfrm>
            <a:off x="465712" y="604838"/>
            <a:ext cx="8360788" cy="863235"/>
          </a:xfrm>
        </p:spPr>
        <p:txBody>
          <a:bodyPr/>
          <a:lstStyle/>
          <a:p>
            <a:r>
              <a:rPr lang="da-DK" dirty="0" err="1"/>
              <a:t>Click</a:t>
            </a:r>
            <a:r>
              <a:rPr lang="da-DK" dirty="0"/>
              <a:t> to </a:t>
            </a:r>
            <a:r>
              <a:rPr lang="da-DK" dirty="0" err="1"/>
              <a:t>edit</a:t>
            </a:r>
            <a:r>
              <a:rPr lang="da-DK" dirty="0"/>
              <a:t> Master </a:t>
            </a:r>
            <a:r>
              <a:rPr lang="da-DK" dirty="0" err="1"/>
              <a:t>title</a:t>
            </a:r>
            <a:r>
              <a:rPr lang="da-DK" dirty="0"/>
              <a:t> </a:t>
            </a:r>
            <a:r>
              <a:rPr lang="da-DK" dirty="0" err="1"/>
              <a:t>style</a:t>
            </a:r>
            <a:endParaRPr lang="da-DK" dirty="0"/>
          </a:p>
        </p:txBody>
      </p:sp>
      <p:sp>
        <p:nvSpPr>
          <p:cNvPr id="3" name="Date Placeholder 2"/>
          <p:cNvSpPr>
            <a:spLocks noGrp="1"/>
          </p:cNvSpPr>
          <p:nvPr>
            <p:ph type="dt" sz="half" idx="10"/>
          </p:nvPr>
        </p:nvSpPr>
        <p:spPr/>
        <p:txBody>
          <a:bodyPr/>
          <a:lstStyle/>
          <a:p>
            <a:endParaRPr lang="da-DK" dirty="0"/>
          </a:p>
        </p:txBody>
      </p:sp>
      <p:sp>
        <p:nvSpPr>
          <p:cNvPr id="4" name="Footer Placeholder 3"/>
          <p:cNvSpPr>
            <a:spLocks noGrp="1"/>
          </p:cNvSpPr>
          <p:nvPr>
            <p:ph type="ftr" sz="quarter" idx="11"/>
          </p:nvPr>
        </p:nvSpPr>
        <p:spPr/>
        <p:txBody>
          <a:bodyPr/>
          <a:lstStyle/>
          <a:p>
            <a:endParaRPr lang="da-DK" dirty="0"/>
          </a:p>
        </p:txBody>
      </p:sp>
      <p:sp>
        <p:nvSpPr>
          <p:cNvPr id="5" name="Slide Number Placeholder 4"/>
          <p:cNvSpPr>
            <a:spLocks noGrp="1"/>
          </p:cNvSpPr>
          <p:nvPr>
            <p:ph type="sldNum" sz="quarter" idx="12"/>
          </p:nvPr>
        </p:nvSpPr>
        <p:spPr/>
        <p:txBody>
          <a:bodyPr/>
          <a:lstStyle/>
          <a:p>
            <a:fld id="{45D37B1E-C366-494F-A587-962AD9AABC83}" type="slidenum">
              <a:rPr lang="da-DK" smtClean="0"/>
              <a:pPr/>
              <a:t>‹#›</a:t>
            </a:fld>
            <a:endParaRPr lang="da-DK" dirty="0"/>
          </a:p>
        </p:txBody>
      </p:sp>
    </p:spTree>
    <p:extLst>
      <p:ext uri="{BB962C8B-B14F-4D97-AF65-F5344CB8AC3E}">
        <p14:creationId xmlns:p14="http://schemas.microsoft.com/office/powerpoint/2010/main" val="263810108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1_Title slide, purple">
    <p:spTree>
      <p:nvGrpSpPr>
        <p:cNvPr id="1" name=""/>
        <p:cNvGrpSpPr/>
        <p:nvPr/>
      </p:nvGrpSpPr>
      <p:grpSpPr>
        <a:xfrm>
          <a:off x="0" y="0"/>
          <a:ext cx="0" cy="0"/>
          <a:chOff x="0" y="0"/>
          <a:chExt cx="0" cy="0"/>
        </a:xfrm>
      </p:grpSpPr>
      <p:sp>
        <p:nvSpPr>
          <p:cNvPr id="8" name="Rectangle 7"/>
          <p:cNvSpPr/>
          <p:nvPr/>
        </p:nvSpPr>
        <p:spPr>
          <a:xfrm>
            <a:off x="0" y="0"/>
            <a:ext cx="12193200" cy="6858000"/>
          </a:xfrm>
          <a:prstGeom prst="rect">
            <a:avLst/>
          </a:prstGeom>
          <a:solidFill>
            <a:srgbClr val="2D00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Date Placeholder 3"/>
          <p:cNvSpPr>
            <a:spLocks noGrp="1"/>
          </p:cNvSpPr>
          <p:nvPr>
            <p:ph type="dt" sz="half" idx="10"/>
          </p:nvPr>
        </p:nvSpPr>
        <p:spPr/>
        <p:txBody>
          <a:bodyPr/>
          <a:lstStyle>
            <a:lvl1pPr>
              <a:defRPr sz="100">
                <a:solidFill>
                  <a:schemeClr val="bg1"/>
                </a:solidFill>
              </a:defRPr>
            </a:lvl1pPr>
          </a:lstStyle>
          <a:p>
            <a:endParaRPr lang="en-US" dirty="0"/>
          </a:p>
        </p:txBody>
      </p:sp>
      <p:sp>
        <p:nvSpPr>
          <p:cNvPr id="5" name="Footer Placeholder 4"/>
          <p:cNvSpPr>
            <a:spLocks noGrp="1"/>
          </p:cNvSpPr>
          <p:nvPr>
            <p:ph type="ftr" sz="quarter" idx="11"/>
          </p:nvPr>
        </p:nvSpPr>
        <p:spPr>
          <a:xfrm>
            <a:off x="1008723" y="6611581"/>
            <a:ext cx="6873007" cy="244475"/>
          </a:xfrm>
        </p:spPr>
        <p:txBody>
          <a:bodyPr/>
          <a:lstStyle>
            <a:lvl1pPr>
              <a:defRPr sz="100">
                <a:solidFill>
                  <a:schemeClr val="bg1"/>
                </a:solidFill>
              </a:defRPr>
            </a:lvl1pPr>
          </a:lstStyle>
          <a:p>
            <a:endParaRPr lang="en-US" dirty="0"/>
          </a:p>
        </p:txBody>
      </p:sp>
      <p:sp>
        <p:nvSpPr>
          <p:cNvPr id="6" name="Slide Number Placeholder 5"/>
          <p:cNvSpPr>
            <a:spLocks noGrp="1"/>
          </p:cNvSpPr>
          <p:nvPr>
            <p:ph type="sldNum" sz="quarter" idx="12"/>
          </p:nvPr>
        </p:nvSpPr>
        <p:spPr>
          <a:xfrm>
            <a:off x="487363" y="6611581"/>
            <a:ext cx="516119" cy="244475"/>
          </a:xfrm>
        </p:spPr>
        <p:txBody>
          <a:bodyPr/>
          <a:lstStyle>
            <a:lvl1pPr>
              <a:defRPr sz="100">
                <a:solidFill>
                  <a:schemeClr val="bg1"/>
                </a:solidFill>
              </a:defRPr>
            </a:lvl1pPr>
          </a:lstStyle>
          <a:p>
            <a:fld id="{45D37B1E-C366-494F-A587-962AD9AABC83}" type="slidenum">
              <a:rPr lang="en-US" smtClean="0"/>
              <a:pPr/>
              <a:t>‹#›</a:t>
            </a:fld>
            <a:endParaRPr lang="en-US" dirty="0"/>
          </a:p>
        </p:txBody>
      </p:sp>
      <p:grpSp>
        <p:nvGrpSpPr>
          <p:cNvPr id="2" name="Group 1"/>
          <p:cNvGrpSpPr/>
          <p:nvPr userDrawn="1"/>
        </p:nvGrpSpPr>
        <p:grpSpPr>
          <a:xfrm>
            <a:off x="504000" y="6238800"/>
            <a:ext cx="11196321" cy="434959"/>
            <a:chOff x="504000" y="6238800"/>
            <a:chExt cx="11196321" cy="434959"/>
          </a:xfrm>
        </p:grpSpPr>
        <p:pic>
          <p:nvPicPr>
            <p:cNvPr id="12" name="Picture 11"/>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a:xfrm>
              <a:off x="504000" y="6508800"/>
              <a:ext cx="1171532" cy="104771"/>
            </a:xfrm>
            <a:prstGeom prst="rect">
              <a:avLst/>
            </a:prstGeom>
          </p:spPr>
        </p:pic>
        <p:pic>
          <p:nvPicPr>
            <p:cNvPr id="14" name="Picture 1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224000" y="6238800"/>
              <a:ext cx="1476321" cy="434959"/>
            </a:xfrm>
            <a:prstGeom prst="rect">
              <a:avLst/>
            </a:prstGeom>
          </p:spPr>
        </p:pic>
      </p:grpSp>
      <p:sp>
        <p:nvSpPr>
          <p:cNvPr id="16" name="Title 6"/>
          <p:cNvSpPr>
            <a:spLocks noGrp="1"/>
          </p:cNvSpPr>
          <p:nvPr>
            <p:ph type="title" hasCustomPrompt="1"/>
          </p:nvPr>
        </p:nvSpPr>
        <p:spPr>
          <a:xfrm>
            <a:off x="722312" y="1763713"/>
            <a:ext cx="8104187" cy="2321343"/>
          </a:xfrm>
        </p:spPr>
        <p:txBody>
          <a:bodyPr/>
          <a:lstStyle>
            <a:lvl1pPr>
              <a:defRPr sz="5400">
                <a:solidFill>
                  <a:schemeClr val="bg1"/>
                </a:solidFill>
              </a:defRPr>
            </a:lvl1pPr>
          </a:lstStyle>
          <a:p>
            <a:r>
              <a:rPr lang="en-US" dirty="0"/>
              <a:t>Click to add title</a:t>
            </a:r>
          </a:p>
        </p:txBody>
      </p:sp>
      <p:sp>
        <p:nvSpPr>
          <p:cNvPr id="17" name="Text Placeholder 9"/>
          <p:cNvSpPr>
            <a:spLocks noGrp="1"/>
          </p:cNvSpPr>
          <p:nvPr>
            <p:ph type="body" sz="quarter" idx="15" hasCustomPrompt="1"/>
          </p:nvPr>
        </p:nvSpPr>
        <p:spPr>
          <a:xfrm>
            <a:off x="722313" y="4271446"/>
            <a:ext cx="8104187" cy="298450"/>
          </a:xfrm>
        </p:spPr>
        <p:txBody>
          <a:bodyPr/>
          <a:lstStyle>
            <a:lvl1pPr>
              <a:defRPr b="1" baseline="0">
                <a:solidFill>
                  <a:schemeClr val="bg1"/>
                </a:solidFill>
              </a:defRPr>
            </a:lvl1pPr>
          </a:lstStyle>
          <a:p>
            <a:pPr lvl="0"/>
            <a:r>
              <a:rPr lang="en-US" dirty="0"/>
              <a:t>Click to insert name</a:t>
            </a:r>
          </a:p>
        </p:txBody>
      </p:sp>
      <p:sp>
        <p:nvSpPr>
          <p:cNvPr id="18" name="Text Placeholder 9"/>
          <p:cNvSpPr>
            <a:spLocks noGrp="1"/>
          </p:cNvSpPr>
          <p:nvPr>
            <p:ph type="body" sz="quarter" idx="16" hasCustomPrompt="1"/>
          </p:nvPr>
        </p:nvSpPr>
        <p:spPr>
          <a:xfrm>
            <a:off x="722313" y="4569158"/>
            <a:ext cx="8104187" cy="298450"/>
          </a:xfrm>
        </p:spPr>
        <p:txBody>
          <a:bodyPr/>
          <a:lstStyle>
            <a:lvl1pPr>
              <a:defRPr b="0" baseline="0">
                <a:solidFill>
                  <a:schemeClr val="bg1"/>
                </a:solidFill>
              </a:defRPr>
            </a:lvl1pPr>
          </a:lstStyle>
          <a:p>
            <a:pPr lvl="0"/>
            <a:r>
              <a:rPr lang="en-US" dirty="0"/>
              <a:t>Click to insert name</a:t>
            </a:r>
          </a:p>
        </p:txBody>
      </p:sp>
    </p:spTree>
    <p:extLst>
      <p:ext uri="{BB962C8B-B14F-4D97-AF65-F5344CB8AC3E}">
        <p14:creationId xmlns:p14="http://schemas.microsoft.com/office/powerpoint/2010/main" val="3165029160"/>
      </p:ext>
    </p:extLst>
  </p:cSld>
  <p:clrMapOvr>
    <a:masterClrMapping/>
  </p:clrMapOvr>
  <p:hf sldNum="0"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le slide, green">
    <p:spTree>
      <p:nvGrpSpPr>
        <p:cNvPr id="1" name=""/>
        <p:cNvGrpSpPr/>
        <p:nvPr/>
      </p:nvGrpSpPr>
      <p:grpSpPr>
        <a:xfrm>
          <a:off x="0" y="0"/>
          <a:ext cx="0" cy="0"/>
          <a:chOff x="0" y="0"/>
          <a:chExt cx="0" cy="0"/>
        </a:xfrm>
      </p:grpSpPr>
      <p:sp>
        <p:nvSpPr>
          <p:cNvPr id="8" name="Rectangle 7"/>
          <p:cNvSpPr/>
          <p:nvPr/>
        </p:nvSpPr>
        <p:spPr>
          <a:xfrm>
            <a:off x="0" y="0"/>
            <a:ext cx="12193200" cy="6858000"/>
          </a:xfrm>
          <a:prstGeom prst="rect">
            <a:avLst/>
          </a:prstGeom>
          <a:solidFill>
            <a:srgbClr val="C5DA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Date Placeholder 3"/>
          <p:cNvSpPr>
            <a:spLocks noGrp="1"/>
          </p:cNvSpPr>
          <p:nvPr>
            <p:ph type="dt" sz="half" idx="10"/>
          </p:nvPr>
        </p:nvSpPr>
        <p:spPr/>
        <p:txBody>
          <a:bodyPr/>
          <a:lstStyle>
            <a:lvl1pPr>
              <a:defRPr sz="100">
                <a:solidFill>
                  <a:schemeClr val="bg1"/>
                </a:solidFill>
              </a:defRPr>
            </a:lvl1pPr>
          </a:lstStyle>
          <a:p>
            <a:endParaRPr lang="en-US" dirty="0"/>
          </a:p>
        </p:txBody>
      </p:sp>
      <p:sp>
        <p:nvSpPr>
          <p:cNvPr id="5" name="Footer Placeholder 4"/>
          <p:cNvSpPr>
            <a:spLocks noGrp="1"/>
          </p:cNvSpPr>
          <p:nvPr>
            <p:ph type="ftr" sz="quarter" idx="11"/>
          </p:nvPr>
        </p:nvSpPr>
        <p:spPr>
          <a:xfrm>
            <a:off x="1008723" y="6611581"/>
            <a:ext cx="6873007" cy="244475"/>
          </a:xfrm>
        </p:spPr>
        <p:txBody>
          <a:bodyPr/>
          <a:lstStyle>
            <a:lvl1pPr>
              <a:defRPr sz="100">
                <a:solidFill>
                  <a:schemeClr val="bg1"/>
                </a:solidFill>
              </a:defRPr>
            </a:lvl1pPr>
          </a:lstStyle>
          <a:p>
            <a:endParaRPr lang="en-US" dirty="0"/>
          </a:p>
        </p:txBody>
      </p:sp>
      <p:sp>
        <p:nvSpPr>
          <p:cNvPr id="6" name="Slide Number Placeholder 5"/>
          <p:cNvSpPr>
            <a:spLocks noGrp="1"/>
          </p:cNvSpPr>
          <p:nvPr>
            <p:ph type="sldNum" sz="quarter" idx="12"/>
          </p:nvPr>
        </p:nvSpPr>
        <p:spPr>
          <a:xfrm>
            <a:off x="487363" y="6611581"/>
            <a:ext cx="516119" cy="244475"/>
          </a:xfrm>
        </p:spPr>
        <p:txBody>
          <a:bodyPr/>
          <a:lstStyle>
            <a:lvl1pPr>
              <a:defRPr sz="100">
                <a:solidFill>
                  <a:schemeClr val="bg1"/>
                </a:solidFill>
              </a:defRPr>
            </a:lvl1pPr>
          </a:lstStyle>
          <a:p>
            <a:fld id="{45D37B1E-C366-494F-A587-962AD9AABC83}" type="slidenum">
              <a:rPr lang="en-US" smtClean="0"/>
              <a:pPr/>
              <a:t>‹#›</a:t>
            </a:fld>
            <a:endParaRPr lang="en-US" dirty="0"/>
          </a:p>
        </p:txBody>
      </p:sp>
      <p:grpSp>
        <p:nvGrpSpPr>
          <p:cNvPr id="2" name="Group 1"/>
          <p:cNvGrpSpPr/>
          <p:nvPr userDrawn="1"/>
        </p:nvGrpSpPr>
        <p:grpSpPr>
          <a:xfrm>
            <a:off x="504000" y="6238800"/>
            <a:ext cx="11196320" cy="434959"/>
            <a:chOff x="504000" y="6238800"/>
            <a:chExt cx="11196320" cy="434959"/>
          </a:xfrm>
        </p:grpSpPr>
        <p:pic>
          <p:nvPicPr>
            <p:cNvPr id="15" name="Picture 14"/>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a:xfrm>
              <a:off x="10224000" y="6238800"/>
              <a:ext cx="1476320" cy="434959"/>
            </a:xfrm>
            <a:prstGeom prst="rect">
              <a:avLst/>
            </a:prstGeom>
          </p:spPr>
        </p:pic>
        <p:pic>
          <p:nvPicPr>
            <p:cNvPr id="16" name="Picture 15"/>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504000" y="6508800"/>
              <a:ext cx="1171532" cy="104770"/>
            </a:xfrm>
            <a:prstGeom prst="rect">
              <a:avLst/>
            </a:prstGeom>
          </p:spPr>
        </p:pic>
      </p:grpSp>
      <p:sp>
        <p:nvSpPr>
          <p:cNvPr id="14" name="Title 6"/>
          <p:cNvSpPr>
            <a:spLocks noGrp="1"/>
          </p:cNvSpPr>
          <p:nvPr>
            <p:ph type="title" hasCustomPrompt="1"/>
          </p:nvPr>
        </p:nvSpPr>
        <p:spPr>
          <a:xfrm>
            <a:off x="722312" y="1763713"/>
            <a:ext cx="8104187" cy="2321343"/>
          </a:xfrm>
        </p:spPr>
        <p:txBody>
          <a:bodyPr/>
          <a:lstStyle>
            <a:lvl1pPr>
              <a:defRPr sz="5400">
                <a:solidFill>
                  <a:schemeClr val="bg1"/>
                </a:solidFill>
              </a:defRPr>
            </a:lvl1pPr>
          </a:lstStyle>
          <a:p>
            <a:r>
              <a:rPr lang="en-US" dirty="0"/>
              <a:t>Click to add title</a:t>
            </a:r>
          </a:p>
        </p:txBody>
      </p:sp>
      <p:sp>
        <p:nvSpPr>
          <p:cNvPr id="17" name="Text Placeholder 9"/>
          <p:cNvSpPr>
            <a:spLocks noGrp="1"/>
          </p:cNvSpPr>
          <p:nvPr>
            <p:ph type="body" sz="quarter" idx="15" hasCustomPrompt="1"/>
          </p:nvPr>
        </p:nvSpPr>
        <p:spPr>
          <a:xfrm>
            <a:off x="722313" y="4271446"/>
            <a:ext cx="8104187" cy="298450"/>
          </a:xfrm>
        </p:spPr>
        <p:txBody>
          <a:bodyPr/>
          <a:lstStyle>
            <a:lvl1pPr>
              <a:defRPr b="1" baseline="0">
                <a:solidFill>
                  <a:schemeClr val="bg1"/>
                </a:solidFill>
              </a:defRPr>
            </a:lvl1pPr>
          </a:lstStyle>
          <a:p>
            <a:pPr lvl="0"/>
            <a:r>
              <a:rPr lang="en-US" dirty="0"/>
              <a:t>Click to insert name</a:t>
            </a:r>
          </a:p>
        </p:txBody>
      </p:sp>
      <p:sp>
        <p:nvSpPr>
          <p:cNvPr id="18" name="Text Placeholder 9"/>
          <p:cNvSpPr>
            <a:spLocks noGrp="1"/>
          </p:cNvSpPr>
          <p:nvPr>
            <p:ph type="body" sz="quarter" idx="16" hasCustomPrompt="1"/>
          </p:nvPr>
        </p:nvSpPr>
        <p:spPr>
          <a:xfrm>
            <a:off x="722313" y="4569158"/>
            <a:ext cx="8104187" cy="298450"/>
          </a:xfrm>
        </p:spPr>
        <p:txBody>
          <a:bodyPr/>
          <a:lstStyle>
            <a:lvl1pPr>
              <a:defRPr b="0" baseline="0">
                <a:solidFill>
                  <a:schemeClr val="bg1"/>
                </a:solidFill>
              </a:defRPr>
            </a:lvl1pPr>
          </a:lstStyle>
          <a:p>
            <a:pPr lvl="0"/>
            <a:r>
              <a:rPr lang="en-US" dirty="0"/>
              <a:t>Click to insert name</a:t>
            </a:r>
          </a:p>
        </p:txBody>
      </p:sp>
    </p:spTree>
    <p:extLst>
      <p:ext uri="{BB962C8B-B14F-4D97-AF65-F5344CB8AC3E}">
        <p14:creationId xmlns:p14="http://schemas.microsoft.com/office/powerpoint/2010/main" val="1414259125"/>
      </p:ext>
    </p:extLst>
  </p:cSld>
  <p:clrMapOvr>
    <a:masterClrMapping/>
  </p:clrMapOvr>
  <p:hf sldNum="0"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sp>
        <p:nvSpPr>
          <p:cNvPr id="7" name="Rectangle 6"/>
          <p:cNvSpPr/>
          <p:nvPr/>
        </p:nvSpPr>
        <p:spPr>
          <a:xfrm>
            <a:off x="0" y="0"/>
            <a:ext cx="12193200" cy="6858000"/>
          </a:xfrm>
          <a:prstGeom prst="rect">
            <a:avLst/>
          </a:prstGeom>
          <a:solidFill>
            <a:srgbClr val="DBDD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4" name="Picture 13"/>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a:xfrm>
            <a:off x="7868584" y="0"/>
            <a:ext cx="4321016" cy="4149572"/>
          </a:xfrm>
          <a:prstGeom prst="rect">
            <a:avLst/>
          </a:prstGeom>
        </p:spPr>
      </p:pic>
      <p:sp>
        <p:nvSpPr>
          <p:cNvPr id="2" name="Title 1"/>
          <p:cNvSpPr>
            <a:spLocks noGrp="1"/>
          </p:cNvSpPr>
          <p:nvPr>
            <p:ph type="title" hasCustomPrompt="1"/>
          </p:nvPr>
        </p:nvSpPr>
        <p:spPr>
          <a:xfrm>
            <a:off x="465712" y="604838"/>
            <a:ext cx="8360788" cy="863235"/>
          </a:xfrm>
        </p:spPr>
        <p:txBody>
          <a:bodyPr/>
          <a:lstStyle/>
          <a:p>
            <a:r>
              <a:rPr lang="en-US" dirty="0"/>
              <a:t>Click to add title</a:t>
            </a:r>
          </a:p>
        </p:txBody>
      </p:sp>
      <p:sp>
        <p:nvSpPr>
          <p:cNvPr id="3" name="Date Placeholder 2"/>
          <p:cNvSpPr>
            <a:spLocks noGrp="1"/>
          </p:cNvSpPr>
          <p:nvPr>
            <p:ph type="dt" sz="half" idx="10"/>
          </p:nvPr>
        </p:nvSpPr>
        <p:spPr/>
        <p:txBody>
          <a:bodyPr/>
          <a:lstStyle/>
          <a:p>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45D37B1E-C366-494F-A587-962AD9AABC83}" type="slidenum">
              <a:rPr lang="en-US" smtClean="0"/>
              <a:pPr/>
              <a:t>‹#›</a:t>
            </a:fld>
            <a:endParaRPr lang="en-US" dirty="0"/>
          </a:p>
        </p:txBody>
      </p:sp>
      <p:sp>
        <p:nvSpPr>
          <p:cNvPr id="9" name="Text Placeholder 8"/>
          <p:cNvSpPr>
            <a:spLocks noGrp="1"/>
          </p:cNvSpPr>
          <p:nvPr>
            <p:ph type="body" sz="quarter" idx="13" hasCustomPrompt="1"/>
          </p:nvPr>
        </p:nvSpPr>
        <p:spPr>
          <a:xfrm>
            <a:off x="487363" y="1763713"/>
            <a:ext cx="8339137" cy="4431604"/>
          </a:xfrm>
        </p:spPr>
        <p:txBody>
          <a:bodyPr/>
          <a:lstStyle>
            <a:lvl1pPr>
              <a:lnSpc>
                <a:spcPct val="83000"/>
              </a:lnSpc>
              <a:spcBef>
                <a:spcPts val="1800"/>
              </a:spcBef>
              <a:buNone/>
              <a:defRPr/>
            </a:lvl1pPr>
            <a:lvl2pPr>
              <a:lnSpc>
                <a:spcPct val="83000"/>
              </a:lnSpc>
              <a:spcAft>
                <a:spcPts val="0"/>
              </a:spcAft>
              <a:defRPr/>
            </a:lvl2pPr>
            <a:lvl3pPr>
              <a:lnSpc>
                <a:spcPct val="83000"/>
              </a:lnSpc>
              <a:spcAft>
                <a:spcPts val="0"/>
              </a:spcAft>
              <a:defRPr/>
            </a:lvl3pPr>
            <a:lvl4pPr>
              <a:lnSpc>
                <a:spcPct val="83000"/>
              </a:lnSpc>
              <a:spcAft>
                <a:spcPts val="0"/>
              </a:spcAft>
              <a:defRPr/>
            </a:lvl4pPr>
            <a:lvl5pPr>
              <a:lnSpc>
                <a:spcPct val="83000"/>
              </a:lnSpc>
              <a:spcAft>
                <a:spcPts val="0"/>
              </a:spcAft>
              <a:defRPr/>
            </a:lvl5pPr>
            <a:lvl6pPr>
              <a:lnSpc>
                <a:spcPct val="83000"/>
              </a:lnSpc>
              <a:spcAft>
                <a:spcPts val="0"/>
              </a:spcAft>
              <a:defRPr/>
            </a:lvl6pPr>
            <a:lvl7pPr>
              <a:lnSpc>
                <a:spcPct val="83000"/>
              </a:lnSpc>
              <a:spcAft>
                <a:spcPts val="0"/>
              </a:spcAft>
              <a:defRPr/>
            </a:lvl7pPr>
            <a:lvl8pPr>
              <a:lnSpc>
                <a:spcPct val="83000"/>
              </a:lnSpc>
              <a:spcAft>
                <a:spcPts val="0"/>
              </a:spcAft>
              <a:defRPr/>
            </a:lvl8pPr>
            <a:lvl9pPr>
              <a:lnSpc>
                <a:spcPct val="83000"/>
              </a:lnSpc>
              <a:spcAft>
                <a:spcPts val="0"/>
              </a:spcAft>
              <a:defRPr/>
            </a:lvl9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1" name="Picture 10"/>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10224000" y="6238800"/>
            <a:ext cx="1476320" cy="434959"/>
          </a:xfrm>
          <a:prstGeom prst="rect">
            <a:avLst/>
          </a:prstGeom>
        </p:spPr>
      </p:pic>
    </p:spTree>
    <p:extLst>
      <p:ext uri="{BB962C8B-B14F-4D97-AF65-F5344CB8AC3E}">
        <p14:creationId xmlns:p14="http://schemas.microsoft.com/office/powerpoint/2010/main" val="2941443904"/>
      </p:ext>
    </p:extLst>
  </p:cSld>
  <p:clrMapOvr>
    <a:masterClrMapping/>
  </p:clrMapOvr>
  <p:hf sldNum="0"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Chapter, green A">
    <p:spTree>
      <p:nvGrpSpPr>
        <p:cNvPr id="1" name=""/>
        <p:cNvGrpSpPr/>
        <p:nvPr/>
      </p:nvGrpSpPr>
      <p:grpSpPr>
        <a:xfrm>
          <a:off x="0" y="0"/>
          <a:ext cx="0" cy="0"/>
          <a:chOff x="0" y="0"/>
          <a:chExt cx="0" cy="0"/>
        </a:xfrm>
      </p:grpSpPr>
      <p:sp>
        <p:nvSpPr>
          <p:cNvPr id="7" name="Rectangle 6"/>
          <p:cNvSpPr/>
          <p:nvPr/>
        </p:nvSpPr>
        <p:spPr>
          <a:xfrm>
            <a:off x="0" y="0"/>
            <a:ext cx="12193200" cy="6858000"/>
          </a:xfrm>
          <a:prstGeom prst="rect">
            <a:avLst/>
          </a:prstGeom>
          <a:solidFill>
            <a:srgbClr val="C5DA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4" name="Picture 13"/>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a:xfrm>
            <a:off x="7868584" y="0"/>
            <a:ext cx="4321016" cy="4149572"/>
          </a:xfrm>
          <a:prstGeom prst="rect">
            <a:avLst/>
          </a:prstGeom>
        </p:spPr>
      </p:pic>
      <p:sp>
        <p:nvSpPr>
          <p:cNvPr id="2" name="Title 1"/>
          <p:cNvSpPr>
            <a:spLocks noGrp="1"/>
          </p:cNvSpPr>
          <p:nvPr>
            <p:ph type="title" hasCustomPrompt="1"/>
          </p:nvPr>
        </p:nvSpPr>
        <p:spPr>
          <a:xfrm>
            <a:off x="1181498" y="1645088"/>
            <a:ext cx="7645002" cy="2142687"/>
          </a:xfrm>
        </p:spPr>
        <p:txBody>
          <a:bodyPr/>
          <a:lstStyle>
            <a:lvl1pPr>
              <a:lnSpc>
                <a:spcPct val="88000"/>
              </a:lnSpc>
              <a:defRPr sz="3600">
                <a:solidFill>
                  <a:schemeClr val="bg1"/>
                </a:solidFill>
              </a:defRPr>
            </a:lvl1pPr>
          </a:lstStyle>
          <a:p>
            <a:r>
              <a:rPr lang="en-US" dirty="0"/>
              <a:t>Click to add title</a:t>
            </a:r>
          </a:p>
        </p:txBody>
      </p:sp>
      <p:sp>
        <p:nvSpPr>
          <p:cNvPr id="3" name="Date Placeholder 2"/>
          <p:cNvSpPr>
            <a:spLocks noGrp="1"/>
          </p:cNvSpPr>
          <p:nvPr>
            <p:ph type="dt" sz="half" idx="10"/>
          </p:nvPr>
        </p:nvSpPr>
        <p:spPr>
          <a:xfrm>
            <a:off x="487364" y="225427"/>
            <a:ext cx="7381220" cy="365125"/>
          </a:xfrm>
        </p:spPr>
        <p:txBody>
          <a:bodyPr/>
          <a:lstStyle>
            <a:lvl1pPr>
              <a:defRPr>
                <a:solidFill>
                  <a:srgbClr val="C5DA00"/>
                </a:solidFill>
              </a:defRPr>
            </a:lvl1pPr>
          </a:lstStyle>
          <a:p>
            <a:endParaRPr lang="en-US" dirty="0"/>
          </a:p>
        </p:txBody>
      </p:sp>
      <p:sp>
        <p:nvSpPr>
          <p:cNvPr id="4" name="Footer Placeholder 3"/>
          <p:cNvSpPr>
            <a:spLocks noGrp="1"/>
          </p:cNvSpPr>
          <p:nvPr>
            <p:ph type="ftr" sz="quarter" idx="11"/>
          </p:nvPr>
        </p:nvSpPr>
        <p:spPr/>
        <p:txBody>
          <a:bodyPr/>
          <a:lstStyle>
            <a:lvl1pPr>
              <a:defRPr>
                <a:solidFill>
                  <a:srgbClr val="C5DA00"/>
                </a:solidFill>
              </a:defRPr>
            </a:lvl1pPr>
          </a:lstStyle>
          <a:p>
            <a:endParaRPr lang="en-US" dirty="0"/>
          </a:p>
        </p:txBody>
      </p:sp>
      <p:sp>
        <p:nvSpPr>
          <p:cNvPr id="5" name="Slide Number Placeholder 4"/>
          <p:cNvSpPr>
            <a:spLocks noGrp="1"/>
          </p:cNvSpPr>
          <p:nvPr>
            <p:ph type="sldNum" sz="quarter" idx="12"/>
          </p:nvPr>
        </p:nvSpPr>
        <p:spPr/>
        <p:txBody>
          <a:bodyPr/>
          <a:lstStyle>
            <a:lvl1pPr>
              <a:defRPr>
                <a:solidFill>
                  <a:srgbClr val="C5DA00"/>
                </a:solidFill>
              </a:defRPr>
            </a:lvl1pPr>
          </a:lstStyle>
          <a:p>
            <a:fld id="{45D37B1E-C366-494F-A587-962AD9AABC83}" type="slidenum">
              <a:rPr lang="en-US" smtClean="0"/>
              <a:pPr/>
              <a:t>‹#›</a:t>
            </a:fld>
            <a:endParaRPr lang="en-US" dirty="0"/>
          </a:p>
        </p:txBody>
      </p:sp>
      <p:pic>
        <p:nvPicPr>
          <p:cNvPr id="10" name="Picture 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224000" y="6238800"/>
            <a:ext cx="1476321" cy="434959"/>
          </a:xfrm>
          <a:prstGeom prst="rect">
            <a:avLst/>
          </a:prstGeom>
        </p:spPr>
      </p:pic>
    </p:spTree>
    <p:extLst>
      <p:ext uri="{BB962C8B-B14F-4D97-AF65-F5344CB8AC3E}">
        <p14:creationId xmlns:p14="http://schemas.microsoft.com/office/powerpoint/2010/main" val="3582534699"/>
      </p:ext>
    </p:extLst>
  </p:cSld>
  <p:clrMapOvr>
    <a:masterClrMapping/>
  </p:clrMapOvr>
  <p:hf sldNum="0"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Chapter, green B">
    <p:spTree>
      <p:nvGrpSpPr>
        <p:cNvPr id="1" name=""/>
        <p:cNvGrpSpPr/>
        <p:nvPr/>
      </p:nvGrpSpPr>
      <p:grpSpPr>
        <a:xfrm>
          <a:off x="0" y="0"/>
          <a:ext cx="0" cy="0"/>
          <a:chOff x="0" y="0"/>
          <a:chExt cx="0" cy="0"/>
        </a:xfrm>
      </p:grpSpPr>
      <p:sp>
        <p:nvSpPr>
          <p:cNvPr id="7" name="Rectangle 6"/>
          <p:cNvSpPr/>
          <p:nvPr/>
        </p:nvSpPr>
        <p:spPr>
          <a:xfrm>
            <a:off x="0" y="0"/>
            <a:ext cx="12193200" cy="6858000"/>
          </a:xfrm>
          <a:prstGeom prst="rect">
            <a:avLst/>
          </a:prstGeom>
          <a:solidFill>
            <a:srgbClr val="C5DA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accent2"/>
              </a:solidFill>
            </a:endParaRPr>
          </a:p>
        </p:txBody>
      </p:sp>
      <p:pic>
        <p:nvPicPr>
          <p:cNvPr id="14" name="Picture 13"/>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a:xfrm>
            <a:off x="7868584" y="0"/>
            <a:ext cx="4321016" cy="4149572"/>
          </a:xfrm>
          <a:prstGeom prst="rect">
            <a:avLst/>
          </a:prstGeom>
        </p:spPr>
      </p:pic>
      <p:sp>
        <p:nvSpPr>
          <p:cNvPr id="2" name="Title 1"/>
          <p:cNvSpPr>
            <a:spLocks noGrp="1"/>
          </p:cNvSpPr>
          <p:nvPr>
            <p:ph type="title" hasCustomPrompt="1"/>
          </p:nvPr>
        </p:nvSpPr>
        <p:spPr>
          <a:xfrm>
            <a:off x="1181498" y="1645088"/>
            <a:ext cx="7645002" cy="2142687"/>
          </a:xfrm>
        </p:spPr>
        <p:txBody>
          <a:bodyPr/>
          <a:lstStyle>
            <a:lvl1pPr>
              <a:lnSpc>
                <a:spcPct val="88000"/>
              </a:lnSpc>
              <a:defRPr sz="3600">
                <a:solidFill>
                  <a:schemeClr val="accent2"/>
                </a:solidFill>
              </a:defRPr>
            </a:lvl1pPr>
          </a:lstStyle>
          <a:p>
            <a:r>
              <a:rPr lang="en-US" dirty="0"/>
              <a:t>Click to add title</a:t>
            </a:r>
          </a:p>
        </p:txBody>
      </p:sp>
      <p:sp>
        <p:nvSpPr>
          <p:cNvPr id="3" name="Date Placeholder 2"/>
          <p:cNvSpPr>
            <a:spLocks noGrp="1"/>
          </p:cNvSpPr>
          <p:nvPr>
            <p:ph type="dt" sz="half" idx="10"/>
          </p:nvPr>
        </p:nvSpPr>
        <p:spPr>
          <a:xfrm>
            <a:off x="487364" y="225427"/>
            <a:ext cx="7381220" cy="365125"/>
          </a:xfrm>
        </p:spPr>
        <p:txBody>
          <a:bodyPr/>
          <a:lstStyle>
            <a:lvl1pPr>
              <a:defRPr>
                <a:solidFill>
                  <a:schemeClr val="accent2"/>
                </a:solidFill>
              </a:defRPr>
            </a:lvl1pPr>
          </a:lstStyle>
          <a:p>
            <a:endParaRPr lang="en-US" dirty="0"/>
          </a:p>
        </p:txBody>
      </p:sp>
      <p:sp>
        <p:nvSpPr>
          <p:cNvPr id="4" name="Footer Placeholder 3"/>
          <p:cNvSpPr>
            <a:spLocks noGrp="1"/>
          </p:cNvSpPr>
          <p:nvPr>
            <p:ph type="ftr" sz="quarter" idx="11"/>
          </p:nvPr>
        </p:nvSpPr>
        <p:spPr/>
        <p:txBody>
          <a:bodyPr/>
          <a:lstStyle>
            <a:lvl1pPr>
              <a:defRPr>
                <a:solidFill>
                  <a:schemeClr val="accent2"/>
                </a:solidFill>
              </a:defRPr>
            </a:lvl1pPr>
          </a:lstStyle>
          <a:p>
            <a:endParaRPr lang="en-US" dirty="0"/>
          </a:p>
        </p:txBody>
      </p:sp>
      <p:sp>
        <p:nvSpPr>
          <p:cNvPr id="5" name="Slide Number Placeholder 4"/>
          <p:cNvSpPr>
            <a:spLocks noGrp="1"/>
          </p:cNvSpPr>
          <p:nvPr>
            <p:ph type="sldNum" sz="quarter" idx="12"/>
          </p:nvPr>
        </p:nvSpPr>
        <p:spPr/>
        <p:txBody>
          <a:bodyPr/>
          <a:lstStyle>
            <a:lvl1pPr>
              <a:defRPr>
                <a:solidFill>
                  <a:schemeClr val="accent2"/>
                </a:solidFill>
              </a:defRPr>
            </a:lvl1pPr>
          </a:lstStyle>
          <a:p>
            <a:fld id="{45D37B1E-C366-494F-A587-962AD9AABC83}" type="slidenum">
              <a:rPr lang="en-US" smtClean="0"/>
              <a:pPr/>
              <a:t>‹#›</a:t>
            </a:fld>
            <a:endParaRPr lang="en-US" dirty="0"/>
          </a:p>
        </p:txBody>
      </p:sp>
      <p:pic>
        <p:nvPicPr>
          <p:cNvPr id="10" name="Picture 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224000" y="6238800"/>
            <a:ext cx="1476321" cy="434959"/>
          </a:xfrm>
          <a:prstGeom prst="rect">
            <a:avLst/>
          </a:prstGeom>
        </p:spPr>
      </p:pic>
    </p:spTree>
    <p:extLst>
      <p:ext uri="{BB962C8B-B14F-4D97-AF65-F5344CB8AC3E}">
        <p14:creationId xmlns:p14="http://schemas.microsoft.com/office/powerpoint/2010/main" val="2351120379"/>
      </p:ext>
    </p:extLst>
  </p:cSld>
  <p:clrMapOvr>
    <a:masterClrMapping/>
  </p:clrMapOvr>
  <p:hf sldNum="0" hdr="0" ftr="0" dt="0"/>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vmlDrawing" Target="../drawings/vmlDrawing1.v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image" Target="../media/image2.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image" Target="../media/image1.emf"/><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46"/>
            </p:custDataLst>
            <p:extLst>
              <p:ext uri="{D42A27DB-BD31-4B8C-83A1-F6EECF244321}">
                <p14:modId xmlns:p14="http://schemas.microsoft.com/office/powerpoint/2010/main" val="224897378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6" name="think-cell Slide" r:id="rId47" imgW="353" imgH="353" progId="TCLayout.ActiveDocument.1">
                  <p:embed/>
                </p:oleObj>
              </mc:Choice>
              <mc:Fallback>
                <p:oleObj name="think-cell Slide" r:id="rId47" imgW="353" imgH="353" progId="TCLayout.ActiveDocument.1">
                  <p:embed/>
                  <p:pic>
                    <p:nvPicPr>
                      <p:cNvPr id="7" name="Object 6" hidden="1"/>
                      <p:cNvPicPr/>
                      <p:nvPr/>
                    </p:nvPicPr>
                    <p:blipFill>
                      <a:blip r:embed="rId48"/>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465712" y="604838"/>
            <a:ext cx="8360788" cy="863235"/>
          </a:xfrm>
          <a:prstGeom prst="rect">
            <a:avLst/>
          </a:prstGeom>
        </p:spPr>
        <p:txBody>
          <a:bodyPr vert="horz" lIns="0" tIns="0" rIns="0" bIns="0" rtlCol="0" anchor="t" anchorCtr="0">
            <a:noAutofit/>
          </a:bodyPr>
          <a:lstStyle/>
          <a:p>
            <a:r>
              <a:rPr lang="en-US"/>
              <a:t>Click to edit Master title style</a:t>
            </a:r>
            <a:endParaRPr lang="en-US" dirty="0"/>
          </a:p>
        </p:txBody>
      </p:sp>
      <p:sp>
        <p:nvSpPr>
          <p:cNvPr id="3" name="Text Placeholder 2"/>
          <p:cNvSpPr>
            <a:spLocks noGrp="1"/>
          </p:cNvSpPr>
          <p:nvPr>
            <p:ph type="body" idx="1"/>
          </p:nvPr>
        </p:nvSpPr>
        <p:spPr>
          <a:xfrm>
            <a:off x="487361" y="1763713"/>
            <a:ext cx="11217600" cy="4227512"/>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9116238" y="225427"/>
            <a:ext cx="2584141" cy="365125"/>
          </a:xfrm>
          <a:prstGeom prst="rect">
            <a:avLst/>
          </a:prstGeom>
        </p:spPr>
        <p:txBody>
          <a:bodyPr vert="horz" lIns="0" tIns="0" rIns="0" bIns="0" rtlCol="0" anchor="t" anchorCtr="0">
            <a:noAutofit/>
          </a:bodyPr>
          <a:lstStyle>
            <a:lvl1pPr algn="r">
              <a:defRPr sz="800">
                <a:solidFill>
                  <a:schemeClr val="accent2"/>
                </a:solidFill>
              </a:defRPr>
            </a:lvl1pPr>
          </a:lstStyle>
          <a:p>
            <a:endParaRPr lang="en-US" dirty="0"/>
          </a:p>
        </p:txBody>
      </p:sp>
      <p:sp>
        <p:nvSpPr>
          <p:cNvPr id="5" name="Footer Placeholder 4"/>
          <p:cNvSpPr>
            <a:spLocks noGrp="1"/>
          </p:cNvSpPr>
          <p:nvPr>
            <p:ph type="ftr" sz="quarter" idx="3"/>
          </p:nvPr>
        </p:nvSpPr>
        <p:spPr>
          <a:xfrm>
            <a:off x="1008724" y="6508841"/>
            <a:ext cx="6857340" cy="244475"/>
          </a:xfrm>
          <a:prstGeom prst="rect">
            <a:avLst/>
          </a:prstGeom>
        </p:spPr>
        <p:txBody>
          <a:bodyPr vert="horz" lIns="0" tIns="0" rIns="0" bIns="0" rtlCol="0" anchor="t" anchorCtr="0">
            <a:noAutofit/>
          </a:bodyPr>
          <a:lstStyle>
            <a:lvl1pPr algn="l">
              <a:defRPr sz="800">
                <a:solidFill>
                  <a:schemeClr val="accent2"/>
                </a:solidFill>
              </a:defRPr>
            </a:lvl1pPr>
          </a:lstStyle>
          <a:p>
            <a:endParaRPr lang="en-US" dirty="0"/>
          </a:p>
        </p:txBody>
      </p:sp>
      <p:sp>
        <p:nvSpPr>
          <p:cNvPr id="6" name="Slide Number Placeholder 5"/>
          <p:cNvSpPr>
            <a:spLocks noGrp="1"/>
          </p:cNvSpPr>
          <p:nvPr>
            <p:ph type="sldNum" sz="quarter" idx="4"/>
          </p:nvPr>
        </p:nvSpPr>
        <p:spPr>
          <a:xfrm>
            <a:off x="487363" y="6508841"/>
            <a:ext cx="516119" cy="244475"/>
          </a:xfrm>
          <a:prstGeom prst="rect">
            <a:avLst/>
          </a:prstGeom>
        </p:spPr>
        <p:txBody>
          <a:bodyPr vert="horz" lIns="0" tIns="0" rIns="0" bIns="0" rtlCol="0" anchor="t" anchorCtr="0">
            <a:noAutofit/>
          </a:bodyPr>
          <a:lstStyle>
            <a:lvl1pPr algn="l">
              <a:defRPr sz="800">
                <a:solidFill>
                  <a:schemeClr val="accent2"/>
                </a:solidFill>
              </a:defRPr>
            </a:lvl1pPr>
          </a:lstStyle>
          <a:p>
            <a:fld id="{45D37B1E-C366-494F-A587-962AD9AABC83}" type="slidenum">
              <a:rPr lang="en-US" smtClean="0"/>
              <a:pPr/>
              <a:t>‹#›</a:t>
            </a:fld>
            <a:endParaRPr lang="en-US" dirty="0"/>
          </a:p>
        </p:txBody>
      </p:sp>
      <p:pic>
        <p:nvPicPr>
          <p:cNvPr id="9" name="Picture 8"/>
          <p:cNvPicPr>
            <a:picLocks noChangeAspect="1"/>
          </p:cNvPicPr>
          <p:nvPr/>
        </p:nvPicPr>
        <p:blipFill>
          <a:blip r:embed="rId49" cstate="screen">
            <a:extLst>
              <a:ext uri="{28A0092B-C50C-407E-A947-70E740481C1C}">
                <a14:useLocalDpi xmlns:a14="http://schemas.microsoft.com/office/drawing/2010/main" val="0"/>
              </a:ext>
            </a:extLst>
          </a:blip>
          <a:stretch>
            <a:fillRect/>
          </a:stretch>
        </p:blipFill>
        <p:spPr>
          <a:xfrm>
            <a:off x="10224000" y="6238800"/>
            <a:ext cx="1476320" cy="434959"/>
          </a:xfrm>
          <a:prstGeom prst="rect">
            <a:avLst/>
          </a:prstGeom>
        </p:spPr>
      </p:pic>
    </p:spTree>
    <p:extLst>
      <p:ext uri="{BB962C8B-B14F-4D97-AF65-F5344CB8AC3E}">
        <p14:creationId xmlns:p14="http://schemas.microsoft.com/office/powerpoint/2010/main" val="2143522105"/>
      </p:ext>
    </p:extLst>
  </p:cSld>
  <p:clrMap bg1="lt1" tx1="dk1" bg2="lt2" tx2="dk2" accent1="accent1" accent2="accent2" accent3="accent3" accent4="accent4" accent5="accent5" accent6="accent6" hlink="hlink" folHlink="folHlink"/>
  <p:sldLayoutIdLst>
    <p:sldLayoutId id="2147483886" r:id="rId1"/>
    <p:sldLayoutId id="2147483839" r:id="rId2"/>
    <p:sldLayoutId id="2147483840" r:id="rId3"/>
    <p:sldLayoutId id="2147483887" r:id="rId4"/>
    <p:sldLayoutId id="2147483888" r:id="rId5"/>
    <p:sldLayoutId id="2147483889" r:id="rId6"/>
    <p:sldLayoutId id="2147483843" r:id="rId7"/>
    <p:sldLayoutId id="2147483844" r:id="rId8"/>
    <p:sldLayoutId id="2147483890" r:id="rId9"/>
    <p:sldLayoutId id="2147483845" r:id="rId10"/>
    <p:sldLayoutId id="2147483846" r:id="rId11"/>
    <p:sldLayoutId id="2147483847" r:id="rId12"/>
    <p:sldLayoutId id="2147483848" r:id="rId13"/>
    <p:sldLayoutId id="2147483849" r:id="rId14"/>
    <p:sldLayoutId id="2147483850" r:id="rId15"/>
    <p:sldLayoutId id="2147483851" r:id="rId16"/>
    <p:sldLayoutId id="2147483852" r:id="rId17"/>
    <p:sldLayoutId id="2147483853" r:id="rId18"/>
    <p:sldLayoutId id="2147483854" r:id="rId19"/>
    <p:sldLayoutId id="2147483855" r:id="rId20"/>
    <p:sldLayoutId id="2147483856" r:id="rId21"/>
    <p:sldLayoutId id="2147483857" r:id="rId22"/>
    <p:sldLayoutId id="2147483858" r:id="rId23"/>
    <p:sldLayoutId id="2147483859" r:id="rId24"/>
    <p:sldLayoutId id="2147483860" r:id="rId25"/>
    <p:sldLayoutId id="2147483861" r:id="rId26"/>
    <p:sldLayoutId id="2147483862" r:id="rId27"/>
    <p:sldLayoutId id="2147483863" r:id="rId28"/>
    <p:sldLayoutId id="2147483864" r:id="rId29"/>
    <p:sldLayoutId id="2147483865" r:id="rId30"/>
    <p:sldLayoutId id="2147483866" r:id="rId31"/>
    <p:sldLayoutId id="2147483867" r:id="rId32"/>
    <p:sldLayoutId id="2147483868" r:id="rId33"/>
    <p:sldLayoutId id="2147483869" r:id="rId34"/>
    <p:sldLayoutId id="2147483870" r:id="rId35"/>
    <p:sldLayoutId id="2147483871" r:id="rId36"/>
    <p:sldLayoutId id="2147483872" r:id="rId37"/>
    <p:sldLayoutId id="2147483873" r:id="rId38"/>
    <p:sldLayoutId id="2147483874" r:id="rId39"/>
    <p:sldLayoutId id="2147483875" r:id="rId40"/>
    <p:sldLayoutId id="2147483876" r:id="rId41"/>
    <p:sldLayoutId id="2147483885" r:id="rId42"/>
    <p:sldLayoutId id="2147483891" r:id="rId43"/>
  </p:sldLayoutIdLst>
  <p:hf sldNum="0" hdr="0" ftr="0" dt="0"/>
  <p:txStyles>
    <p:titleStyle>
      <a:lvl1pPr algn="l" defTabSz="914400" rtl="0" eaLnBrk="1" latinLnBrk="0" hangingPunct="1">
        <a:lnSpc>
          <a:spcPct val="89000"/>
        </a:lnSpc>
        <a:spcBef>
          <a:spcPct val="0"/>
        </a:spcBef>
        <a:buNone/>
        <a:defRPr sz="3000" b="1" kern="1200">
          <a:solidFill>
            <a:schemeClr val="accent2"/>
          </a:solidFill>
          <a:latin typeface="+mj-lt"/>
          <a:ea typeface="+mj-ea"/>
          <a:cs typeface="+mj-cs"/>
        </a:defRPr>
      </a:lvl1pPr>
    </p:titleStyle>
    <p:bodyStyle>
      <a:lvl1pPr marL="0" indent="0" algn="l" defTabSz="914400" rtl="0" eaLnBrk="1" latinLnBrk="0" hangingPunct="1">
        <a:lnSpc>
          <a:spcPct val="97000"/>
        </a:lnSpc>
        <a:spcBef>
          <a:spcPts val="0"/>
        </a:spcBef>
        <a:spcAft>
          <a:spcPts val="1000"/>
        </a:spcAft>
        <a:buFont typeface="Arial" panose="020B0604020202020204" pitchFamily="34" charset="0"/>
        <a:buChar char="​"/>
        <a:defRPr sz="1800" kern="1200">
          <a:solidFill>
            <a:schemeClr val="accent2"/>
          </a:solidFill>
          <a:latin typeface="+mn-lt"/>
          <a:ea typeface="+mn-ea"/>
          <a:cs typeface="+mn-cs"/>
        </a:defRPr>
      </a:lvl1pPr>
      <a:lvl2pPr marL="0" indent="0" algn="l" defTabSz="914400" rtl="0" eaLnBrk="1" latinLnBrk="0" hangingPunct="1">
        <a:lnSpc>
          <a:spcPct val="97000"/>
        </a:lnSpc>
        <a:spcBef>
          <a:spcPts val="0"/>
        </a:spcBef>
        <a:spcAft>
          <a:spcPts val="0"/>
        </a:spcAft>
        <a:buFont typeface="Arial" panose="020B0604020202020204" pitchFamily="34" charset="0"/>
        <a:buChar char="​"/>
        <a:defRPr sz="1800" b="1" kern="1200">
          <a:solidFill>
            <a:schemeClr val="accent2"/>
          </a:solidFill>
          <a:latin typeface="+mn-lt"/>
          <a:ea typeface="+mn-ea"/>
          <a:cs typeface="+mn-cs"/>
        </a:defRPr>
      </a:lvl2pPr>
      <a:lvl3pPr marL="190800" indent="-190800" algn="l" defTabSz="914400" rtl="0" eaLnBrk="1" latinLnBrk="0" hangingPunct="1">
        <a:lnSpc>
          <a:spcPct val="97000"/>
        </a:lnSpc>
        <a:spcBef>
          <a:spcPts val="0"/>
        </a:spcBef>
        <a:spcAft>
          <a:spcPts val="1000"/>
        </a:spcAft>
        <a:buFont typeface="Arial" panose="020B0604020202020204" pitchFamily="34" charset="0"/>
        <a:buChar char="•"/>
        <a:defRPr sz="1800" kern="1200">
          <a:solidFill>
            <a:schemeClr val="accent2"/>
          </a:solidFill>
          <a:latin typeface="+mn-lt"/>
          <a:ea typeface="+mn-ea"/>
          <a:cs typeface="+mn-cs"/>
        </a:defRPr>
      </a:lvl3pPr>
      <a:lvl4pPr marL="378000" indent="-176400" algn="l" defTabSz="914400" rtl="0" eaLnBrk="1" latinLnBrk="0" hangingPunct="1">
        <a:lnSpc>
          <a:spcPct val="100000"/>
        </a:lnSpc>
        <a:spcBef>
          <a:spcPts val="0"/>
        </a:spcBef>
        <a:spcAft>
          <a:spcPts val="1000"/>
        </a:spcAft>
        <a:buFont typeface="Arial" panose="020B0604020202020204" pitchFamily="34" charset="0"/>
        <a:buChar char="•"/>
        <a:defRPr sz="1600" kern="1200">
          <a:solidFill>
            <a:schemeClr val="accent2"/>
          </a:solidFill>
          <a:latin typeface="+mn-lt"/>
          <a:ea typeface="+mn-ea"/>
          <a:cs typeface="+mn-cs"/>
        </a:defRPr>
      </a:lvl4pPr>
      <a:lvl5pPr marL="561600" indent="-176400" algn="l" defTabSz="914400" rtl="0" eaLnBrk="1" latinLnBrk="0" hangingPunct="1">
        <a:lnSpc>
          <a:spcPct val="100000"/>
        </a:lnSpc>
        <a:spcBef>
          <a:spcPts val="0"/>
        </a:spcBef>
        <a:spcAft>
          <a:spcPts val="1000"/>
        </a:spcAft>
        <a:buFont typeface="Arial" panose="020B0604020202020204" pitchFamily="34" charset="0"/>
        <a:buChar char="•"/>
        <a:defRPr sz="1400" kern="1200">
          <a:solidFill>
            <a:schemeClr val="accent2"/>
          </a:solidFill>
          <a:latin typeface="+mn-lt"/>
          <a:ea typeface="+mn-ea"/>
          <a:cs typeface="+mn-cs"/>
        </a:defRPr>
      </a:lvl5pPr>
      <a:lvl6pPr marL="561600" indent="-176400" algn="l" defTabSz="914400" rtl="0" eaLnBrk="1" latinLnBrk="0" hangingPunct="1">
        <a:lnSpc>
          <a:spcPct val="100000"/>
        </a:lnSpc>
        <a:spcBef>
          <a:spcPts val="0"/>
        </a:spcBef>
        <a:spcAft>
          <a:spcPts val="1000"/>
        </a:spcAft>
        <a:buFont typeface="Arial" panose="020B0604020202020204" pitchFamily="34" charset="0"/>
        <a:buChar char="•"/>
        <a:defRPr sz="1400" kern="1200">
          <a:solidFill>
            <a:schemeClr val="tx1"/>
          </a:solidFill>
          <a:latin typeface="+mn-lt"/>
          <a:ea typeface="+mn-ea"/>
          <a:cs typeface="+mn-cs"/>
        </a:defRPr>
      </a:lvl6pPr>
      <a:lvl7pPr marL="561600" indent="-176400" algn="l" defTabSz="914400" rtl="0" eaLnBrk="1" latinLnBrk="0" hangingPunct="1">
        <a:lnSpc>
          <a:spcPct val="100000"/>
        </a:lnSpc>
        <a:spcBef>
          <a:spcPts val="0"/>
        </a:spcBef>
        <a:spcAft>
          <a:spcPts val="1000"/>
        </a:spcAft>
        <a:buFont typeface="Arial" panose="020B0604020202020204" pitchFamily="34" charset="0"/>
        <a:buChar char="•"/>
        <a:defRPr sz="1400" kern="1200">
          <a:solidFill>
            <a:schemeClr val="tx1"/>
          </a:solidFill>
          <a:latin typeface="+mn-lt"/>
          <a:ea typeface="+mn-ea"/>
          <a:cs typeface="+mn-cs"/>
        </a:defRPr>
      </a:lvl7pPr>
      <a:lvl8pPr marL="561600" indent="-176400" algn="l" defTabSz="914400" rtl="0" eaLnBrk="1" latinLnBrk="0" hangingPunct="1">
        <a:lnSpc>
          <a:spcPct val="100000"/>
        </a:lnSpc>
        <a:spcBef>
          <a:spcPts val="0"/>
        </a:spcBef>
        <a:spcAft>
          <a:spcPts val="1000"/>
        </a:spcAft>
        <a:buFont typeface="Arial" panose="020B0604020202020204" pitchFamily="34" charset="0"/>
        <a:buChar char="•"/>
        <a:defRPr sz="1400" kern="1200">
          <a:solidFill>
            <a:schemeClr val="tx1"/>
          </a:solidFill>
          <a:latin typeface="+mn-lt"/>
          <a:ea typeface="+mn-ea"/>
          <a:cs typeface="+mn-cs"/>
        </a:defRPr>
      </a:lvl8pPr>
      <a:lvl9pPr marL="561600" indent="-176400" algn="l" defTabSz="914400" rtl="0" eaLnBrk="1" latinLnBrk="0" hangingPunct="1">
        <a:lnSpc>
          <a:spcPct val="100000"/>
        </a:lnSpc>
        <a:spcBef>
          <a:spcPts val="0"/>
        </a:spcBef>
        <a:spcAft>
          <a:spcPts val="1000"/>
        </a:spcAft>
        <a:buFont typeface="Arial" panose="020B0604020202020204" pitchFamily="34" charset="0"/>
        <a:buChar char="•"/>
        <a:defRPr sz="14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slideLayout" Target="../slideLayouts/slideLayout23.xml"/><Relationship Id="rId1" Type="http://schemas.openxmlformats.org/officeDocument/2006/relationships/tags" Target="../tags/tag3.xml"/><Relationship Id="rId4" Type="http://schemas.openxmlformats.org/officeDocument/2006/relationships/image" Target="../media/image17.png"/></Relationships>
</file>

<file path=ppt/slides/_rels/slide10.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image" Target="../media/image32.png"/><Relationship Id="rId7" Type="http://schemas.openxmlformats.org/officeDocument/2006/relationships/image" Target="../media/image36.png"/><Relationship Id="rId2" Type="http://schemas.openxmlformats.org/officeDocument/2006/relationships/slideLayout" Target="../slideLayouts/slideLayout3.xml"/><Relationship Id="rId1" Type="http://schemas.openxmlformats.org/officeDocument/2006/relationships/tags" Target="../tags/tag7.xml"/><Relationship Id="rId6" Type="http://schemas.openxmlformats.org/officeDocument/2006/relationships/image" Target="../media/image35.png"/><Relationship Id="rId11" Type="http://schemas.openxmlformats.org/officeDocument/2006/relationships/image" Target="../media/image40.wmf"/><Relationship Id="rId5" Type="http://schemas.openxmlformats.org/officeDocument/2006/relationships/image" Target="../media/image34.png"/><Relationship Id="rId10" Type="http://schemas.openxmlformats.org/officeDocument/2006/relationships/image" Target="../media/image39.wmf"/><Relationship Id="rId4" Type="http://schemas.openxmlformats.org/officeDocument/2006/relationships/image" Target="../media/image33.png"/><Relationship Id="rId9" Type="http://schemas.openxmlformats.org/officeDocument/2006/relationships/image" Target="../media/image38.wmf"/></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2.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22.xml"/><Relationship Id="rId1" Type="http://schemas.openxmlformats.org/officeDocument/2006/relationships/tags" Target="../tags/tag4.xml"/></Relationships>
</file>

<file path=ppt/slides/_rels/slide3.xml.rels><?xml version="1.0" encoding="UTF-8" standalone="yes"?>
<Relationships xmlns="http://schemas.openxmlformats.org/package/2006/relationships"><Relationship Id="rId3" Type="http://schemas.openxmlformats.org/officeDocument/2006/relationships/image" Target="../media/image18.jpg"/><Relationship Id="rId2" Type="http://schemas.openxmlformats.org/officeDocument/2006/relationships/notesSlide" Target="../notesSlides/notesSlide2.xml"/><Relationship Id="rId1" Type="http://schemas.openxmlformats.org/officeDocument/2006/relationships/slideLayout" Target="../slideLayouts/slideLayout22.xml"/><Relationship Id="rId5" Type="http://schemas.openxmlformats.org/officeDocument/2006/relationships/image" Target="../media/image19.png"/><Relationship Id="rId4" Type="http://schemas.openxmlformats.org/officeDocument/2006/relationships/image" Target="../media/image2.png"/></Relationships>
</file>

<file path=ppt/slides/_rels/slide4.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notesSlide" Target="../notesSlides/notesSlide3.xml"/><Relationship Id="rId1" Type="http://schemas.openxmlformats.org/officeDocument/2006/relationships/slideLayout" Target="../slideLayouts/slideLayout22.xml"/><Relationship Id="rId6" Type="http://schemas.openxmlformats.org/officeDocument/2006/relationships/image" Target="../media/image22.png"/><Relationship Id="rId5" Type="http://schemas.openxmlformats.org/officeDocument/2006/relationships/image" Target="../media/image21.png"/><Relationship Id="rId4" Type="http://schemas.openxmlformats.org/officeDocument/2006/relationships/image" Target="../media/image7.png"/></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33.xml"/><Relationship Id="rId1" Type="http://schemas.openxmlformats.org/officeDocument/2006/relationships/tags" Target="../tags/tag5.xml"/><Relationship Id="rId4" Type="http://schemas.openxmlformats.org/officeDocument/2006/relationships/image" Target="../media/image23.emf"/></Relationships>
</file>

<file path=ppt/slides/_rels/slide6.xml.rels><?xml version="1.0" encoding="UTF-8" standalone="yes"?>
<Relationships xmlns="http://schemas.openxmlformats.org/package/2006/relationships"><Relationship Id="rId3" Type="http://schemas.openxmlformats.org/officeDocument/2006/relationships/image" Target="../media/image24.jpg"/><Relationship Id="rId2" Type="http://schemas.openxmlformats.org/officeDocument/2006/relationships/notesSlide" Target="../notesSlides/notesSlide5.xml"/><Relationship Id="rId1" Type="http://schemas.openxmlformats.org/officeDocument/2006/relationships/slideLayout" Target="../slideLayouts/slideLayout22.xml"/><Relationship Id="rId5" Type="http://schemas.openxmlformats.org/officeDocument/2006/relationships/image" Target="../media/image25.png"/><Relationship Id="rId4" Type="http://schemas.openxmlformats.org/officeDocument/2006/relationships/image" Target="../media/image2.png"/></Relationships>
</file>

<file path=ppt/slides/_rels/slide7.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3" Type="http://schemas.openxmlformats.org/officeDocument/2006/relationships/image" Target="../media/image27.png"/><Relationship Id="rId7" Type="http://schemas.openxmlformats.org/officeDocument/2006/relationships/image" Target="../media/image31.jpeg"/><Relationship Id="rId2" Type="http://schemas.openxmlformats.org/officeDocument/2006/relationships/slideLayout" Target="../slideLayouts/slideLayout43.xml"/><Relationship Id="rId1" Type="http://schemas.openxmlformats.org/officeDocument/2006/relationships/tags" Target="../tags/tag6.xml"/><Relationship Id="rId6" Type="http://schemas.openxmlformats.org/officeDocument/2006/relationships/image" Target="../media/image30.jpeg"/><Relationship Id="rId5" Type="http://schemas.openxmlformats.org/officeDocument/2006/relationships/image" Target="../media/image29.jpeg"/><Relationship Id="rId4" Type="http://schemas.openxmlformats.org/officeDocument/2006/relationships/image" Target="../media/image2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Picture Placeholder 1">
            <a:extLst>
              <a:ext uri="{FF2B5EF4-FFF2-40B4-BE49-F238E27FC236}">
                <a16:creationId xmlns:a16="http://schemas.microsoft.com/office/drawing/2014/main" id="{5DB9A32A-F448-488F-BEDC-FCE8204429B2}"/>
              </a:ext>
            </a:extLst>
          </p:cNvPr>
          <p:cNvSpPr>
            <a:spLocks noGrp="1"/>
          </p:cNvSpPr>
          <p:nvPr>
            <p:ph type="pic" sz="quarter" idx="13"/>
          </p:nvPr>
        </p:nvSpPr>
        <p:spPr>
          <a:xfrm>
            <a:off x="0" y="0"/>
            <a:ext cx="12192000" cy="6858000"/>
          </a:xfrm>
        </p:spPr>
      </p:sp>
      <p:sp>
        <p:nvSpPr>
          <p:cNvPr id="3" name="Text Placeholder 2">
            <a:extLst>
              <a:ext uri="{FF2B5EF4-FFF2-40B4-BE49-F238E27FC236}">
                <a16:creationId xmlns:a16="http://schemas.microsoft.com/office/drawing/2014/main" id="{80606AB4-36C2-4A39-8AA0-435EE3DB8F2D}"/>
              </a:ext>
            </a:extLst>
          </p:cNvPr>
          <p:cNvSpPr>
            <a:spLocks noGrp="1"/>
          </p:cNvSpPr>
          <p:nvPr>
            <p:ph type="body" sz="quarter" idx="14"/>
          </p:nvPr>
        </p:nvSpPr>
        <p:spPr/>
        <p:txBody>
          <a:bodyPr/>
          <a:lstStyle/>
          <a:p>
            <a:endParaRPr lang="en-GB" dirty="0"/>
          </a:p>
        </p:txBody>
      </p:sp>
      <p:pic>
        <p:nvPicPr>
          <p:cNvPr id="14" name="Picture 13">
            <a:extLst>
              <a:ext uri="{FF2B5EF4-FFF2-40B4-BE49-F238E27FC236}">
                <a16:creationId xmlns:a16="http://schemas.microsoft.com/office/drawing/2014/main" id="{79FA016E-4F4B-4282-B10D-96260036834E}"/>
              </a:ext>
            </a:extLst>
          </p:cNvPr>
          <p:cNvPicPr>
            <a:picLocks noChangeAspect="1"/>
          </p:cNvPicPr>
          <p:nvPr>
            <p:custDataLst>
              <p:tags r:id="rId1"/>
            </p:custDataLst>
          </p:nvPr>
        </p:nvPicPr>
        <p:blipFill rotWithShape="1">
          <a:blip r:embed="rId3" cstate="print">
            <a:extLst>
              <a:ext uri="{28A0092B-C50C-407E-A947-70E740481C1C}">
                <a14:useLocalDpi xmlns:a14="http://schemas.microsoft.com/office/drawing/2010/main" val="0"/>
              </a:ext>
            </a:extLst>
          </a:blip>
          <a:srcRect/>
          <a:stretch/>
        </p:blipFill>
        <p:spPr>
          <a:xfrm>
            <a:off x="56148" y="0"/>
            <a:ext cx="12192000" cy="6858000"/>
          </a:xfrm>
          <a:prstGeom prst="rect">
            <a:avLst/>
          </a:prstGeom>
        </p:spPr>
      </p:pic>
      <p:pic>
        <p:nvPicPr>
          <p:cNvPr id="17" name="Picture 16">
            <a:extLst>
              <a:ext uri="{FF2B5EF4-FFF2-40B4-BE49-F238E27FC236}">
                <a16:creationId xmlns:a16="http://schemas.microsoft.com/office/drawing/2014/main" id="{18E52AAF-9BF6-496B-84FD-79B23ECF5515}"/>
              </a:ext>
            </a:extLst>
          </p:cNvPr>
          <p:cNvPicPr>
            <a:picLocks noChangeAspect="1"/>
          </p:cNvPicPr>
          <p:nvPr/>
        </p:nvPicPr>
        <p:blipFill>
          <a:blip r:embed="rId4"/>
          <a:stretch>
            <a:fillRect/>
          </a:stretch>
        </p:blipFill>
        <p:spPr>
          <a:xfrm>
            <a:off x="820863" y="3110347"/>
            <a:ext cx="4096041" cy="3184601"/>
          </a:xfrm>
          <a:prstGeom prst="rect">
            <a:avLst/>
          </a:prstGeom>
        </p:spPr>
      </p:pic>
    </p:spTree>
    <p:extLst>
      <p:ext uri="{BB962C8B-B14F-4D97-AF65-F5344CB8AC3E}">
        <p14:creationId xmlns:p14="http://schemas.microsoft.com/office/powerpoint/2010/main" val="390665043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Freeform 2"/>
          <p:cNvSpPr>
            <a:spLocks/>
          </p:cNvSpPr>
          <p:nvPr/>
        </p:nvSpPr>
        <p:spPr bwMode="auto">
          <a:xfrm flipH="1">
            <a:off x="2" y="1646238"/>
            <a:ext cx="12191999" cy="5211762"/>
          </a:xfrm>
          <a:custGeom>
            <a:avLst/>
            <a:gdLst/>
            <a:ahLst/>
            <a:cxnLst>
              <a:cxn ang="0">
                <a:pos x="0" y="459"/>
              </a:cxn>
              <a:cxn ang="0">
                <a:pos x="5760" y="0"/>
              </a:cxn>
              <a:cxn ang="0">
                <a:pos x="5760" y="3443"/>
              </a:cxn>
              <a:cxn ang="0">
                <a:pos x="0" y="3443"/>
              </a:cxn>
              <a:cxn ang="0">
                <a:pos x="0" y="459"/>
              </a:cxn>
            </a:cxnLst>
            <a:rect l="0" t="0" r="r" b="b"/>
            <a:pathLst>
              <a:path w="5760" h="3443">
                <a:moveTo>
                  <a:pt x="0" y="459"/>
                </a:moveTo>
                <a:lnTo>
                  <a:pt x="5760" y="0"/>
                </a:lnTo>
                <a:lnTo>
                  <a:pt x="5760" y="3443"/>
                </a:lnTo>
                <a:lnTo>
                  <a:pt x="0" y="3443"/>
                </a:lnTo>
                <a:lnTo>
                  <a:pt x="0" y="459"/>
                </a:lnTo>
                <a:close/>
              </a:path>
            </a:pathLst>
          </a:custGeom>
          <a:solidFill>
            <a:schemeClr val="bg2"/>
          </a:solidFill>
          <a:ln w="7938" cap="rnd">
            <a:noFill/>
            <a:prstDash val="solid"/>
            <a:round/>
            <a:headEnd/>
            <a:tailEnd/>
          </a:ln>
          <a:effectLst/>
        </p:spPr>
        <p:txBody>
          <a:bodyPr/>
          <a:lstStyle/>
          <a:p>
            <a:pPr fontAlgn="base">
              <a:spcBef>
                <a:spcPct val="0"/>
              </a:spcBef>
              <a:spcAft>
                <a:spcPct val="0"/>
              </a:spcAft>
            </a:pPr>
            <a:endParaRPr lang="en-US" sz="1600">
              <a:solidFill>
                <a:srgbClr val="28082E"/>
              </a:solidFill>
            </a:endParaRPr>
          </a:p>
        </p:txBody>
      </p:sp>
      <p:sp>
        <p:nvSpPr>
          <p:cNvPr id="30723" name="Rectangle 3"/>
          <p:cNvSpPr>
            <a:spLocks noGrp="1" noChangeArrowheads="1"/>
          </p:cNvSpPr>
          <p:nvPr>
            <p:ph type="title"/>
          </p:nvPr>
        </p:nvSpPr>
        <p:spPr>
          <a:xfrm>
            <a:off x="335361" y="473424"/>
            <a:ext cx="9249833" cy="651321"/>
          </a:xfrm>
        </p:spPr>
        <p:txBody>
          <a:bodyPr/>
          <a:lstStyle/>
          <a:p>
            <a:r>
              <a:rPr lang="en-GB" dirty="0"/>
              <a:t>Enzymes- Production overview</a:t>
            </a:r>
            <a:endParaRPr lang="da-DK" dirty="0"/>
          </a:p>
        </p:txBody>
      </p:sp>
      <p:sp>
        <p:nvSpPr>
          <p:cNvPr id="30724" name="Freeform 4"/>
          <p:cNvSpPr>
            <a:spLocks noChangeAspect="1"/>
          </p:cNvSpPr>
          <p:nvPr/>
        </p:nvSpPr>
        <p:spPr bwMode="auto">
          <a:xfrm>
            <a:off x="2" y="3372940"/>
            <a:ext cx="10530417" cy="1290638"/>
          </a:xfrm>
          <a:custGeom>
            <a:avLst/>
            <a:gdLst/>
            <a:ahLst/>
            <a:cxnLst>
              <a:cxn ang="0">
                <a:pos x="0" y="2167"/>
              </a:cxn>
              <a:cxn ang="0">
                <a:pos x="1478" y="1350"/>
              </a:cxn>
              <a:cxn ang="0">
                <a:pos x="2059" y="917"/>
              </a:cxn>
              <a:cxn ang="0">
                <a:pos x="2965" y="349"/>
              </a:cxn>
              <a:cxn ang="0">
                <a:pos x="3327" y="218"/>
              </a:cxn>
              <a:cxn ang="0">
                <a:pos x="4045" y="107"/>
              </a:cxn>
              <a:cxn ang="0">
                <a:pos x="4548" y="131"/>
              </a:cxn>
              <a:cxn ang="0">
                <a:pos x="5309" y="515"/>
              </a:cxn>
              <a:cxn ang="0">
                <a:pos x="5875" y="990"/>
              </a:cxn>
              <a:cxn ang="0">
                <a:pos x="6182" y="1259"/>
              </a:cxn>
              <a:cxn ang="0">
                <a:pos x="7153" y="1845"/>
              </a:cxn>
              <a:cxn ang="0">
                <a:pos x="8479" y="1816"/>
              </a:cxn>
              <a:cxn ang="0">
                <a:pos x="9434" y="1986"/>
              </a:cxn>
              <a:cxn ang="0">
                <a:pos x="9252" y="2022"/>
              </a:cxn>
              <a:cxn ang="0">
                <a:pos x="9833" y="2167"/>
              </a:cxn>
              <a:cxn ang="0">
                <a:pos x="9530" y="1744"/>
              </a:cxn>
              <a:cxn ang="0">
                <a:pos x="9518" y="1901"/>
              </a:cxn>
              <a:cxn ang="0">
                <a:pos x="8520" y="1694"/>
              </a:cxn>
              <a:cxn ang="0">
                <a:pos x="9338" y="1211"/>
              </a:cxn>
              <a:cxn ang="0">
                <a:pos x="9729" y="973"/>
              </a:cxn>
              <a:cxn ang="0">
                <a:pos x="10276" y="794"/>
              </a:cxn>
              <a:cxn ang="0">
                <a:pos x="11165" y="809"/>
              </a:cxn>
              <a:cxn ang="0">
                <a:pos x="11858" y="1032"/>
              </a:cxn>
              <a:cxn ang="0">
                <a:pos x="12457" y="1381"/>
              </a:cxn>
              <a:cxn ang="0">
                <a:pos x="12336" y="1405"/>
              </a:cxn>
              <a:cxn ang="0">
                <a:pos x="12881" y="1623"/>
              </a:cxn>
              <a:cxn ang="0">
                <a:pos x="12639" y="1139"/>
              </a:cxn>
              <a:cxn ang="0">
                <a:pos x="12615" y="1260"/>
              </a:cxn>
              <a:cxn ang="0">
                <a:pos x="11550" y="801"/>
              </a:cxn>
              <a:cxn ang="0">
                <a:pos x="11794" y="772"/>
              </a:cxn>
              <a:cxn ang="0">
                <a:pos x="12312" y="735"/>
              </a:cxn>
              <a:cxn ang="0">
                <a:pos x="12312" y="740"/>
              </a:cxn>
              <a:cxn ang="0">
                <a:pos x="12312" y="740"/>
              </a:cxn>
              <a:cxn ang="0">
                <a:pos x="12300" y="837"/>
              </a:cxn>
              <a:cxn ang="0">
                <a:pos x="12760" y="510"/>
              </a:cxn>
              <a:cxn ang="0">
                <a:pos x="12155" y="498"/>
              </a:cxn>
              <a:cxn ang="0">
                <a:pos x="12276" y="559"/>
              </a:cxn>
              <a:cxn ang="0">
                <a:pos x="10189" y="722"/>
              </a:cxn>
              <a:cxn ang="0">
                <a:pos x="9381" y="976"/>
              </a:cxn>
              <a:cxn ang="0">
                <a:pos x="9035" y="1178"/>
              </a:cxn>
              <a:cxn ang="0">
                <a:pos x="8237" y="1559"/>
              </a:cxn>
              <a:cxn ang="0">
                <a:pos x="7860" y="1665"/>
              </a:cxn>
              <a:cxn ang="0">
                <a:pos x="6676" y="1382"/>
              </a:cxn>
              <a:cxn ang="0">
                <a:pos x="6141" y="989"/>
              </a:cxn>
              <a:cxn ang="0">
                <a:pos x="5340" y="365"/>
              </a:cxn>
              <a:cxn ang="0">
                <a:pos x="4965" y="178"/>
              </a:cxn>
              <a:cxn ang="0">
                <a:pos x="4532" y="40"/>
              </a:cxn>
              <a:cxn ang="0">
                <a:pos x="4180" y="16"/>
              </a:cxn>
              <a:cxn ang="0">
                <a:pos x="3788" y="16"/>
              </a:cxn>
              <a:cxn ang="0">
                <a:pos x="3218" y="91"/>
              </a:cxn>
              <a:cxn ang="0">
                <a:pos x="2817" y="172"/>
              </a:cxn>
              <a:cxn ang="0">
                <a:pos x="2213" y="342"/>
              </a:cxn>
              <a:cxn ang="0">
                <a:pos x="1569" y="566"/>
              </a:cxn>
              <a:cxn ang="0">
                <a:pos x="1135" y="729"/>
              </a:cxn>
              <a:cxn ang="0">
                <a:pos x="0" y="1079"/>
              </a:cxn>
              <a:cxn ang="0">
                <a:pos x="0" y="2167"/>
              </a:cxn>
            </a:cxnLst>
            <a:rect l="0" t="0" r="r" b="b"/>
            <a:pathLst>
              <a:path w="12881" h="2167">
                <a:moveTo>
                  <a:pt x="0" y="2167"/>
                </a:moveTo>
                <a:cubicBezTo>
                  <a:pt x="611" y="1967"/>
                  <a:pt x="1099" y="1635"/>
                  <a:pt x="1478" y="1350"/>
                </a:cubicBezTo>
                <a:cubicBezTo>
                  <a:pt x="1659" y="1214"/>
                  <a:pt x="1815" y="1089"/>
                  <a:pt x="2059" y="917"/>
                </a:cubicBezTo>
                <a:cubicBezTo>
                  <a:pt x="2330" y="725"/>
                  <a:pt x="2709" y="476"/>
                  <a:pt x="2965" y="349"/>
                </a:cubicBezTo>
                <a:cubicBezTo>
                  <a:pt x="3105" y="280"/>
                  <a:pt x="3208" y="247"/>
                  <a:pt x="3327" y="218"/>
                </a:cubicBezTo>
                <a:cubicBezTo>
                  <a:pt x="3544" y="165"/>
                  <a:pt x="3812" y="123"/>
                  <a:pt x="4045" y="107"/>
                </a:cubicBezTo>
                <a:cubicBezTo>
                  <a:pt x="4226" y="95"/>
                  <a:pt x="4385" y="100"/>
                  <a:pt x="4548" y="131"/>
                </a:cubicBezTo>
                <a:cubicBezTo>
                  <a:pt x="4759" y="172"/>
                  <a:pt x="4975" y="259"/>
                  <a:pt x="5309" y="515"/>
                </a:cubicBezTo>
                <a:cubicBezTo>
                  <a:pt x="5497" y="659"/>
                  <a:pt x="5722" y="856"/>
                  <a:pt x="5875" y="990"/>
                </a:cubicBezTo>
                <a:cubicBezTo>
                  <a:pt x="6018" y="1116"/>
                  <a:pt x="6097" y="1185"/>
                  <a:pt x="6182" y="1259"/>
                </a:cubicBezTo>
                <a:cubicBezTo>
                  <a:pt x="6444" y="1487"/>
                  <a:pt x="6764" y="1758"/>
                  <a:pt x="7153" y="1845"/>
                </a:cubicBezTo>
                <a:cubicBezTo>
                  <a:pt x="7525" y="1928"/>
                  <a:pt x="7959" y="1843"/>
                  <a:pt x="8479" y="1816"/>
                </a:cubicBezTo>
                <a:cubicBezTo>
                  <a:pt x="8801" y="1799"/>
                  <a:pt x="9156" y="1804"/>
                  <a:pt x="9434" y="1986"/>
                </a:cubicBezTo>
                <a:lnTo>
                  <a:pt x="9252" y="2022"/>
                </a:lnTo>
                <a:lnTo>
                  <a:pt x="9833" y="2167"/>
                </a:lnTo>
                <a:lnTo>
                  <a:pt x="9530" y="1744"/>
                </a:lnTo>
                <a:lnTo>
                  <a:pt x="9518" y="1901"/>
                </a:lnTo>
                <a:cubicBezTo>
                  <a:pt x="9446" y="1802"/>
                  <a:pt x="9041" y="1718"/>
                  <a:pt x="8520" y="1694"/>
                </a:cubicBezTo>
                <a:cubicBezTo>
                  <a:pt x="8829" y="1526"/>
                  <a:pt x="9090" y="1372"/>
                  <a:pt x="9338" y="1211"/>
                </a:cubicBezTo>
                <a:cubicBezTo>
                  <a:pt x="9466" y="1127"/>
                  <a:pt x="9591" y="1042"/>
                  <a:pt x="9729" y="973"/>
                </a:cubicBezTo>
                <a:cubicBezTo>
                  <a:pt x="9898" y="888"/>
                  <a:pt x="10086" y="827"/>
                  <a:pt x="10276" y="794"/>
                </a:cubicBezTo>
                <a:cubicBezTo>
                  <a:pt x="10591" y="739"/>
                  <a:pt x="10909" y="762"/>
                  <a:pt x="11165" y="809"/>
                </a:cubicBezTo>
                <a:cubicBezTo>
                  <a:pt x="11444" y="859"/>
                  <a:pt x="11650" y="939"/>
                  <a:pt x="11858" y="1032"/>
                </a:cubicBezTo>
                <a:cubicBezTo>
                  <a:pt x="12036" y="1111"/>
                  <a:pt x="12215" y="1200"/>
                  <a:pt x="12457" y="1381"/>
                </a:cubicBezTo>
                <a:lnTo>
                  <a:pt x="12336" y="1405"/>
                </a:lnTo>
                <a:lnTo>
                  <a:pt x="12881" y="1623"/>
                </a:lnTo>
                <a:lnTo>
                  <a:pt x="12639" y="1139"/>
                </a:lnTo>
                <a:lnTo>
                  <a:pt x="12615" y="1260"/>
                </a:lnTo>
                <a:cubicBezTo>
                  <a:pt x="12309" y="1070"/>
                  <a:pt x="11950" y="915"/>
                  <a:pt x="11550" y="801"/>
                </a:cubicBezTo>
                <a:cubicBezTo>
                  <a:pt x="11474" y="803"/>
                  <a:pt x="11583" y="790"/>
                  <a:pt x="11794" y="772"/>
                </a:cubicBezTo>
                <a:cubicBezTo>
                  <a:pt x="12004" y="754"/>
                  <a:pt x="12236" y="738"/>
                  <a:pt x="12312" y="735"/>
                </a:cubicBezTo>
                <a:cubicBezTo>
                  <a:pt x="12344" y="734"/>
                  <a:pt x="12344" y="736"/>
                  <a:pt x="12312" y="740"/>
                </a:cubicBezTo>
                <a:lnTo>
                  <a:pt x="12312" y="740"/>
                </a:lnTo>
                <a:lnTo>
                  <a:pt x="12300" y="837"/>
                </a:lnTo>
                <a:lnTo>
                  <a:pt x="12760" y="510"/>
                </a:lnTo>
                <a:lnTo>
                  <a:pt x="12155" y="498"/>
                </a:lnTo>
                <a:lnTo>
                  <a:pt x="12276" y="559"/>
                </a:lnTo>
                <a:cubicBezTo>
                  <a:pt x="11809" y="700"/>
                  <a:pt x="10965" y="589"/>
                  <a:pt x="10189" y="722"/>
                </a:cubicBezTo>
                <a:cubicBezTo>
                  <a:pt x="9888" y="774"/>
                  <a:pt x="9598" y="862"/>
                  <a:pt x="9381" y="976"/>
                </a:cubicBezTo>
                <a:cubicBezTo>
                  <a:pt x="9271" y="1034"/>
                  <a:pt x="9180" y="1098"/>
                  <a:pt x="9035" y="1178"/>
                </a:cubicBezTo>
                <a:cubicBezTo>
                  <a:pt x="8810" y="1303"/>
                  <a:pt x="8454" y="1467"/>
                  <a:pt x="8237" y="1559"/>
                </a:cubicBezTo>
                <a:cubicBezTo>
                  <a:pt x="8066" y="1631"/>
                  <a:pt x="7982" y="1657"/>
                  <a:pt x="7860" y="1665"/>
                </a:cubicBezTo>
                <a:cubicBezTo>
                  <a:pt x="7568" y="1683"/>
                  <a:pt x="7058" y="1591"/>
                  <a:pt x="6676" y="1382"/>
                </a:cubicBezTo>
                <a:cubicBezTo>
                  <a:pt x="6473" y="1272"/>
                  <a:pt x="6306" y="1128"/>
                  <a:pt x="6141" y="989"/>
                </a:cubicBezTo>
                <a:cubicBezTo>
                  <a:pt x="5836" y="733"/>
                  <a:pt x="5536" y="491"/>
                  <a:pt x="5340" y="365"/>
                </a:cubicBezTo>
                <a:cubicBezTo>
                  <a:pt x="5213" y="283"/>
                  <a:pt x="5130" y="251"/>
                  <a:pt x="4965" y="178"/>
                </a:cubicBezTo>
                <a:cubicBezTo>
                  <a:pt x="4858" y="131"/>
                  <a:pt x="4716" y="67"/>
                  <a:pt x="4532" y="40"/>
                </a:cubicBezTo>
                <a:cubicBezTo>
                  <a:pt x="4414" y="22"/>
                  <a:pt x="4279" y="20"/>
                  <a:pt x="4180" y="16"/>
                </a:cubicBezTo>
                <a:cubicBezTo>
                  <a:pt x="4035" y="11"/>
                  <a:pt x="3968" y="0"/>
                  <a:pt x="3788" y="16"/>
                </a:cubicBezTo>
                <a:cubicBezTo>
                  <a:pt x="3631" y="30"/>
                  <a:pt x="3388" y="64"/>
                  <a:pt x="3218" y="91"/>
                </a:cubicBezTo>
                <a:cubicBezTo>
                  <a:pt x="3071" y="114"/>
                  <a:pt x="2980" y="131"/>
                  <a:pt x="2817" y="172"/>
                </a:cubicBezTo>
                <a:cubicBezTo>
                  <a:pt x="2656" y="212"/>
                  <a:pt x="2424" y="276"/>
                  <a:pt x="2213" y="342"/>
                </a:cubicBezTo>
                <a:cubicBezTo>
                  <a:pt x="1966" y="419"/>
                  <a:pt x="1746" y="500"/>
                  <a:pt x="1569" y="566"/>
                </a:cubicBezTo>
                <a:cubicBezTo>
                  <a:pt x="1395" y="631"/>
                  <a:pt x="1262" y="682"/>
                  <a:pt x="1135" y="729"/>
                </a:cubicBezTo>
                <a:cubicBezTo>
                  <a:pt x="708" y="891"/>
                  <a:pt x="363" y="1018"/>
                  <a:pt x="0" y="1079"/>
                </a:cubicBezTo>
                <a:lnTo>
                  <a:pt x="0" y="2167"/>
                </a:lnTo>
                <a:close/>
              </a:path>
            </a:pathLst>
          </a:custGeom>
          <a:solidFill>
            <a:schemeClr val="accent2">
              <a:alpha val="70000"/>
            </a:schemeClr>
          </a:solidFill>
          <a:ln w="3175" cap="rnd">
            <a:noFill/>
            <a:prstDash val="solid"/>
            <a:round/>
            <a:headEnd/>
            <a:tailEnd/>
          </a:ln>
        </p:spPr>
        <p:txBody>
          <a:bodyPr/>
          <a:lstStyle/>
          <a:p>
            <a:pPr fontAlgn="base">
              <a:spcBef>
                <a:spcPct val="0"/>
              </a:spcBef>
              <a:spcAft>
                <a:spcPct val="0"/>
              </a:spcAft>
            </a:pPr>
            <a:endParaRPr lang="en-US" sz="1600">
              <a:solidFill>
                <a:srgbClr val="28082E"/>
              </a:solidFill>
            </a:endParaRPr>
          </a:p>
        </p:txBody>
      </p:sp>
      <p:pic>
        <p:nvPicPr>
          <p:cNvPr id="30725" name="Picture 5" descr="planter og pulver"/>
          <p:cNvPicPr preferRelativeResize="0">
            <a:picLocks noChangeAspect="1" noChangeArrowheads="1"/>
          </p:cNvPicPr>
          <p:nvPr/>
        </p:nvPicPr>
        <p:blipFill>
          <a:blip r:embed="rId3" cstate="print"/>
          <a:srcRect/>
          <a:stretch>
            <a:fillRect/>
          </a:stretch>
        </p:blipFill>
        <p:spPr bwMode="auto">
          <a:xfrm>
            <a:off x="226484" y="3690443"/>
            <a:ext cx="1625600" cy="1204913"/>
          </a:xfrm>
          <a:prstGeom prst="rect">
            <a:avLst/>
          </a:prstGeom>
          <a:noFill/>
        </p:spPr>
      </p:pic>
      <p:pic>
        <p:nvPicPr>
          <p:cNvPr id="30726" name="Picture 6" descr="tank1"/>
          <p:cNvPicPr preferRelativeResize="0">
            <a:picLocks noChangeAspect="1" noChangeArrowheads="1"/>
          </p:cNvPicPr>
          <p:nvPr/>
        </p:nvPicPr>
        <p:blipFill>
          <a:blip r:embed="rId4" cstate="print"/>
          <a:srcRect/>
          <a:stretch>
            <a:fillRect/>
          </a:stretch>
        </p:blipFill>
        <p:spPr bwMode="auto">
          <a:xfrm>
            <a:off x="3003551" y="2907803"/>
            <a:ext cx="1758949" cy="1662112"/>
          </a:xfrm>
          <a:prstGeom prst="rect">
            <a:avLst/>
          </a:prstGeom>
          <a:noFill/>
        </p:spPr>
      </p:pic>
      <p:sp>
        <p:nvSpPr>
          <p:cNvPr id="30727" name="Text Box 7"/>
          <p:cNvSpPr txBox="1">
            <a:spLocks noChangeAspect="1" noChangeArrowheads="1"/>
          </p:cNvSpPr>
          <p:nvPr/>
        </p:nvSpPr>
        <p:spPr bwMode="auto">
          <a:xfrm>
            <a:off x="296334" y="3322140"/>
            <a:ext cx="1881717" cy="228600"/>
          </a:xfrm>
          <a:prstGeom prst="rect">
            <a:avLst/>
          </a:prstGeom>
          <a:noFill/>
          <a:ln w="12700">
            <a:noFill/>
            <a:miter lim="800000"/>
            <a:headEnd/>
            <a:tailEnd/>
          </a:ln>
          <a:effectLst/>
        </p:spPr>
        <p:txBody>
          <a:bodyPr>
            <a:spAutoFit/>
          </a:bodyPr>
          <a:lstStyle/>
          <a:p>
            <a:pPr fontAlgn="base">
              <a:spcBef>
                <a:spcPct val="0"/>
              </a:spcBef>
              <a:spcAft>
                <a:spcPct val="0"/>
              </a:spcAft>
            </a:pPr>
            <a:r>
              <a:rPr lang="da-DK" sz="900">
                <a:solidFill>
                  <a:srgbClr val="28082E"/>
                </a:solidFill>
              </a:rPr>
              <a:t>RAW MATERIALS</a:t>
            </a:r>
          </a:p>
        </p:txBody>
      </p:sp>
      <p:sp>
        <p:nvSpPr>
          <p:cNvPr id="30728" name="Text Box 8"/>
          <p:cNvSpPr txBox="1">
            <a:spLocks noChangeAspect="1" noChangeArrowheads="1"/>
          </p:cNvSpPr>
          <p:nvPr/>
        </p:nvSpPr>
        <p:spPr bwMode="auto">
          <a:xfrm>
            <a:off x="2556933" y="2623640"/>
            <a:ext cx="1881717" cy="228600"/>
          </a:xfrm>
          <a:prstGeom prst="rect">
            <a:avLst/>
          </a:prstGeom>
          <a:noFill/>
          <a:ln w="12700">
            <a:noFill/>
            <a:miter lim="800000"/>
            <a:headEnd/>
            <a:tailEnd/>
          </a:ln>
          <a:effectLst/>
        </p:spPr>
        <p:txBody>
          <a:bodyPr>
            <a:spAutoFit/>
          </a:bodyPr>
          <a:lstStyle/>
          <a:p>
            <a:pPr algn="r" fontAlgn="base">
              <a:spcBef>
                <a:spcPct val="0"/>
              </a:spcBef>
              <a:spcAft>
                <a:spcPct val="0"/>
              </a:spcAft>
            </a:pPr>
            <a:r>
              <a:rPr lang="da-DK" sz="900">
                <a:solidFill>
                  <a:srgbClr val="28082E"/>
                </a:solidFill>
              </a:rPr>
              <a:t>FERMENTATION</a:t>
            </a:r>
          </a:p>
        </p:txBody>
      </p:sp>
      <p:sp>
        <p:nvSpPr>
          <p:cNvPr id="30729" name="Text Box 9"/>
          <p:cNvSpPr txBox="1">
            <a:spLocks noChangeAspect="1" noChangeArrowheads="1"/>
          </p:cNvSpPr>
          <p:nvPr/>
        </p:nvSpPr>
        <p:spPr bwMode="auto">
          <a:xfrm>
            <a:off x="1679510" y="5193632"/>
            <a:ext cx="1881716" cy="228600"/>
          </a:xfrm>
          <a:prstGeom prst="rect">
            <a:avLst/>
          </a:prstGeom>
          <a:noFill/>
          <a:ln w="12700">
            <a:noFill/>
            <a:miter lim="800000"/>
            <a:headEnd/>
            <a:tailEnd/>
          </a:ln>
          <a:effectLst/>
        </p:spPr>
        <p:txBody>
          <a:bodyPr>
            <a:spAutoFit/>
          </a:bodyPr>
          <a:lstStyle/>
          <a:p>
            <a:pPr fontAlgn="base">
              <a:spcBef>
                <a:spcPct val="0"/>
              </a:spcBef>
              <a:spcAft>
                <a:spcPct val="0"/>
              </a:spcAft>
            </a:pPr>
            <a:r>
              <a:rPr lang="da-DK" sz="900">
                <a:solidFill>
                  <a:srgbClr val="28082E"/>
                </a:solidFill>
              </a:rPr>
              <a:t>MICRO-ORGANISMS</a:t>
            </a:r>
          </a:p>
        </p:txBody>
      </p:sp>
      <p:sp>
        <p:nvSpPr>
          <p:cNvPr id="30731" name="Text Box 11"/>
          <p:cNvSpPr txBox="1">
            <a:spLocks noChangeAspect="1" noChangeArrowheads="1"/>
          </p:cNvSpPr>
          <p:nvPr/>
        </p:nvSpPr>
        <p:spPr bwMode="auto">
          <a:xfrm>
            <a:off x="5010151" y="3814265"/>
            <a:ext cx="1881716" cy="228600"/>
          </a:xfrm>
          <a:prstGeom prst="rect">
            <a:avLst/>
          </a:prstGeom>
          <a:noFill/>
          <a:ln w="12700">
            <a:noFill/>
            <a:miter lim="800000"/>
            <a:headEnd/>
            <a:tailEnd/>
          </a:ln>
          <a:effectLst/>
        </p:spPr>
        <p:txBody>
          <a:bodyPr>
            <a:spAutoFit/>
          </a:bodyPr>
          <a:lstStyle/>
          <a:p>
            <a:pPr algn="r" fontAlgn="base">
              <a:spcBef>
                <a:spcPct val="0"/>
              </a:spcBef>
              <a:spcAft>
                <a:spcPct val="0"/>
              </a:spcAft>
            </a:pPr>
            <a:r>
              <a:rPr lang="da-DK" sz="900" dirty="0">
                <a:solidFill>
                  <a:srgbClr val="28082E"/>
                </a:solidFill>
              </a:rPr>
              <a:t>PURIFICATION</a:t>
            </a:r>
          </a:p>
        </p:txBody>
      </p:sp>
      <p:pic>
        <p:nvPicPr>
          <p:cNvPr id="30732" name="Picture 12" descr="ske og kasse"/>
          <p:cNvPicPr preferRelativeResize="0">
            <a:picLocks noChangeAspect="1" noChangeArrowheads="1"/>
          </p:cNvPicPr>
          <p:nvPr/>
        </p:nvPicPr>
        <p:blipFill>
          <a:blip r:embed="rId5" cstate="print"/>
          <a:srcRect t="33094" b="28295"/>
          <a:stretch>
            <a:fillRect/>
          </a:stretch>
        </p:blipFill>
        <p:spPr bwMode="auto">
          <a:xfrm>
            <a:off x="7120467" y="3466280"/>
            <a:ext cx="1490133" cy="504056"/>
          </a:xfrm>
          <a:prstGeom prst="rect">
            <a:avLst/>
          </a:prstGeom>
          <a:noFill/>
        </p:spPr>
      </p:pic>
      <p:sp>
        <p:nvSpPr>
          <p:cNvPr id="30733" name="Text Box 13"/>
          <p:cNvSpPr txBox="1">
            <a:spLocks noChangeAspect="1" noChangeArrowheads="1"/>
          </p:cNvSpPr>
          <p:nvPr/>
        </p:nvSpPr>
        <p:spPr bwMode="auto">
          <a:xfrm>
            <a:off x="7727953" y="3099890"/>
            <a:ext cx="1627716" cy="228600"/>
          </a:xfrm>
          <a:prstGeom prst="rect">
            <a:avLst/>
          </a:prstGeom>
          <a:noFill/>
          <a:ln w="12700">
            <a:noFill/>
            <a:miter lim="800000"/>
            <a:headEnd/>
            <a:tailEnd/>
          </a:ln>
          <a:effectLst/>
        </p:spPr>
        <p:txBody>
          <a:bodyPr>
            <a:spAutoFit/>
          </a:bodyPr>
          <a:lstStyle/>
          <a:p>
            <a:pPr algn="r" fontAlgn="base">
              <a:spcBef>
                <a:spcPct val="0"/>
              </a:spcBef>
              <a:spcAft>
                <a:spcPct val="0"/>
              </a:spcAft>
            </a:pPr>
            <a:r>
              <a:rPr lang="da-DK" sz="900">
                <a:solidFill>
                  <a:srgbClr val="28082E"/>
                </a:solidFill>
              </a:rPr>
              <a:t>FORMULATION</a:t>
            </a:r>
          </a:p>
        </p:txBody>
      </p:sp>
      <p:pic>
        <p:nvPicPr>
          <p:cNvPr id="30736" name="Picture 16" descr="barrels"/>
          <p:cNvPicPr preferRelativeResize="0">
            <a:picLocks noChangeAspect="1" noChangeArrowheads="1"/>
          </p:cNvPicPr>
          <p:nvPr/>
        </p:nvPicPr>
        <p:blipFill>
          <a:blip r:embed="rId6" cstate="print"/>
          <a:srcRect/>
          <a:stretch>
            <a:fillRect/>
          </a:stretch>
        </p:blipFill>
        <p:spPr bwMode="auto">
          <a:xfrm>
            <a:off x="9673169" y="2912568"/>
            <a:ext cx="988484" cy="682625"/>
          </a:xfrm>
          <a:prstGeom prst="rect">
            <a:avLst/>
          </a:prstGeom>
          <a:noFill/>
        </p:spPr>
      </p:pic>
      <p:pic>
        <p:nvPicPr>
          <p:cNvPr id="30737" name="Picture 17" descr="barrels og kasse"/>
          <p:cNvPicPr preferRelativeResize="0">
            <a:picLocks noChangeAspect="1" noChangeArrowheads="1"/>
          </p:cNvPicPr>
          <p:nvPr/>
        </p:nvPicPr>
        <p:blipFill>
          <a:blip r:embed="rId7" cstate="print"/>
          <a:srcRect/>
          <a:stretch>
            <a:fillRect/>
          </a:stretch>
        </p:blipFill>
        <p:spPr bwMode="auto">
          <a:xfrm>
            <a:off x="10104968" y="4136528"/>
            <a:ext cx="1373717" cy="931862"/>
          </a:xfrm>
          <a:prstGeom prst="rect">
            <a:avLst/>
          </a:prstGeom>
          <a:noFill/>
        </p:spPr>
      </p:pic>
      <p:sp>
        <p:nvSpPr>
          <p:cNvPr id="30738" name="Text Box 18"/>
          <p:cNvSpPr txBox="1">
            <a:spLocks noChangeAspect="1" noChangeArrowheads="1"/>
          </p:cNvSpPr>
          <p:nvPr/>
        </p:nvSpPr>
        <p:spPr bwMode="auto">
          <a:xfrm>
            <a:off x="9666819" y="2564904"/>
            <a:ext cx="1881716" cy="230832"/>
          </a:xfrm>
          <a:prstGeom prst="rect">
            <a:avLst/>
          </a:prstGeom>
          <a:noFill/>
          <a:ln w="12700">
            <a:noFill/>
            <a:miter lim="800000"/>
            <a:headEnd/>
            <a:tailEnd/>
          </a:ln>
          <a:effectLst/>
        </p:spPr>
        <p:txBody>
          <a:bodyPr>
            <a:spAutoFit/>
          </a:bodyPr>
          <a:lstStyle/>
          <a:p>
            <a:pPr algn="r" fontAlgn="base">
              <a:spcBef>
                <a:spcPct val="0"/>
              </a:spcBef>
              <a:spcAft>
                <a:spcPct val="0"/>
              </a:spcAft>
            </a:pPr>
            <a:r>
              <a:rPr lang="da-DK" sz="900">
                <a:solidFill>
                  <a:srgbClr val="28082E"/>
                </a:solidFill>
              </a:rPr>
              <a:t>READY TO SELL PRODUCTS</a:t>
            </a:r>
          </a:p>
        </p:txBody>
      </p:sp>
      <p:sp>
        <p:nvSpPr>
          <p:cNvPr id="30739" name="Text Box 19"/>
          <p:cNvSpPr txBox="1">
            <a:spLocks noChangeAspect="1" noChangeArrowheads="1"/>
          </p:cNvSpPr>
          <p:nvPr/>
        </p:nvSpPr>
        <p:spPr bwMode="auto">
          <a:xfrm>
            <a:off x="9908117" y="4954090"/>
            <a:ext cx="1775883" cy="184150"/>
          </a:xfrm>
          <a:prstGeom prst="rect">
            <a:avLst/>
          </a:prstGeom>
          <a:noFill/>
          <a:ln w="12700">
            <a:noFill/>
            <a:miter lim="800000"/>
            <a:headEnd/>
            <a:tailEnd/>
          </a:ln>
          <a:effectLst/>
        </p:spPr>
        <p:txBody>
          <a:bodyPr>
            <a:spAutoFit/>
          </a:bodyPr>
          <a:lstStyle/>
          <a:p>
            <a:pPr algn="r" fontAlgn="base">
              <a:spcBef>
                <a:spcPct val="0"/>
              </a:spcBef>
              <a:spcAft>
                <a:spcPct val="0"/>
              </a:spcAft>
            </a:pPr>
            <a:r>
              <a:rPr lang="da-DK" sz="600" i="1">
                <a:solidFill>
                  <a:srgbClr val="28082E"/>
                </a:solidFill>
              </a:rPr>
              <a:t>GRANULATED PRODUCT</a:t>
            </a:r>
          </a:p>
        </p:txBody>
      </p:sp>
      <p:sp>
        <p:nvSpPr>
          <p:cNvPr id="30740" name="Text Box 20"/>
          <p:cNvSpPr txBox="1">
            <a:spLocks noChangeAspect="1" noChangeArrowheads="1"/>
          </p:cNvSpPr>
          <p:nvPr/>
        </p:nvSpPr>
        <p:spPr bwMode="auto">
          <a:xfrm>
            <a:off x="10166353" y="3360240"/>
            <a:ext cx="1382183" cy="184150"/>
          </a:xfrm>
          <a:prstGeom prst="rect">
            <a:avLst/>
          </a:prstGeom>
          <a:noFill/>
          <a:ln w="12700">
            <a:noFill/>
            <a:miter lim="800000"/>
            <a:headEnd/>
            <a:tailEnd/>
          </a:ln>
          <a:effectLst/>
        </p:spPr>
        <p:txBody>
          <a:bodyPr>
            <a:spAutoFit/>
          </a:bodyPr>
          <a:lstStyle/>
          <a:p>
            <a:pPr algn="r" fontAlgn="base">
              <a:spcBef>
                <a:spcPct val="0"/>
              </a:spcBef>
              <a:spcAft>
                <a:spcPct val="0"/>
              </a:spcAft>
            </a:pPr>
            <a:r>
              <a:rPr lang="da-DK" sz="600" i="1">
                <a:solidFill>
                  <a:srgbClr val="28082E"/>
                </a:solidFill>
              </a:rPr>
              <a:t>LIQUID PRODUCT</a:t>
            </a:r>
          </a:p>
        </p:txBody>
      </p:sp>
      <p:sp>
        <p:nvSpPr>
          <p:cNvPr id="30741" name="Freeform 21"/>
          <p:cNvSpPr>
            <a:spLocks noChangeAspect="1"/>
          </p:cNvSpPr>
          <p:nvPr/>
        </p:nvSpPr>
        <p:spPr bwMode="auto">
          <a:xfrm rot="-900000">
            <a:off x="2124009" y="4423694"/>
            <a:ext cx="1056216" cy="539750"/>
          </a:xfrm>
          <a:custGeom>
            <a:avLst/>
            <a:gdLst/>
            <a:ahLst/>
            <a:cxnLst>
              <a:cxn ang="0">
                <a:pos x="0" y="665"/>
              </a:cxn>
              <a:cxn ang="0">
                <a:pos x="871" y="121"/>
              </a:cxn>
              <a:cxn ang="0">
                <a:pos x="871" y="121"/>
              </a:cxn>
              <a:cxn ang="0">
                <a:pos x="810" y="0"/>
              </a:cxn>
              <a:cxn ang="0">
                <a:pos x="1331" y="182"/>
              </a:cxn>
              <a:cxn ang="0">
                <a:pos x="786" y="339"/>
              </a:cxn>
              <a:cxn ang="0">
                <a:pos x="883" y="218"/>
              </a:cxn>
              <a:cxn ang="0">
                <a:pos x="0" y="907"/>
              </a:cxn>
              <a:cxn ang="0">
                <a:pos x="0" y="907"/>
              </a:cxn>
              <a:cxn ang="0">
                <a:pos x="0" y="665"/>
              </a:cxn>
            </a:cxnLst>
            <a:rect l="0" t="0" r="r" b="b"/>
            <a:pathLst>
              <a:path w="1331" h="907">
                <a:moveTo>
                  <a:pt x="0" y="665"/>
                </a:moveTo>
                <a:cubicBezTo>
                  <a:pt x="141" y="314"/>
                  <a:pt x="493" y="94"/>
                  <a:pt x="871" y="121"/>
                </a:cubicBezTo>
                <a:lnTo>
                  <a:pt x="871" y="121"/>
                </a:lnTo>
                <a:lnTo>
                  <a:pt x="810" y="0"/>
                </a:lnTo>
                <a:lnTo>
                  <a:pt x="1331" y="182"/>
                </a:lnTo>
                <a:lnTo>
                  <a:pt x="786" y="339"/>
                </a:lnTo>
                <a:lnTo>
                  <a:pt x="883" y="218"/>
                </a:lnTo>
                <a:cubicBezTo>
                  <a:pt x="476" y="246"/>
                  <a:pt x="127" y="519"/>
                  <a:pt x="0" y="907"/>
                </a:cubicBezTo>
                <a:lnTo>
                  <a:pt x="0" y="907"/>
                </a:lnTo>
                <a:lnTo>
                  <a:pt x="0" y="665"/>
                </a:lnTo>
                <a:close/>
              </a:path>
            </a:pathLst>
          </a:custGeom>
          <a:solidFill>
            <a:srgbClr val="AB8422">
              <a:alpha val="70000"/>
            </a:srgbClr>
          </a:solidFill>
          <a:ln w="9525" cap="rnd">
            <a:noFill/>
            <a:prstDash val="solid"/>
            <a:round/>
            <a:headEnd/>
            <a:tailEnd/>
          </a:ln>
        </p:spPr>
        <p:txBody>
          <a:bodyPr/>
          <a:lstStyle/>
          <a:p>
            <a:pPr fontAlgn="base">
              <a:spcBef>
                <a:spcPct val="0"/>
              </a:spcBef>
              <a:spcAft>
                <a:spcPct val="0"/>
              </a:spcAft>
            </a:pPr>
            <a:endParaRPr lang="en-US" sz="1600">
              <a:solidFill>
                <a:srgbClr val="28082E"/>
              </a:solidFill>
            </a:endParaRPr>
          </a:p>
        </p:txBody>
      </p:sp>
      <p:pic>
        <p:nvPicPr>
          <p:cNvPr id="30742" name="Picture 22" descr="kolbe"/>
          <p:cNvPicPr preferRelativeResize="0">
            <a:picLocks noChangeAspect="1" noChangeArrowheads="1"/>
          </p:cNvPicPr>
          <p:nvPr/>
        </p:nvPicPr>
        <p:blipFill>
          <a:blip r:embed="rId8" cstate="print"/>
          <a:srcRect/>
          <a:stretch>
            <a:fillRect/>
          </a:stretch>
        </p:blipFill>
        <p:spPr bwMode="auto">
          <a:xfrm>
            <a:off x="1785345" y="4436397"/>
            <a:ext cx="781049" cy="727075"/>
          </a:xfrm>
          <a:prstGeom prst="rect">
            <a:avLst/>
          </a:prstGeom>
          <a:noFill/>
        </p:spPr>
      </p:pic>
      <p:pic>
        <p:nvPicPr>
          <p:cNvPr id="2050" name="Picture 2"/>
          <p:cNvPicPr>
            <a:picLocks noChangeAspect="1" noChangeArrowheads="1"/>
          </p:cNvPicPr>
          <p:nvPr/>
        </p:nvPicPr>
        <p:blipFill>
          <a:blip r:embed="rId9" cstate="print"/>
          <a:srcRect/>
          <a:stretch>
            <a:fillRect/>
          </a:stretch>
        </p:blipFill>
        <p:spPr bwMode="auto">
          <a:xfrm>
            <a:off x="5519937" y="4042345"/>
            <a:ext cx="1115484" cy="782637"/>
          </a:xfrm>
          <a:prstGeom prst="rect">
            <a:avLst/>
          </a:prstGeom>
          <a:noFill/>
          <a:ln w="9525">
            <a:solidFill>
              <a:schemeClr val="bg1"/>
            </a:solidFill>
            <a:miter lim="800000"/>
            <a:headEnd/>
            <a:tailEnd/>
          </a:ln>
          <a:effectLst/>
        </p:spPr>
      </p:pic>
      <p:grpSp>
        <p:nvGrpSpPr>
          <p:cNvPr id="2" name="Group 33"/>
          <p:cNvGrpSpPr/>
          <p:nvPr/>
        </p:nvGrpSpPr>
        <p:grpSpPr>
          <a:xfrm>
            <a:off x="7152118" y="4618408"/>
            <a:ext cx="1881716" cy="1382960"/>
            <a:chOff x="3275856" y="5085184"/>
            <a:chExt cx="1411287" cy="1382960"/>
          </a:xfrm>
        </p:grpSpPr>
        <p:sp>
          <p:nvSpPr>
            <p:cNvPr id="35" name="Text Box 15"/>
            <p:cNvSpPr txBox="1">
              <a:spLocks noChangeAspect="1" noChangeArrowheads="1"/>
            </p:cNvSpPr>
            <p:nvPr/>
          </p:nvSpPr>
          <p:spPr bwMode="auto">
            <a:xfrm>
              <a:off x="3275856" y="6237312"/>
              <a:ext cx="1411287" cy="230832"/>
            </a:xfrm>
            <a:prstGeom prst="rect">
              <a:avLst/>
            </a:prstGeom>
            <a:noFill/>
            <a:ln w="12700">
              <a:noFill/>
              <a:miter lim="800000"/>
              <a:headEnd/>
              <a:tailEnd/>
            </a:ln>
            <a:effectLst/>
          </p:spPr>
          <p:txBody>
            <a:bodyPr>
              <a:spAutoFit/>
            </a:bodyPr>
            <a:lstStyle/>
            <a:p>
              <a:pPr algn="ctr" fontAlgn="base">
                <a:spcBef>
                  <a:spcPct val="0"/>
                </a:spcBef>
                <a:spcAft>
                  <a:spcPct val="0"/>
                </a:spcAft>
              </a:pPr>
              <a:r>
                <a:rPr lang="en-US" sz="900" dirty="0">
                  <a:solidFill>
                    <a:srgbClr val="28082E"/>
                  </a:solidFill>
                </a:rPr>
                <a:t>Treatment of Biomass</a:t>
              </a:r>
            </a:p>
          </p:txBody>
        </p:sp>
        <p:pic>
          <p:nvPicPr>
            <p:cNvPr id="36" name="Picture 11"/>
            <p:cNvPicPr>
              <a:picLocks noChangeAspect="1" noChangeArrowheads="1"/>
            </p:cNvPicPr>
            <p:nvPr/>
          </p:nvPicPr>
          <p:blipFill>
            <a:blip r:embed="rId10" cstate="print"/>
            <a:srcRect/>
            <a:stretch>
              <a:fillRect/>
            </a:stretch>
          </p:blipFill>
          <p:spPr bwMode="auto">
            <a:xfrm>
              <a:off x="3851920" y="5085184"/>
              <a:ext cx="432693" cy="1062888"/>
            </a:xfrm>
            <a:prstGeom prst="rect">
              <a:avLst/>
            </a:prstGeom>
            <a:noFill/>
            <a:ln w="9525">
              <a:noFill/>
              <a:miter lim="800000"/>
              <a:headEnd/>
              <a:tailEnd/>
            </a:ln>
            <a:effectLst/>
          </p:spPr>
        </p:pic>
      </p:grpSp>
      <p:grpSp>
        <p:nvGrpSpPr>
          <p:cNvPr id="3" name="Group 39"/>
          <p:cNvGrpSpPr/>
          <p:nvPr/>
        </p:nvGrpSpPr>
        <p:grpSpPr>
          <a:xfrm>
            <a:off x="2927649" y="5440312"/>
            <a:ext cx="1881716" cy="1094928"/>
            <a:chOff x="251520" y="5373216"/>
            <a:chExt cx="1411287" cy="1094928"/>
          </a:xfrm>
        </p:grpSpPr>
        <p:sp>
          <p:nvSpPr>
            <p:cNvPr id="41" name="Text Box 15"/>
            <p:cNvSpPr txBox="1">
              <a:spLocks noChangeAspect="1" noChangeArrowheads="1"/>
            </p:cNvSpPr>
            <p:nvPr/>
          </p:nvSpPr>
          <p:spPr bwMode="auto">
            <a:xfrm>
              <a:off x="251520" y="6237312"/>
              <a:ext cx="1411287" cy="230832"/>
            </a:xfrm>
            <a:prstGeom prst="rect">
              <a:avLst/>
            </a:prstGeom>
            <a:noFill/>
            <a:ln w="12700">
              <a:noFill/>
              <a:miter lim="800000"/>
              <a:headEnd/>
              <a:tailEnd/>
            </a:ln>
            <a:effectLst/>
          </p:spPr>
          <p:txBody>
            <a:bodyPr>
              <a:spAutoFit/>
            </a:bodyPr>
            <a:lstStyle/>
            <a:p>
              <a:pPr algn="ctr" fontAlgn="base">
                <a:spcBef>
                  <a:spcPct val="0"/>
                </a:spcBef>
                <a:spcAft>
                  <a:spcPct val="0"/>
                </a:spcAft>
              </a:pPr>
              <a:r>
                <a:rPr lang="en-US" sz="900" dirty="0">
                  <a:solidFill>
                    <a:srgbClr val="28082E"/>
                  </a:solidFill>
                </a:rPr>
                <a:t>Fertilizer</a:t>
              </a:r>
            </a:p>
          </p:txBody>
        </p:sp>
        <p:pic>
          <p:nvPicPr>
            <p:cNvPr id="42" name="Picture 13" descr="C:\Documents and Settings\ambj\Local Settings\Temporary Internet Files\Content.IE5\IZRXGGMK\MC900197870[1].wmf"/>
            <p:cNvPicPr>
              <a:picLocks noChangeAspect="1" noChangeArrowheads="1"/>
            </p:cNvPicPr>
            <p:nvPr/>
          </p:nvPicPr>
          <p:blipFill>
            <a:blip r:embed="rId11" cstate="print"/>
            <a:srcRect/>
            <a:stretch>
              <a:fillRect/>
            </a:stretch>
          </p:blipFill>
          <p:spPr bwMode="auto">
            <a:xfrm>
              <a:off x="539552" y="5373216"/>
              <a:ext cx="892202" cy="831660"/>
            </a:xfrm>
            <a:prstGeom prst="rect">
              <a:avLst/>
            </a:prstGeom>
            <a:noFill/>
          </p:spPr>
        </p:pic>
      </p:grpSp>
      <p:sp>
        <p:nvSpPr>
          <p:cNvPr id="44" name="Freeform 21"/>
          <p:cNvSpPr>
            <a:spLocks noChangeAspect="1"/>
          </p:cNvSpPr>
          <p:nvPr/>
        </p:nvSpPr>
        <p:spPr bwMode="auto">
          <a:xfrm rot="11118310">
            <a:off x="5178438" y="5267355"/>
            <a:ext cx="2149281" cy="764888"/>
          </a:xfrm>
          <a:custGeom>
            <a:avLst/>
            <a:gdLst/>
            <a:ahLst/>
            <a:cxnLst>
              <a:cxn ang="0">
                <a:pos x="0" y="665"/>
              </a:cxn>
              <a:cxn ang="0">
                <a:pos x="871" y="121"/>
              </a:cxn>
              <a:cxn ang="0">
                <a:pos x="871" y="121"/>
              </a:cxn>
              <a:cxn ang="0">
                <a:pos x="810" y="0"/>
              </a:cxn>
              <a:cxn ang="0">
                <a:pos x="1331" y="182"/>
              </a:cxn>
              <a:cxn ang="0">
                <a:pos x="786" y="339"/>
              </a:cxn>
              <a:cxn ang="0">
                <a:pos x="883" y="218"/>
              </a:cxn>
              <a:cxn ang="0">
                <a:pos x="0" y="907"/>
              </a:cxn>
              <a:cxn ang="0">
                <a:pos x="0" y="907"/>
              </a:cxn>
              <a:cxn ang="0">
                <a:pos x="0" y="665"/>
              </a:cxn>
            </a:cxnLst>
            <a:rect l="0" t="0" r="r" b="b"/>
            <a:pathLst>
              <a:path w="1331" h="907">
                <a:moveTo>
                  <a:pt x="0" y="665"/>
                </a:moveTo>
                <a:cubicBezTo>
                  <a:pt x="141" y="314"/>
                  <a:pt x="493" y="94"/>
                  <a:pt x="871" y="121"/>
                </a:cubicBezTo>
                <a:lnTo>
                  <a:pt x="871" y="121"/>
                </a:lnTo>
                <a:lnTo>
                  <a:pt x="810" y="0"/>
                </a:lnTo>
                <a:lnTo>
                  <a:pt x="1331" y="182"/>
                </a:lnTo>
                <a:lnTo>
                  <a:pt x="786" y="339"/>
                </a:lnTo>
                <a:lnTo>
                  <a:pt x="883" y="218"/>
                </a:lnTo>
                <a:cubicBezTo>
                  <a:pt x="476" y="246"/>
                  <a:pt x="127" y="519"/>
                  <a:pt x="0" y="907"/>
                </a:cubicBezTo>
                <a:lnTo>
                  <a:pt x="0" y="907"/>
                </a:lnTo>
                <a:lnTo>
                  <a:pt x="0" y="665"/>
                </a:lnTo>
                <a:close/>
              </a:path>
            </a:pathLst>
          </a:custGeom>
          <a:solidFill>
            <a:srgbClr val="AB8422">
              <a:alpha val="70000"/>
            </a:srgbClr>
          </a:solidFill>
          <a:ln w="9525" cap="rnd">
            <a:noFill/>
            <a:prstDash val="solid"/>
            <a:round/>
            <a:headEnd/>
            <a:tailEnd/>
          </a:ln>
        </p:spPr>
        <p:txBody>
          <a:bodyPr/>
          <a:lstStyle/>
          <a:p>
            <a:pPr fontAlgn="base">
              <a:spcBef>
                <a:spcPct val="0"/>
              </a:spcBef>
              <a:spcAft>
                <a:spcPct val="0"/>
              </a:spcAft>
            </a:pPr>
            <a:endParaRPr lang="en-US" sz="1600">
              <a:solidFill>
                <a:srgbClr val="28082E"/>
              </a:solidFill>
            </a:endParaRPr>
          </a:p>
        </p:txBody>
      </p:sp>
      <p:sp>
        <p:nvSpPr>
          <p:cNvPr id="45" name="Freeform 21"/>
          <p:cNvSpPr>
            <a:spLocks noChangeAspect="1"/>
          </p:cNvSpPr>
          <p:nvPr/>
        </p:nvSpPr>
        <p:spPr bwMode="auto">
          <a:xfrm rot="13240990">
            <a:off x="870484" y="5137365"/>
            <a:ext cx="2192329" cy="736302"/>
          </a:xfrm>
          <a:custGeom>
            <a:avLst/>
            <a:gdLst/>
            <a:ahLst/>
            <a:cxnLst>
              <a:cxn ang="0">
                <a:pos x="0" y="665"/>
              </a:cxn>
              <a:cxn ang="0">
                <a:pos x="871" y="121"/>
              </a:cxn>
              <a:cxn ang="0">
                <a:pos x="871" y="121"/>
              </a:cxn>
              <a:cxn ang="0">
                <a:pos x="810" y="0"/>
              </a:cxn>
              <a:cxn ang="0">
                <a:pos x="1331" y="182"/>
              </a:cxn>
              <a:cxn ang="0">
                <a:pos x="786" y="339"/>
              </a:cxn>
              <a:cxn ang="0">
                <a:pos x="883" y="218"/>
              </a:cxn>
              <a:cxn ang="0">
                <a:pos x="0" y="907"/>
              </a:cxn>
              <a:cxn ang="0">
                <a:pos x="0" y="907"/>
              </a:cxn>
              <a:cxn ang="0">
                <a:pos x="0" y="665"/>
              </a:cxn>
            </a:cxnLst>
            <a:rect l="0" t="0" r="r" b="b"/>
            <a:pathLst>
              <a:path w="1331" h="907">
                <a:moveTo>
                  <a:pt x="0" y="665"/>
                </a:moveTo>
                <a:cubicBezTo>
                  <a:pt x="141" y="314"/>
                  <a:pt x="493" y="94"/>
                  <a:pt x="871" y="121"/>
                </a:cubicBezTo>
                <a:lnTo>
                  <a:pt x="871" y="121"/>
                </a:lnTo>
                <a:lnTo>
                  <a:pt x="810" y="0"/>
                </a:lnTo>
                <a:lnTo>
                  <a:pt x="1331" y="182"/>
                </a:lnTo>
                <a:lnTo>
                  <a:pt x="786" y="339"/>
                </a:lnTo>
                <a:lnTo>
                  <a:pt x="883" y="218"/>
                </a:lnTo>
                <a:cubicBezTo>
                  <a:pt x="476" y="246"/>
                  <a:pt x="127" y="519"/>
                  <a:pt x="0" y="907"/>
                </a:cubicBezTo>
                <a:lnTo>
                  <a:pt x="0" y="907"/>
                </a:lnTo>
                <a:lnTo>
                  <a:pt x="0" y="665"/>
                </a:lnTo>
                <a:close/>
              </a:path>
            </a:pathLst>
          </a:custGeom>
          <a:solidFill>
            <a:srgbClr val="AB8422">
              <a:alpha val="70000"/>
            </a:srgbClr>
          </a:solidFill>
          <a:ln w="9525" cap="rnd">
            <a:noFill/>
            <a:prstDash val="solid"/>
            <a:round/>
            <a:headEnd/>
            <a:tailEnd/>
          </a:ln>
        </p:spPr>
        <p:txBody>
          <a:bodyPr/>
          <a:lstStyle/>
          <a:p>
            <a:pPr fontAlgn="base">
              <a:spcBef>
                <a:spcPct val="0"/>
              </a:spcBef>
              <a:spcAft>
                <a:spcPct val="0"/>
              </a:spcAft>
            </a:pPr>
            <a:endParaRPr lang="en-US" sz="1600">
              <a:solidFill>
                <a:srgbClr val="28082E"/>
              </a:solidFill>
            </a:endParaRPr>
          </a:p>
        </p:txBody>
      </p:sp>
    </p:spTree>
    <p:custDataLst>
      <p:tags r:id="rId1"/>
    </p:custDataLst>
    <p:extLst>
      <p:ext uri="{BB962C8B-B14F-4D97-AF65-F5344CB8AC3E}">
        <p14:creationId xmlns:p14="http://schemas.microsoft.com/office/powerpoint/2010/main" val="27166250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0" presetClass="entr" presetSubtype="0" decel="100000" fill="hold" grpId="0" nodeType="withEffect">
                                  <p:stCondLst>
                                    <p:cond delay="0"/>
                                  </p:stCondLst>
                                  <p:childTnLst>
                                    <p:set>
                                      <p:cBhvr>
                                        <p:cTn id="6" dur="1" fill="hold">
                                          <p:stCondLst>
                                            <p:cond delay="0"/>
                                          </p:stCondLst>
                                        </p:cTn>
                                        <p:tgtEl>
                                          <p:spTgt spid="30724"/>
                                        </p:tgtEl>
                                        <p:attrNameLst>
                                          <p:attrName>style.visibility</p:attrName>
                                        </p:attrNameLst>
                                      </p:cBhvr>
                                      <p:to>
                                        <p:strVal val="visible"/>
                                      </p:to>
                                    </p:set>
                                    <p:anim calcmode="lin" valueType="num">
                                      <p:cBhvr>
                                        <p:cTn id="7" dur="1000" fill="hold"/>
                                        <p:tgtEl>
                                          <p:spTgt spid="30724"/>
                                        </p:tgtEl>
                                        <p:attrNameLst>
                                          <p:attrName>ppt_w</p:attrName>
                                        </p:attrNameLst>
                                      </p:cBhvr>
                                      <p:tavLst>
                                        <p:tav tm="0">
                                          <p:val>
                                            <p:strVal val="#ppt_w+.3"/>
                                          </p:val>
                                        </p:tav>
                                        <p:tav tm="100000">
                                          <p:val>
                                            <p:strVal val="#ppt_w"/>
                                          </p:val>
                                        </p:tav>
                                      </p:tavLst>
                                    </p:anim>
                                    <p:anim calcmode="lin" valueType="num">
                                      <p:cBhvr>
                                        <p:cTn id="8" dur="1000" fill="hold"/>
                                        <p:tgtEl>
                                          <p:spTgt spid="30724"/>
                                        </p:tgtEl>
                                        <p:attrNameLst>
                                          <p:attrName>ppt_h</p:attrName>
                                        </p:attrNameLst>
                                      </p:cBhvr>
                                      <p:tavLst>
                                        <p:tav tm="0">
                                          <p:val>
                                            <p:strVal val="#ppt_h"/>
                                          </p:val>
                                        </p:tav>
                                        <p:tav tm="100000">
                                          <p:val>
                                            <p:strVal val="#ppt_h"/>
                                          </p:val>
                                        </p:tav>
                                      </p:tavLst>
                                    </p:anim>
                                    <p:animEffect transition="in" filter="fade">
                                      <p:cBhvr>
                                        <p:cTn id="9" dur="1000"/>
                                        <p:tgtEl>
                                          <p:spTgt spid="30724"/>
                                        </p:tgtEl>
                                      </p:cBhvr>
                                    </p:animEffect>
                                  </p:childTnLst>
                                </p:cTn>
                              </p:par>
                              <p:par>
                                <p:cTn id="10" presetID="10" presetClass="entr" presetSubtype="0" fill="hold" nodeType="withEffect">
                                  <p:stCondLst>
                                    <p:cond delay="0"/>
                                  </p:stCondLst>
                                  <p:childTnLst>
                                    <p:set>
                                      <p:cBhvr>
                                        <p:cTn id="11" dur="1" fill="hold">
                                          <p:stCondLst>
                                            <p:cond delay="0"/>
                                          </p:stCondLst>
                                        </p:cTn>
                                        <p:tgtEl>
                                          <p:spTgt spid="30725"/>
                                        </p:tgtEl>
                                        <p:attrNameLst>
                                          <p:attrName>style.visibility</p:attrName>
                                        </p:attrNameLst>
                                      </p:cBhvr>
                                      <p:to>
                                        <p:strVal val="visible"/>
                                      </p:to>
                                    </p:set>
                                    <p:animEffect transition="in" filter="fade">
                                      <p:cBhvr>
                                        <p:cTn id="12" dur="2000"/>
                                        <p:tgtEl>
                                          <p:spTgt spid="30725"/>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30727"/>
                                        </p:tgtEl>
                                        <p:attrNameLst>
                                          <p:attrName>style.visibility</p:attrName>
                                        </p:attrNameLst>
                                      </p:cBhvr>
                                      <p:to>
                                        <p:strVal val="visible"/>
                                      </p:to>
                                    </p:set>
                                    <p:animEffect transition="in" filter="fade">
                                      <p:cBhvr>
                                        <p:cTn id="15" dur="2000"/>
                                        <p:tgtEl>
                                          <p:spTgt spid="30727"/>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30728"/>
                                        </p:tgtEl>
                                        <p:attrNameLst>
                                          <p:attrName>style.visibility</p:attrName>
                                        </p:attrNameLst>
                                      </p:cBhvr>
                                      <p:to>
                                        <p:strVal val="visible"/>
                                      </p:to>
                                    </p:set>
                                    <p:animEffect transition="in" filter="fade">
                                      <p:cBhvr>
                                        <p:cTn id="18" dur="2000"/>
                                        <p:tgtEl>
                                          <p:spTgt spid="30728"/>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30729"/>
                                        </p:tgtEl>
                                        <p:attrNameLst>
                                          <p:attrName>style.visibility</p:attrName>
                                        </p:attrNameLst>
                                      </p:cBhvr>
                                      <p:to>
                                        <p:strVal val="visible"/>
                                      </p:to>
                                    </p:set>
                                    <p:animEffect transition="in" filter="fade">
                                      <p:cBhvr>
                                        <p:cTn id="21" dur="2000"/>
                                        <p:tgtEl>
                                          <p:spTgt spid="30729"/>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30741"/>
                                        </p:tgtEl>
                                        <p:attrNameLst>
                                          <p:attrName>style.visibility</p:attrName>
                                        </p:attrNameLst>
                                      </p:cBhvr>
                                      <p:to>
                                        <p:strVal val="visible"/>
                                      </p:to>
                                    </p:set>
                                    <p:animEffect transition="in" filter="fade">
                                      <p:cBhvr>
                                        <p:cTn id="24" dur="2000"/>
                                        <p:tgtEl>
                                          <p:spTgt spid="30741"/>
                                        </p:tgtEl>
                                      </p:cBhvr>
                                    </p:animEffect>
                                  </p:childTnLst>
                                </p:cTn>
                              </p:par>
                              <p:par>
                                <p:cTn id="25" presetID="10" presetClass="entr" presetSubtype="0" fill="hold" nodeType="withEffect">
                                  <p:stCondLst>
                                    <p:cond delay="0"/>
                                  </p:stCondLst>
                                  <p:childTnLst>
                                    <p:set>
                                      <p:cBhvr>
                                        <p:cTn id="26" dur="1" fill="hold">
                                          <p:stCondLst>
                                            <p:cond delay="0"/>
                                          </p:stCondLst>
                                        </p:cTn>
                                        <p:tgtEl>
                                          <p:spTgt spid="30742"/>
                                        </p:tgtEl>
                                        <p:attrNameLst>
                                          <p:attrName>style.visibility</p:attrName>
                                        </p:attrNameLst>
                                      </p:cBhvr>
                                      <p:to>
                                        <p:strVal val="visible"/>
                                      </p:to>
                                    </p:set>
                                    <p:animEffect transition="in" filter="fade">
                                      <p:cBhvr>
                                        <p:cTn id="27" dur="2000"/>
                                        <p:tgtEl>
                                          <p:spTgt spid="30742"/>
                                        </p:tgtEl>
                                      </p:cBhvr>
                                    </p:animEffect>
                                  </p:childTnLst>
                                </p:cTn>
                              </p:par>
                              <p:par>
                                <p:cTn id="28" presetID="10" presetClass="entr" presetSubtype="0" fill="hold" nodeType="withEffect">
                                  <p:stCondLst>
                                    <p:cond delay="0"/>
                                  </p:stCondLst>
                                  <p:childTnLst>
                                    <p:set>
                                      <p:cBhvr>
                                        <p:cTn id="29" dur="1" fill="hold">
                                          <p:stCondLst>
                                            <p:cond delay="0"/>
                                          </p:stCondLst>
                                        </p:cTn>
                                        <p:tgtEl>
                                          <p:spTgt spid="2050"/>
                                        </p:tgtEl>
                                        <p:attrNameLst>
                                          <p:attrName>style.visibility</p:attrName>
                                        </p:attrNameLst>
                                      </p:cBhvr>
                                      <p:to>
                                        <p:strVal val="visible"/>
                                      </p:to>
                                    </p:set>
                                    <p:animEffect transition="in" filter="fade">
                                      <p:cBhvr>
                                        <p:cTn id="30" dur="2000"/>
                                        <p:tgtEl>
                                          <p:spTgt spid="2050"/>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30731"/>
                                        </p:tgtEl>
                                        <p:attrNameLst>
                                          <p:attrName>style.visibility</p:attrName>
                                        </p:attrNameLst>
                                      </p:cBhvr>
                                      <p:to>
                                        <p:strVal val="visible"/>
                                      </p:to>
                                    </p:set>
                                    <p:animEffect transition="in" filter="fade">
                                      <p:cBhvr>
                                        <p:cTn id="33" dur="2000"/>
                                        <p:tgtEl>
                                          <p:spTgt spid="30731"/>
                                        </p:tgtEl>
                                      </p:cBhvr>
                                    </p:animEffect>
                                  </p:childTnLst>
                                </p:cTn>
                              </p:par>
                              <p:par>
                                <p:cTn id="34" presetID="10" presetClass="entr" presetSubtype="0" fill="hold" nodeType="withEffect">
                                  <p:stCondLst>
                                    <p:cond delay="0"/>
                                  </p:stCondLst>
                                  <p:childTnLst>
                                    <p:set>
                                      <p:cBhvr>
                                        <p:cTn id="35" dur="1" fill="hold">
                                          <p:stCondLst>
                                            <p:cond delay="0"/>
                                          </p:stCondLst>
                                        </p:cTn>
                                        <p:tgtEl>
                                          <p:spTgt spid="30732"/>
                                        </p:tgtEl>
                                        <p:attrNameLst>
                                          <p:attrName>style.visibility</p:attrName>
                                        </p:attrNameLst>
                                      </p:cBhvr>
                                      <p:to>
                                        <p:strVal val="visible"/>
                                      </p:to>
                                    </p:set>
                                    <p:animEffect transition="in" filter="fade">
                                      <p:cBhvr>
                                        <p:cTn id="36" dur="2000"/>
                                        <p:tgtEl>
                                          <p:spTgt spid="30732"/>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30733"/>
                                        </p:tgtEl>
                                        <p:attrNameLst>
                                          <p:attrName>style.visibility</p:attrName>
                                        </p:attrNameLst>
                                      </p:cBhvr>
                                      <p:to>
                                        <p:strVal val="visible"/>
                                      </p:to>
                                    </p:set>
                                    <p:animEffect transition="in" filter="fade">
                                      <p:cBhvr>
                                        <p:cTn id="39" dur="2000"/>
                                        <p:tgtEl>
                                          <p:spTgt spid="30733"/>
                                        </p:tgtEl>
                                      </p:cBhvr>
                                    </p:animEffect>
                                  </p:childTnLst>
                                </p:cTn>
                              </p:par>
                              <p:par>
                                <p:cTn id="40" presetID="10" presetClass="entr" presetSubtype="0" fill="hold" nodeType="withEffect">
                                  <p:stCondLst>
                                    <p:cond delay="0"/>
                                  </p:stCondLst>
                                  <p:childTnLst>
                                    <p:set>
                                      <p:cBhvr>
                                        <p:cTn id="41" dur="1" fill="hold">
                                          <p:stCondLst>
                                            <p:cond delay="0"/>
                                          </p:stCondLst>
                                        </p:cTn>
                                        <p:tgtEl>
                                          <p:spTgt spid="2"/>
                                        </p:tgtEl>
                                        <p:attrNameLst>
                                          <p:attrName>style.visibility</p:attrName>
                                        </p:attrNameLst>
                                      </p:cBhvr>
                                      <p:to>
                                        <p:strVal val="visible"/>
                                      </p:to>
                                    </p:set>
                                    <p:animEffect transition="in" filter="fade">
                                      <p:cBhvr>
                                        <p:cTn id="42" dur="2000"/>
                                        <p:tgtEl>
                                          <p:spTgt spid="2"/>
                                        </p:tgtEl>
                                      </p:cBhvr>
                                    </p:animEffect>
                                  </p:childTnLst>
                                </p:cTn>
                              </p:par>
                              <p:par>
                                <p:cTn id="43" presetID="10" presetClass="entr" presetSubtype="0" fill="hold" nodeType="withEffect">
                                  <p:stCondLst>
                                    <p:cond delay="0"/>
                                  </p:stCondLst>
                                  <p:childTnLst>
                                    <p:set>
                                      <p:cBhvr>
                                        <p:cTn id="44" dur="1" fill="hold">
                                          <p:stCondLst>
                                            <p:cond delay="0"/>
                                          </p:stCondLst>
                                        </p:cTn>
                                        <p:tgtEl>
                                          <p:spTgt spid="3"/>
                                        </p:tgtEl>
                                        <p:attrNameLst>
                                          <p:attrName>style.visibility</p:attrName>
                                        </p:attrNameLst>
                                      </p:cBhvr>
                                      <p:to>
                                        <p:strVal val="visible"/>
                                      </p:to>
                                    </p:set>
                                    <p:animEffect transition="in" filter="fade">
                                      <p:cBhvr>
                                        <p:cTn id="45" dur="2000"/>
                                        <p:tgtEl>
                                          <p:spTgt spid="3"/>
                                        </p:tgtEl>
                                      </p:cBhvr>
                                    </p:animEffect>
                                  </p:childTnLst>
                                </p:cTn>
                              </p:par>
                              <p:par>
                                <p:cTn id="46" presetID="10" presetClass="entr" presetSubtype="0" fill="hold" grpId="0" nodeType="withEffect">
                                  <p:stCondLst>
                                    <p:cond delay="0"/>
                                  </p:stCondLst>
                                  <p:childTnLst>
                                    <p:set>
                                      <p:cBhvr>
                                        <p:cTn id="47" dur="1" fill="hold">
                                          <p:stCondLst>
                                            <p:cond delay="0"/>
                                          </p:stCondLst>
                                        </p:cTn>
                                        <p:tgtEl>
                                          <p:spTgt spid="44"/>
                                        </p:tgtEl>
                                        <p:attrNameLst>
                                          <p:attrName>style.visibility</p:attrName>
                                        </p:attrNameLst>
                                      </p:cBhvr>
                                      <p:to>
                                        <p:strVal val="visible"/>
                                      </p:to>
                                    </p:set>
                                    <p:animEffect transition="in" filter="fade">
                                      <p:cBhvr>
                                        <p:cTn id="48" dur="2000"/>
                                        <p:tgtEl>
                                          <p:spTgt spid="44"/>
                                        </p:tgtEl>
                                      </p:cBhvr>
                                    </p:animEffect>
                                  </p:childTnLst>
                                </p:cTn>
                              </p:par>
                              <p:par>
                                <p:cTn id="49" presetID="10" presetClass="entr" presetSubtype="0" fill="hold" nodeType="withEffect">
                                  <p:stCondLst>
                                    <p:cond delay="0"/>
                                  </p:stCondLst>
                                  <p:childTnLst>
                                    <p:set>
                                      <p:cBhvr>
                                        <p:cTn id="50" dur="1" fill="hold">
                                          <p:stCondLst>
                                            <p:cond delay="0"/>
                                          </p:stCondLst>
                                        </p:cTn>
                                        <p:tgtEl>
                                          <p:spTgt spid="30737"/>
                                        </p:tgtEl>
                                        <p:attrNameLst>
                                          <p:attrName>style.visibility</p:attrName>
                                        </p:attrNameLst>
                                      </p:cBhvr>
                                      <p:to>
                                        <p:strVal val="visible"/>
                                      </p:to>
                                    </p:set>
                                    <p:animEffect transition="in" filter="fade">
                                      <p:cBhvr>
                                        <p:cTn id="51" dur="2000"/>
                                        <p:tgtEl>
                                          <p:spTgt spid="30737"/>
                                        </p:tgtEl>
                                      </p:cBhvr>
                                    </p:animEffect>
                                  </p:childTnLst>
                                </p:cTn>
                              </p:par>
                              <p:par>
                                <p:cTn id="52" presetID="10" presetClass="entr" presetSubtype="0" fill="hold" nodeType="withEffect">
                                  <p:stCondLst>
                                    <p:cond delay="0"/>
                                  </p:stCondLst>
                                  <p:childTnLst>
                                    <p:set>
                                      <p:cBhvr>
                                        <p:cTn id="53" dur="1" fill="hold">
                                          <p:stCondLst>
                                            <p:cond delay="0"/>
                                          </p:stCondLst>
                                        </p:cTn>
                                        <p:tgtEl>
                                          <p:spTgt spid="30736"/>
                                        </p:tgtEl>
                                        <p:attrNameLst>
                                          <p:attrName>style.visibility</p:attrName>
                                        </p:attrNameLst>
                                      </p:cBhvr>
                                      <p:to>
                                        <p:strVal val="visible"/>
                                      </p:to>
                                    </p:set>
                                    <p:animEffect transition="in" filter="fade">
                                      <p:cBhvr>
                                        <p:cTn id="54" dur="2000"/>
                                        <p:tgtEl>
                                          <p:spTgt spid="30736"/>
                                        </p:tgtEl>
                                      </p:cBhvr>
                                    </p:animEffect>
                                  </p:childTnLst>
                                </p:cTn>
                              </p:par>
                              <p:par>
                                <p:cTn id="55" presetID="10" presetClass="entr" presetSubtype="0" fill="hold" grpId="0" nodeType="withEffect">
                                  <p:stCondLst>
                                    <p:cond delay="0"/>
                                  </p:stCondLst>
                                  <p:childTnLst>
                                    <p:set>
                                      <p:cBhvr>
                                        <p:cTn id="56" dur="1" fill="hold">
                                          <p:stCondLst>
                                            <p:cond delay="0"/>
                                          </p:stCondLst>
                                        </p:cTn>
                                        <p:tgtEl>
                                          <p:spTgt spid="30739"/>
                                        </p:tgtEl>
                                        <p:attrNameLst>
                                          <p:attrName>style.visibility</p:attrName>
                                        </p:attrNameLst>
                                      </p:cBhvr>
                                      <p:to>
                                        <p:strVal val="visible"/>
                                      </p:to>
                                    </p:set>
                                    <p:animEffect transition="in" filter="fade">
                                      <p:cBhvr>
                                        <p:cTn id="57" dur="2000"/>
                                        <p:tgtEl>
                                          <p:spTgt spid="30739"/>
                                        </p:tgtEl>
                                      </p:cBhvr>
                                    </p:animEffect>
                                  </p:childTnLst>
                                </p:cTn>
                              </p:par>
                              <p:par>
                                <p:cTn id="58" presetID="10" presetClass="entr" presetSubtype="0" fill="hold" grpId="0" nodeType="withEffect">
                                  <p:stCondLst>
                                    <p:cond delay="0"/>
                                  </p:stCondLst>
                                  <p:childTnLst>
                                    <p:set>
                                      <p:cBhvr>
                                        <p:cTn id="59" dur="1" fill="hold">
                                          <p:stCondLst>
                                            <p:cond delay="0"/>
                                          </p:stCondLst>
                                        </p:cTn>
                                        <p:tgtEl>
                                          <p:spTgt spid="30740"/>
                                        </p:tgtEl>
                                        <p:attrNameLst>
                                          <p:attrName>style.visibility</p:attrName>
                                        </p:attrNameLst>
                                      </p:cBhvr>
                                      <p:to>
                                        <p:strVal val="visible"/>
                                      </p:to>
                                    </p:set>
                                    <p:animEffect transition="in" filter="fade">
                                      <p:cBhvr>
                                        <p:cTn id="60" dur="2000"/>
                                        <p:tgtEl>
                                          <p:spTgt spid="30740"/>
                                        </p:tgtEl>
                                      </p:cBhvr>
                                    </p:animEffect>
                                  </p:childTnLst>
                                </p:cTn>
                              </p:par>
                              <p:par>
                                <p:cTn id="61" presetID="10" presetClass="entr" presetSubtype="0" fill="hold" grpId="0" nodeType="withEffect">
                                  <p:stCondLst>
                                    <p:cond delay="0"/>
                                  </p:stCondLst>
                                  <p:childTnLst>
                                    <p:set>
                                      <p:cBhvr>
                                        <p:cTn id="62" dur="1" fill="hold">
                                          <p:stCondLst>
                                            <p:cond delay="0"/>
                                          </p:stCondLst>
                                        </p:cTn>
                                        <p:tgtEl>
                                          <p:spTgt spid="45"/>
                                        </p:tgtEl>
                                        <p:attrNameLst>
                                          <p:attrName>style.visibility</p:attrName>
                                        </p:attrNameLst>
                                      </p:cBhvr>
                                      <p:to>
                                        <p:strVal val="visible"/>
                                      </p:to>
                                    </p:set>
                                    <p:animEffect transition="in" filter="fade">
                                      <p:cBhvr>
                                        <p:cTn id="63" dur="2000"/>
                                        <p:tgtEl>
                                          <p:spTgt spid="4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724" grpId="0" animBg="1"/>
      <p:bldP spid="30727" grpId="0"/>
      <p:bldP spid="30728" grpId="0"/>
      <p:bldP spid="30729" grpId="0"/>
      <p:bldP spid="30731" grpId="0"/>
      <p:bldP spid="30733" grpId="0"/>
      <p:bldP spid="30739" grpId="0"/>
      <p:bldP spid="30740" grpId="0"/>
      <p:bldP spid="30741" grpId="0" animBg="1"/>
      <p:bldP spid="44" grpId="0" animBg="1"/>
      <p:bldP spid="45"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645164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3" name="Rectangle 92">
            <a:extLst>
              <a:ext uri="{FF2B5EF4-FFF2-40B4-BE49-F238E27FC236}">
                <a16:creationId xmlns:a16="http://schemas.microsoft.com/office/drawing/2014/main" id="{BF6E7F89-479E-4631-BA2F-3A8D7290F6BD}"/>
              </a:ext>
            </a:extLst>
          </p:cNvPr>
          <p:cNvSpPr>
            <a:spLocks/>
          </p:cNvSpPr>
          <p:nvPr/>
        </p:nvSpPr>
        <p:spPr>
          <a:xfrm>
            <a:off x="0" y="1763713"/>
            <a:ext cx="8826500" cy="422751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7000"/>
              </a:lnSpc>
            </a:pPr>
            <a:endParaRPr lang="en-US" dirty="0">
              <a:solidFill>
                <a:schemeClr val="tx1"/>
              </a:solidFill>
            </a:endParaRPr>
          </a:p>
        </p:txBody>
      </p:sp>
      <p:sp>
        <p:nvSpPr>
          <p:cNvPr id="4" name="Rectangle 3">
            <a:extLst>
              <a:ext uri="{FF2B5EF4-FFF2-40B4-BE49-F238E27FC236}">
                <a16:creationId xmlns:a16="http://schemas.microsoft.com/office/drawing/2014/main" id="{3D51D000-9E92-419B-8275-D247098423EE}"/>
              </a:ext>
            </a:extLst>
          </p:cNvPr>
          <p:cNvSpPr>
            <a:spLocks/>
          </p:cNvSpPr>
          <p:nvPr/>
        </p:nvSpPr>
        <p:spPr>
          <a:xfrm>
            <a:off x="8826500" y="1763713"/>
            <a:ext cx="3365500" cy="423068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7000"/>
              </a:lnSpc>
            </a:pPr>
            <a:endParaRPr lang="en-US" dirty="0">
              <a:solidFill>
                <a:schemeClr val="tx1"/>
              </a:solidFill>
            </a:endParaRPr>
          </a:p>
        </p:txBody>
      </p:sp>
      <p:sp>
        <p:nvSpPr>
          <p:cNvPr id="51" name="Freeform 50"/>
          <p:cNvSpPr>
            <a:spLocks/>
          </p:cNvSpPr>
          <p:nvPr/>
        </p:nvSpPr>
        <p:spPr>
          <a:xfrm>
            <a:off x="9122969" y="2038949"/>
            <a:ext cx="2521705" cy="3674920"/>
          </a:xfrm>
          <a:custGeom>
            <a:avLst/>
            <a:gdLst/>
            <a:ahLst/>
            <a:cxnLst/>
            <a:rect l="l" t="t" r="r" b="b"/>
            <a:pathLst>
              <a:path w="2521705" h="3674920">
                <a:moveTo>
                  <a:pt x="766362" y="3617921"/>
                </a:moveTo>
                <a:cubicBezTo>
                  <a:pt x="763381" y="3619440"/>
                  <a:pt x="760281" y="3620540"/>
                  <a:pt x="757063" y="3621221"/>
                </a:cubicBezTo>
                <a:cubicBezTo>
                  <a:pt x="753846" y="3621902"/>
                  <a:pt x="749541" y="3622478"/>
                  <a:pt x="744150" y="3622950"/>
                </a:cubicBezTo>
                <a:cubicBezTo>
                  <a:pt x="733611" y="3623853"/>
                  <a:pt x="726190" y="3625870"/>
                  <a:pt x="721885" y="3629001"/>
                </a:cubicBezTo>
                <a:cubicBezTo>
                  <a:pt x="717581" y="3632131"/>
                  <a:pt x="715503" y="3637239"/>
                  <a:pt x="715651" y="3644324"/>
                </a:cubicBezTo>
                <a:cubicBezTo>
                  <a:pt x="715621" y="3651628"/>
                  <a:pt x="717725" y="3656666"/>
                  <a:pt x="721964" y="3659438"/>
                </a:cubicBezTo>
                <a:cubicBezTo>
                  <a:pt x="726203" y="3662210"/>
                  <a:pt x="732760" y="3663528"/>
                  <a:pt x="741635" y="3663393"/>
                </a:cubicBezTo>
                <a:cubicBezTo>
                  <a:pt x="748743" y="3663415"/>
                  <a:pt x="754697" y="3662324"/>
                  <a:pt x="759499" y="3660119"/>
                </a:cubicBezTo>
                <a:cubicBezTo>
                  <a:pt x="764302" y="3657914"/>
                  <a:pt x="766799" y="3654465"/>
                  <a:pt x="766991" y="3649772"/>
                </a:cubicBezTo>
                <a:lnTo>
                  <a:pt x="766991" y="3617921"/>
                </a:lnTo>
                <a:close/>
                <a:moveTo>
                  <a:pt x="480612" y="3617921"/>
                </a:moveTo>
                <a:cubicBezTo>
                  <a:pt x="477631" y="3619440"/>
                  <a:pt x="474531" y="3620540"/>
                  <a:pt x="471313" y="3621221"/>
                </a:cubicBezTo>
                <a:cubicBezTo>
                  <a:pt x="468096" y="3621902"/>
                  <a:pt x="463792" y="3622478"/>
                  <a:pt x="458400" y="3622950"/>
                </a:cubicBezTo>
                <a:cubicBezTo>
                  <a:pt x="447861" y="3623853"/>
                  <a:pt x="440440" y="3625870"/>
                  <a:pt x="436135" y="3629001"/>
                </a:cubicBezTo>
                <a:cubicBezTo>
                  <a:pt x="431831" y="3632131"/>
                  <a:pt x="429753" y="3637239"/>
                  <a:pt x="429901" y="3644324"/>
                </a:cubicBezTo>
                <a:cubicBezTo>
                  <a:pt x="429871" y="3651628"/>
                  <a:pt x="431975" y="3656666"/>
                  <a:pt x="436214" y="3659438"/>
                </a:cubicBezTo>
                <a:cubicBezTo>
                  <a:pt x="440453" y="3662210"/>
                  <a:pt x="447010" y="3663528"/>
                  <a:pt x="455885" y="3663393"/>
                </a:cubicBezTo>
                <a:cubicBezTo>
                  <a:pt x="462993" y="3663415"/>
                  <a:pt x="468947" y="3662324"/>
                  <a:pt x="473749" y="3660119"/>
                </a:cubicBezTo>
                <a:cubicBezTo>
                  <a:pt x="478552" y="3657914"/>
                  <a:pt x="481049" y="3654465"/>
                  <a:pt x="481241" y="3649772"/>
                </a:cubicBezTo>
                <a:lnTo>
                  <a:pt x="481241" y="3617921"/>
                </a:lnTo>
                <a:close/>
                <a:moveTo>
                  <a:pt x="1680324" y="3576220"/>
                </a:moveTo>
                <a:cubicBezTo>
                  <a:pt x="1673131" y="3576335"/>
                  <a:pt x="1667144" y="3578410"/>
                  <a:pt x="1662365" y="3582445"/>
                </a:cubicBezTo>
                <a:cubicBezTo>
                  <a:pt x="1657585" y="3586479"/>
                  <a:pt x="1654005" y="3591782"/>
                  <a:pt x="1651623" y="3598355"/>
                </a:cubicBezTo>
                <a:cubicBezTo>
                  <a:pt x="1649242" y="3604927"/>
                  <a:pt x="1648052" y="3612078"/>
                  <a:pt x="1648053" y="3619807"/>
                </a:cubicBezTo>
                <a:cubicBezTo>
                  <a:pt x="1648052" y="3627536"/>
                  <a:pt x="1649242" y="3634686"/>
                  <a:pt x="1651623" y="3641258"/>
                </a:cubicBezTo>
                <a:cubicBezTo>
                  <a:pt x="1654005" y="3647831"/>
                  <a:pt x="1657585" y="3653134"/>
                  <a:pt x="1662365" y="3657169"/>
                </a:cubicBezTo>
                <a:cubicBezTo>
                  <a:pt x="1667144" y="3661203"/>
                  <a:pt x="1673131" y="3663278"/>
                  <a:pt x="1680324" y="3663393"/>
                </a:cubicBezTo>
                <a:cubicBezTo>
                  <a:pt x="1687517" y="3663278"/>
                  <a:pt x="1693504" y="3661203"/>
                  <a:pt x="1698283" y="3657169"/>
                </a:cubicBezTo>
                <a:cubicBezTo>
                  <a:pt x="1703063" y="3653134"/>
                  <a:pt x="1706643" y="3647831"/>
                  <a:pt x="1709025" y="3641258"/>
                </a:cubicBezTo>
                <a:cubicBezTo>
                  <a:pt x="1711406" y="3634686"/>
                  <a:pt x="1712596" y="3627536"/>
                  <a:pt x="1712595" y="3619807"/>
                </a:cubicBezTo>
                <a:cubicBezTo>
                  <a:pt x="1712596" y="3612078"/>
                  <a:pt x="1711406" y="3604927"/>
                  <a:pt x="1709025" y="3598355"/>
                </a:cubicBezTo>
                <a:cubicBezTo>
                  <a:pt x="1706643" y="3591782"/>
                  <a:pt x="1703063" y="3586479"/>
                  <a:pt x="1698283" y="3582445"/>
                </a:cubicBezTo>
                <a:cubicBezTo>
                  <a:pt x="1693504" y="3578410"/>
                  <a:pt x="1687517" y="3576335"/>
                  <a:pt x="1680324" y="3576220"/>
                </a:cubicBezTo>
                <a:close/>
                <a:moveTo>
                  <a:pt x="1270749" y="3576220"/>
                </a:moveTo>
                <a:cubicBezTo>
                  <a:pt x="1263556" y="3576335"/>
                  <a:pt x="1257569" y="3578410"/>
                  <a:pt x="1252790" y="3582445"/>
                </a:cubicBezTo>
                <a:cubicBezTo>
                  <a:pt x="1248010" y="3586479"/>
                  <a:pt x="1244430" y="3591782"/>
                  <a:pt x="1242049" y="3598355"/>
                </a:cubicBezTo>
                <a:cubicBezTo>
                  <a:pt x="1239667" y="3604927"/>
                  <a:pt x="1238477" y="3612078"/>
                  <a:pt x="1238478" y="3619807"/>
                </a:cubicBezTo>
                <a:cubicBezTo>
                  <a:pt x="1238477" y="3627536"/>
                  <a:pt x="1239667" y="3634686"/>
                  <a:pt x="1242049" y="3641258"/>
                </a:cubicBezTo>
                <a:cubicBezTo>
                  <a:pt x="1244430" y="3647831"/>
                  <a:pt x="1248010" y="3653134"/>
                  <a:pt x="1252790" y="3657169"/>
                </a:cubicBezTo>
                <a:cubicBezTo>
                  <a:pt x="1257569" y="3661203"/>
                  <a:pt x="1263556" y="3663278"/>
                  <a:pt x="1270749" y="3663393"/>
                </a:cubicBezTo>
                <a:cubicBezTo>
                  <a:pt x="1277942" y="3663278"/>
                  <a:pt x="1283929" y="3661203"/>
                  <a:pt x="1288708" y="3657169"/>
                </a:cubicBezTo>
                <a:cubicBezTo>
                  <a:pt x="1293488" y="3653134"/>
                  <a:pt x="1297068" y="3647831"/>
                  <a:pt x="1299450" y="3641258"/>
                </a:cubicBezTo>
                <a:cubicBezTo>
                  <a:pt x="1301831" y="3634686"/>
                  <a:pt x="1303021" y="3627536"/>
                  <a:pt x="1303020" y="3619807"/>
                </a:cubicBezTo>
                <a:cubicBezTo>
                  <a:pt x="1303021" y="3612078"/>
                  <a:pt x="1301831" y="3604927"/>
                  <a:pt x="1299450" y="3598355"/>
                </a:cubicBezTo>
                <a:cubicBezTo>
                  <a:pt x="1297068" y="3591782"/>
                  <a:pt x="1293488" y="3586479"/>
                  <a:pt x="1288708" y="3582445"/>
                </a:cubicBezTo>
                <a:cubicBezTo>
                  <a:pt x="1283929" y="3578410"/>
                  <a:pt x="1277942" y="3576335"/>
                  <a:pt x="1270749" y="3576220"/>
                </a:cubicBezTo>
                <a:close/>
                <a:moveTo>
                  <a:pt x="1030948" y="3576220"/>
                </a:moveTo>
                <a:cubicBezTo>
                  <a:pt x="1022059" y="3576543"/>
                  <a:pt x="1014952" y="3579983"/>
                  <a:pt x="1009626" y="3586541"/>
                </a:cubicBezTo>
                <a:cubicBezTo>
                  <a:pt x="1004300" y="3593098"/>
                  <a:pt x="1001279" y="3600834"/>
                  <a:pt x="1000563" y="3609748"/>
                </a:cubicBezTo>
                <a:lnTo>
                  <a:pt x="1058189" y="3609748"/>
                </a:lnTo>
                <a:cubicBezTo>
                  <a:pt x="1058036" y="3599275"/>
                  <a:pt x="1055461" y="3591094"/>
                  <a:pt x="1050462" y="3585205"/>
                </a:cubicBezTo>
                <a:cubicBezTo>
                  <a:pt x="1045463" y="3579315"/>
                  <a:pt x="1038959" y="3576321"/>
                  <a:pt x="1030948" y="3576220"/>
                </a:cubicBezTo>
                <a:close/>
                <a:moveTo>
                  <a:pt x="865155" y="3576220"/>
                </a:moveTo>
                <a:cubicBezTo>
                  <a:pt x="857568" y="3576264"/>
                  <a:pt x="851055" y="3577853"/>
                  <a:pt x="845615" y="3580987"/>
                </a:cubicBezTo>
                <a:cubicBezTo>
                  <a:pt x="840175" y="3584122"/>
                  <a:pt x="837329" y="3588540"/>
                  <a:pt x="837076" y="3594242"/>
                </a:cubicBezTo>
                <a:lnTo>
                  <a:pt x="837076" y="3644534"/>
                </a:lnTo>
                <a:cubicBezTo>
                  <a:pt x="837285" y="3650287"/>
                  <a:pt x="840010" y="3654915"/>
                  <a:pt x="845248" y="3658416"/>
                </a:cubicBezTo>
                <a:cubicBezTo>
                  <a:pt x="850487" y="3661917"/>
                  <a:pt x="856983" y="3663716"/>
                  <a:pt x="864736" y="3663812"/>
                </a:cubicBezTo>
                <a:cubicBezTo>
                  <a:pt x="875790" y="3663485"/>
                  <a:pt x="883910" y="3659006"/>
                  <a:pt x="889097" y="3650375"/>
                </a:cubicBezTo>
                <a:cubicBezTo>
                  <a:pt x="894283" y="3641744"/>
                  <a:pt x="896850" y="3630926"/>
                  <a:pt x="896798" y="3617921"/>
                </a:cubicBezTo>
                <a:cubicBezTo>
                  <a:pt x="896972" y="3605823"/>
                  <a:pt x="894685" y="3595914"/>
                  <a:pt x="889935" y="3588191"/>
                </a:cubicBezTo>
                <a:cubicBezTo>
                  <a:pt x="885185" y="3580468"/>
                  <a:pt x="876925" y="3576478"/>
                  <a:pt x="865155" y="3576220"/>
                </a:cubicBezTo>
                <a:close/>
                <a:moveTo>
                  <a:pt x="1588389" y="3567419"/>
                </a:moveTo>
                <a:lnTo>
                  <a:pt x="1593628" y="3567419"/>
                </a:lnTo>
                <a:cubicBezTo>
                  <a:pt x="1595138" y="3567463"/>
                  <a:pt x="1596413" y="3568004"/>
                  <a:pt x="1597452" y="3569043"/>
                </a:cubicBezTo>
                <a:cubicBezTo>
                  <a:pt x="1598491" y="3570082"/>
                  <a:pt x="1599032" y="3571357"/>
                  <a:pt x="1599076" y="3572867"/>
                </a:cubicBezTo>
                <a:lnTo>
                  <a:pt x="1599076" y="3666746"/>
                </a:lnTo>
                <a:cubicBezTo>
                  <a:pt x="1599032" y="3668256"/>
                  <a:pt x="1598491" y="3669531"/>
                  <a:pt x="1597452" y="3670570"/>
                </a:cubicBezTo>
                <a:cubicBezTo>
                  <a:pt x="1596413" y="3671609"/>
                  <a:pt x="1595138" y="3672151"/>
                  <a:pt x="1593628" y="3672194"/>
                </a:cubicBezTo>
                <a:lnTo>
                  <a:pt x="1588389" y="3672194"/>
                </a:lnTo>
                <a:cubicBezTo>
                  <a:pt x="1586878" y="3672151"/>
                  <a:pt x="1585603" y="3671609"/>
                  <a:pt x="1584565" y="3670570"/>
                </a:cubicBezTo>
                <a:cubicBezTo>
                  <a:pt x="1583525" y="3669531"/>
                  <a:pt x="1582984" y="3668256"/>
                  <a:pt x="1582941" y="3666746"/>
                </a:cubicBezTo>
                <a:lnTo>
                  <a:pt x="1582941" y="3572867"/>
                </a:lnTo>
                <a:cubicBezTo>
                  <a:pt x="1582984" y="3571357"/>
                  <a:pt x="1583525" y="3570082"/>
                  <a:pt x="1584565" y="3569043"/>
                </a:cubicBezTo>
                <a:cubicBezTo>
                  <a:pt x="1585603" y="3568004"/>
                  <a:pt x="1586878" y="3567463"/>
                  <a:pt x="1588389" y="3567419"/>
                </a:cubicBezTo>
                <a:close/>
                <a:moveTo>
                  <a:pt x="1407414" y="3567419"/>
                </a:moveTo>
                <a:lnTo>
                  <a:pt x="1412653" y="3567419"/>
                </a:lnTo>
                <a:cubicBezTo>
                  <a:pt x="1414163" y="3567463"/>
                  <a:pt x="1415438" y="3568004"/>
                  <a:pt x="1416477" y="3569043"/>
                </a:cubicBezTo>
                <a:cubicBezTo>
                  <a:pt x="1417516" y="3570082"/>
                  <a:pt x="1418057" y="3571357"/>
                  <a:pt x="1418101" y="3572867"/>
                </a:cubicBezTo>
                <a:lnTo>
                  <a:pt x="1418101" y="3640343"/>
                </a:lnTo>
                <a:cubicBezTo>
                  <a:pt x="1418040" y="3647720"/>
                  <a:pt x="1419891" y="3653396"/>
                  <a:pt x="1423654" y="3657369"/>
                </a:cubicBezTo>
                <a:cubicBezTo>
                  <a:pt x="1427417" y="3661341"/>
                  <a:pt x="1433459" y="3663349"/>
                  <a:pt x="1441780" y="3663393"/>
                </a:cubicBezTo>
                <a:cubicBezTo>
                  <a:pt x="1450738" y="3663371"/>
                  <a:pt x="1457287" y="3662367"/>
                  <a:pt x="1461425" y="3660381"/>
                </a:cubicBezTo>
                <a:cubicBezTo>
                  <a:pt x="1465564" y="3658394"/>
                  <a:pt x="1467607" y="3655557"/>
                  <a:pt x="1467555" y="3651868"/>
                </a:cubicBezTo>
                <a:lnTo>
                  <a:pt x="1467555" y="3572867"/>
                </a:lnTo>
                <a:cubicBezTo>
                  <a:pt x="1467598" y="3571357"/>
                  <a:pt x="1468140" y="3570082"/>
                  <a:pt x="1469179" y="3569043"/>
                </a:cubicBezTo>
                <a:cubicBezTo>
                  <a:pt x="1470218" y="3568004"/>
                  <a:pt x="1471493" y="3567463"/>
                  <a:pt x="1473003" y="3567419"/>
                </a:cubicBezTo>
                <a:lnTo>
                  <a:pt x="1478242" y="3567419"/>
                </a:lnTo>
                <a:cubicBezTo>
                  <a:pt x="1479752" y="3567463"/>
                  <a:pt x="1481027" y="3568004"/>
                  <a:pt x="1482066" y="3569043"/>
                </a:cubicBezTo>
                <a:cubicBezTo>
                  <a:pt x="1483105" y="3570082"/>
                  <a:pt x="1483646" y="3571357"/>
                  <a:pt x="1483690" y="3572867"/>
                </a:cubicBezTo>
                <a:lnTo>
                  <a:pt x="1483690" y="3666746"/>
                </a:lnTo>
                <a:cubicBezTo>
                  <a:pt x="1483646" y="3668256"/>
                  <a:pt x="1483105" y="3669531"/>
                  <a:pt x="1482066" y="3670570"/>
                </a:cubicBezTo>
                <a:cubicBezTo>
                  <a:pt x="1481027" y="3671609"/>
                  <a:pt x="1479752" y="3672151"/>
                  <a:pt x="1478242" y="3672194"/>
                </a:cubicBezTo>
                <a:lnTo>
                  <a:pt x="1473003" y="3672194"/>
                </a:lnTo>
                <a:cubicBezTo>
                  <a:pt x="1471493" y="3672151"/>
                  <a:pt x="1470218" y="3671609"/>
                  <a:pt x="1469179" y="3670570"/>
                </a:cubicBezTo>
                <a:cubicBezTo>
                  <a:pt x="1468140" y="3669531"/>
                  <a:pt x="1467598" y="3668256"/>
                  <a:pt x="1467555" y="3666746"/>
                </a:cubicBezTo>
                <a:lnTo>
                  <a:pt x="1467555" y="3665908"/>
                </a:lnTo>
                <a:cubicBezTo>
                  <a:pt x="1464756" y="3668667"/>
                  <a:pt x="1461028" y="3670849"/>
                  <a:pt x="1456370" y="3672456"/>
                </a:cubicBezTo>
                <a:cubicBezTo>
                  <a:pt x="1451712" y="3674063"/>
                  <a:pt x="1445940" y="3674883"/>
                  <a:pt x="1439056" y="3674918"/>
                </a:cubicBezTo>
                <a:cubicBezTo>
                  <a:pt x="1426051" y="3674809"/>
                  <a:pt x="1416595" y="3671884"/>
                  <a:pt x="1410688" y="3666143"/>
                </a:cubicBezTo>
                <a:cubicBezTo>
                  <a:pt x="1404781" y="3660403"/>
                  <a:pt x="1401874" y="3652501"/>
                  <a:pt x="1401965" y="3642438"/>
                </a:cubicBezTo>
                <a:lnTo>
                  <a:pt x="1401965" y="3572867"/>
                </a:lnTo>
                <a:cubicBezTo>
                  <a:pt x="1402009" y="3571357"/>
                  <a:pt x="1402551" y="3570082"/>
                  <a:pt x="1403589" y="3569043"/>
                </a:cubicBezTo>
                <a:cubicBezTo>
                  <a:pt x="1404629" y="3568004"/>
                  <a:pt x="1405903" y="3567463"/>
                  <a:pt x="1407414" y="3567419"/>
                </a:cubicBezTo>
                <a:close/>
                <a:moveTo>
                  <a:pt x="540639" y="3567419"/>
                </a:moveTo>
                <a:lnTo>
                  <a:pt x="545878" y="3567419"/>
                </a:lnTo>
                <a:cubicBezTo>
                  <a:pt x="547388" y="3567463"/>
                  <a:pt x="548663" y="3568004"/>
                  <a:pt x="549702" y="3569043"/>
                </a:cubicBezTo>
                <a:cubicBezTo>
                  <a:pt x="550741" y="3570082"/>
                  <a:pt x="551282" y="3571357"/>
                  <a:pt x="551326" y="3572867"/>
                </a:cubicBezTo>
                <a:lnTo>
                  <a:pt x="551326" y="3666746"/>
                </a:lnTo>
                <a:cubicBezTo>
                  <a:pt x="551282" y="3668256"/>
                  <a:pt x="550741" y="3669531"/>
                  <a:pt x="549702" y="3670570"/>
                </a:cubicBezTo>
                <a:cubicBezTo>
                  <a:pt x="548663" y="3671609"/>
                  <a:pt x="547388" y="3672151"/>
                  <a:pt x="545878" y="3672194"/>
                </a:cubicBezTo>
                <a:lnTo>
                  <a:pt x="540639" y="3672194"/>
                </a:lnTo>
                <a:cubicBezTo>
                  <a:pt x="539128" y="3672151"/>
                  <a:pt x="537854" y="3671609"/>
                  <a:pt x="536815" y="3670570"/>
                </a:cubicBezTo>
                <a:cubicBezTo>
                  <a:pt x="535776" y="3669531"/>
                  <a:pt x="535234" y="3668256"/>
                  <a:pt x="535191" y="3666746"/>
                </a:cubicBezTo>
                <a:lnTo>
                  <a:pt x="535191" y="3572867"/>
                </a:lnTo>
                <a:cubicBezTo>
                  <a:pt x="535234" y="3571357"/>
                  <a:pt x="535776" y="3570082"/>
                  <a:pt x="536815" y="3569043"/>
                </a:cubicBezTo>
                <a:cubicBezTo>
                  <a:pt x="537854" y="3568004"/>
                  <a:pt x="539128" y="3567463"/>
                  <a:pt x="540639" y="3567419"/>
                </a:cubicBezTo>
                <a:close/>
                <a:moveTo>
                  <a:pt x="131064" y="3567419"/>
                </a:moveTo>
                <a:lnTo>
                  <a:pt x="136303" y="3567419"/>
                </a:lnTo>
                <a:cubicBezTo>
                  <a:pt x="137813" y="3567463"/>
                  <a:pt x="139088" y="3568004"/>
                  <a:pt x="140127" y="3569043"/>
                </a:cubicBezTo>
                <a:cubicBezTo>
                  <a:pt x="141166" y="3570082"/>
                  <a:pt x="141707" y="3571357"/>
                  <a:pt x="141751" y="3572867"/>
                </a:cubicBezTo>
                <a:lnTo>
                  <a:pt x="141751" y="3640343"/>
                </a:lnTo>
                <a:cubicBezTo>
                  <a:pt x="141690" y="3647720"/>
                  <a:pt x="143541" y="3653396"/>
                  <a:pt x="147304" y="3657369"/>
                </a:cubicBezTo>
                <a:cubicBezTo>
                  <a:pt x="151067" y="3661341"/>
                  <a:pt x="157109" y="3663349"/>
                  <a:pt x="165430" y="3663393"/>
                </a:cubicBezTo>
                <a:cubicBezTo>
                  <a:pt x="174388" y="3663371"/>
                  <a:pt x="180937" y="3662367"/>
                  <a:pt x="185075" y="3660381"/>
                </a:cubicBezTo>
                <a:cubicBezTo>
                  <a:pt x="189214" y="3658394"/>
                  <a:pt x="191257" y="3655557"/>
                  <a:pt x="191205" y="3651868"/>
                </a:cubicBezTo>
                <a:lnTo>
                  <a:pt x="191205" y="3572867"/>
                </a:lnTo>
                <a:cubicBezTo>
                  <a:pt x="191248" y="3571357"/>
                  <a:pt x="191790" y="3570082"/>
                  <a:pt x="192829" y="3569043"/>
                </a:cubicBezTo>
                <a:cubicBezTo>
                  <a:pt x="193868" y="3568004"/>
                  <a:pt x="195142" y="3567463"/>
                  <a:pt x="196653" y="3567419"/>
                </a:cubicBezTo>
                <a:lnTo>
                  <a:pt x="201892" y="3567419"/>
                </a:lnTo>
                <a:cubicBezTo>
                  <a:pt x="203402" y="3567463"/>
                  <a:pt x="204677" y="3568004"/>
                  <a:pt x="205716" y="3569043"/>
                </a:cubicBezTo>
                <a:cubicBezTo>
                  <a:pt x="206755" y="3570082"/>
                  <a:pt x="207296" y="3571357"/>
                  <a:pt x="207340" y="3572867"/>
                </a:cubicBezTo>
                <a:lnTo>
                  <a:pt x="207340" y="3666746"/>
                </a:lnTo>
                <a:cubicBezTo>
                  <a:pt x="207296" y="3668256"/>
                  <a:pt x="206755" y="3669531"/>
                  <a:pt x="205716" y="3670570"/>
                </a:cubicBezTo>
                <a:cubicBezTo>
                  <a:pt x="204677" y="3671609"/>
                  <a:pt x="203402" y="3672151"/>
                  <a:pt x="201892" y="3672194"/>
                </a:cubicBezTo>
                <a:lnTo>
                  <a:pt x="196653" y="3672194"/>
                </a:lnTo>
                <a:cubicBezTo>
                  <a:pt x="195142" y="3672151"/>
                  <a:pt x="193868" y="3671609"/>
                  <a:pt x="192829" y="3670570"/>
                </a:cubicBezTo>
                <a:cubicBezTo>
                  <a:pt x="191790" y="3669531"/>
                  <a:pt x="191248" y="3668256"/>
                  <a:pt x="191205" y="3666746"/>
                </a:cubicBezTo>
                <a:lnTo>
                  <a:pt x="191205" y="3665908"/>
                </a:lnTo>
                <a:cubicBezTo>
                  <a:pt x="188406" y="3668667"/>
                  <a:pt x="184678" y="3670849"/>
                  <a:pt x="180020" y="3672456"/>
                </a:cubicBezTo>
                <a:cubicBezTo>
                  <a:pt x="175362" y="3674063"/>
                  <a:pt x="169590" y="3674883"/>
                  <a:pt x="162706" y="3674918"/>
                </a:cubicBezTo>
                <a:cubicBezTo>
                  <a:pt x="149701" y="3674809"/>
                  <a:pt x="140245" y="3671884"/>
                  <a:pt x="134338" y="3666143"/>
                </a:cubicBezTo>
                <a:cubicBezTo>
                  <a:pt x="128431" y="3660403"/>
                  <a:pt x="125524" y="3652501"/>
                  <a:pt x="125616" y="3642438"/>
                </a:cubicBezTo>
                <a:lnTo>
                  <a:pt x="125616" y="3572867"/>
                </a:lnTo>
                <a:cubicBezTo>
                  <a:pt x="125659" y="3571357"/>
                  <a:pt x="126201" y="3570082"/>
                  <a:pt x="127240" y="3569043"/>
                </a:cubicBezTo>
                <a:cubicBezTo>
                  <a:pt x="128279" y="3568004"/>
                  <a:pt x="129553" y="3567463"/>
                  <a:pt x="131064" y="3567419"/>
                </a:cubicBezTo>
                <a:close/>
                <a:moveTo>
                  <a:pt x="1897609" y="3564695"/>
                </a:moveTo>
                <a:cubicBezTo>
                  <a:pt x="1908081" y="3564817"/>
                  <a:pt x="1916263" y="3566197"/>
                  <a:pt x="1922152" y="3568834"/>
                </a:cubicBezTo>
                <a:cubicBezTo>
                  <a:pt x="1928041" y="3571470"/>
                  <a:pt x="1931036" y="3574631"/>
                  <a:pt x="1931137" y="3578316"/>
                </a:cubicBezTo>
                <a:cubicBezTo>
                  <a:pt x="1931101" y="3580237"/>
                  <a:pt x="1930490" y="3581791"/>
                  <a:pt x="1929303" y="3582978"/>
                </a:cubicBezTo>
                <a:cubicBezTo>
                  <a:pt x="1928115" y="3584166"/>
                  <a:pt x="1926561" y="3584777"/>
                  <a:pt x="1924640" y="3584812"/>
                </a:cubicBezTo>
                <a:cubicBezTo>
                  <a:pt x="1922016" y="3584706"/>
                  <a:pt x="1919535" y="3583963"/>
                  <a:pt x="1917197" y="3582584"/>
                </a:cubicBezTo>
                <a:cubicBezTo>
                  <a:pt x="1914860" y="3581205"/>
                  <a:pt x="1912069" y="3579827"/>
                  <a:pt x="1908823" y="3578448"/>
                </a:cubicBezTo>
                <a:cubicBezTo>
                  <a:pt x="1905578" y="3577069"/>
                  <a:pt x="1901281" y="3576326"/>
                  <a:pt x="1895932" y="3576220"/>
                </a:cubicBezTo>
                <a:cubicBezTo>
                  <a:pt x="1889969" y="3576312"/>
                  <a:pt x="1885184" y="3577753"/>
                  <a:pt x="1881578" y="3580542"/>
                </a:cubicBezTo>
                <a:cubicBezTo>
                  <a:pt x="1877972" y="3583332"/>
                  <a:pt x="1876121" y="3586920"/>
                  <a:pt x="1876025" y="3591308"/>
                </a:cubicBezTo>
                <a:cubicBezTo>
                  <a:pt x="1876334" y="3597083"/>
                  <a:pt x="1879422" y="3601471"/>
                  <a:pt x="1885291" y="3604474"/>
                </a:cubicBezTo>
                <a:cubicBezTo>
                  <a:pt x="1891159" y="3607475"/>
                  <a:pt x="1897954" y="3610273"/>
                  <a:pt x="1905676" y="3612865"/>
                </a:cubicBezTo>
                <a:cubicBezTo>
                  <a:pt x="1913398" y="3615458"/>
                  <a:pt x="1920193" y="3619028"/>
                  <a:pt x="1926061" y="3623575"/>
                </a:cubicBezTo>
                <a:cubicBezTo>
                  <a:pt x="1931930" y="3628123"/>
                  <a:pt x="1935019" y="3634829"/>
                  <a:pt x="1935327" y="3643695"/>
                </a:cubicBezTo>
                <a:cubicBezTo>
                  <a:pt x="1935157" y="3653339"/>
                  <a:pt x="1931464" y="3660926"/>
                  <a:pt x="1924247" y="3666458"/>
                </a:cubicBezTo>
                <a:cubicBezTo>
                  <a:pt x="1917031" y="3671989"/>
                  <a:pt x="1907313" y="3674809"/>
                  <a:pt x="1895094" y="3674918"/>
                </a:cubicBezTo>
                <a:cubicBezTo>
                  <a:pt x="1884341" y="3674809"/>
                  <a:pt x="1875724" y="3673299"/>
                  <a:pt x="1869241" y="3670387"/>
                </a:cubicBezTo>
                <a:cubicBezTo>
                  <a:pt x="1862758" y="3667475"/>
                  <a:pt x="1859431" y="3663816"/>
                  <a:pt x="1859261" y="3659411"/>
                </a:cubicBezTo>
                <a:cubicBezTo>
                  <a:pt x="1859291" y="3657299"/>
                  <a:pt x="1859963" y="3655657"/>
                  <a:pt x="1861278" y="3654487"/>
                </a:cubicBezTo>
                <a:cubicBezTo>
                  <a:pt x="1862592" y="3653317"/>
                  <a:pt x="1864364" y="3652724"/>
                  <a:pt x="1866595" y="3652706"/>
                </a:cubicBezTo>
                <a:cubicBezTo>
                  <a:pt x="1869197" y="3652838"/>
                  <a:pt x="1871862" y="3653762"/>
                  <a:pt x="1874589" y="3655477"/>
                </a:cubicBezTo>
                <a:cubicBezTo>
                  <a:pt x="1877316" y="3657192"/>
                  <a:pt x="1880415" y="3658907"/>
                  <a:pt x="1883887" y="3660622"/>
                </a:cubicBezTo>
                <a:cubicBezTo>
                  <a:pt x="1887359" y="3662337"/>
                  <a:pt x="1891513" y="3663261"/>
                  <a:pt x="1896351" y="3663393"/>
                </a:cubicBezTo>
                <a:cubicBezTo>
                  <a:pt x="1904004" y="3663236"/>
                  <a:pt x="1909758" y="3661455"/>
                  <a:pt x="1913613" y="3658050"/>
                </a:cubicBezTo>
                <a:cubicBezTo>
                  <a:pt x="1917468" y="3654644"/>
                  <a:pt x="1919397" y="3650558"/>
                  <a:pt x="1919402" y="3645791"/>
                </a:cubicBezTo>
                <a:cubicBezTo>
                  <a:pt x="1919098" y="3639505"/>
                  <a:pt x="1916064" y="3634801"/>
                  <a:pt x="1910299" y="3631679"/>
                </a:cubicBezTo>
                <a:cubicBezTo>
                  <a:pt x="1904535" y="3628556"/>
                  <a:pt x="1897859" y="3625752"/>
                  <a:pt x="1890274" y="3623264"/>
                </a:cubicBezTo>
                <a:cubicBezTo>
                  <a:pt x="1882689" y="3620777"/>
                  <a:pt x="1876014" y="3617343"/>
                  <a:pt x="1870249" y="3612963"/>
                </a:cubicBezTo>
                <a:cubicBezTo>
                  <a:pt x="1864484" y="3608584"/>
                  <a:pt x="1861450" y="3601994"/>
                  <a:pt x="1861147" y="3593194"/>
                </a:cubicBezTo>
                <a:cubicBezTo>
                  <a:pt x="1861330" y="3584030"/>
                  <a:pt x="1864735" y="3577002"/>
                  <a:pt x="1871362" y="3572108"/>
                </a:cubicBezTo>
                <a:cubicBezTo>
                  <a:pt x="1877989" y="3567214"/>
                  <a:pt x="1886738" y="3564743"/>
                  <a:pt x="1897609" y="3564695"/>
                </a:cubicBezTo>
                <a:close/>
                <a:moveTo>
                  <a:pt x="1799025" y="3564695"/>
                </a:moveTo>
                <a:cubicBezTo>
                  <a:pt x="1812030" y="3564839"/>
                  <a:pt x="1821486" y="3567904"/>
                  <a:pt x="1827392" y="3573889"/>
                </a:cubicBezTo>
                <a:cubicBezTo>
                  <a:pt x="1833299" y="3579874"/>
                  <a:pt x="1836207" y="3587916"/>
                  <a:pt x="1836115" y="3598013"/>
                </a:cubicBezTo>
                <a:lnTo>
                  <a:pt x="1836115" y="3666746"/>
                </a:lnTo>
                <a:cubicBezTo>
                  <a:pt x="1836071" y="3668256"/>
                  <a:pt x="1835530" y="3669531"/>
                  <a:pt x="1834491" y="3670570"/>
                </a:cubicBezTo>
                <a:cubicBezTo>
                  <a:pt x="1833452" y="3671609"/>
                  <a:pt x="1832177" y="3672151"/>
                  <a:pt x="1830667" y="3672194"/>
                </a:cubicBezTo>
                <a:lnTo>
                  <a:pt x="1825428" y="3672194"/>
                </a:lnTo>
                <a:cubicBezTo>
                  <a:pt x="1823917" y="3672151"/>
                  <a:pt x="1822643" y="3671609"/>
                  <a:pt x="1821604" y="3670570"/>
                </a:cubicBezTo>
                <a:cubicBezTo>
                  <a:pt x="1820565" y="3669531"/>
                  <a:pt x="1820023" y="3668256"/>
                  <a:pt x="1819980" y="3666746"/>
                </a:cubicBezTo>
                <a:lnTo>
                  <a:pt x="1819980" y="3600109"/>
                </a:lnTo>
                <a:cubicBezTo>
                  <a:pt x="1820032" y="3592696"/>
                  <a:pt x="1818146" y="3586881"/>
                  <a:pt x="1814322" y="3582664"/>
                </a:cubicBezTo>
                <a:cubicBezTo>
                  <a:pt x="1810497" y="3578447"/>
                  <a:pt x="1804421" y="3576299"/>
                  <a:pt x="1796091" y="3576220"/>
                </a:cubicBezTo>
                <a:cubicBezTo>
                  <a:pt x="1787141" y="3576225"/>
                  <a:pt x="1780628" y="3577159"/>
                  <a:pt x="1776551" y="3579023"/>
                </a:cubicBezTo>
                <a:cubicBezTo>
                  <a:pt x="1772473" y="3580887"/>
                  <a:pt x="1770465" y="3583655"/>
                  <a:pt x="1770526" y="3587326"/>
                </a:cubicBezTo>
                <a:lnTo>
                  <a:pt x="1770526" y="3666746"/>
                </a:lnTo>
                <a:cubicBezTo>
                  <a:pt x="1770482" y="3668256"/>
                  <a:pt x="1769941" y="3669531"/>
                  <a:pt x="1768902" y="3670570"/>
                </a:cubicBezTo>
                <a:cubicBezTo>
                  <a:pt x="1767863" y="3671609"/>
                  <a:pt x="1766588" y="3672151"/>
                  <a:pt x="1765077" y="3672194"/>
                </a:cubicBezTo>
                <a:lnTo>
                  <a:pt x="1759839" y="3672194"/>
                </a:lnTo>
                <a:cubicBezTo>
                  <a:pt x="1758328" y="3672151"/>
                  <a:pt x="1757054" y="3671609"/>
                  <a:pt x="1756015" y="3670570"/>
                </a:cubicBezTo>
                <a:cubicBezTo>
                  <a:pt x="1754975" y="3669531"/>
                  <a:pt x="1754434" y="3668256"/>
                  <a:pt x="1754391" y="3666746"/>
                </a:cubicBezTo>
                <a:lnTo>
                  <a:pt x="1754391" y="3572867"/>
                </a:lnTo>
                <a:cubicBezTo>
                  <a:pt x="1754434" y="3571357"/>
                  <a:pt x="1754975" y="3570082"/>
                  <a:pt x="1756015" y="3569043"/>
                </a:cubicBezTo>
                <a:cubicBezTo>
                  <a:pt x="1757054" y="3568004"/>
                  <a:pt x="1758328" y="3567463"/>
                  <a:pt x="1759839" y="3567419"/>
                </a:cubicBezTo>
                <a:lnTo>
                  <a:pt x="1765077" y="3567419"/>
                </a:lnTo>
                <a:cubicBezTo>
                  <a:pt x="1766588" y="3567463"/>
                  <a:pt x="1767863" y="3568004"/>
                  <a:pt x="1768902" y="3569043"/>
                </a:cubicBezTo>
                <a:cubicBezTo>
                  <a:pt x="1769941" y="3570082"/>
                  <a:pt x="1770482" y="3571357"/>
                  <a:pt x="1770526" y="3572867"/>
                </a:cubicBezTo>
                <a:lnTo>
                  <a:pt x="1770526" y="3573706"/>
                </a:lnTo>
                <a:cubicBezTo>
                  <a:pt x="1773324" y="3570947"/>
                  <a:pt x="1777053" y="3568764"/>
                  <a:pt x="1781711" y="3567157"/>
                </a:cubicBezTo>
                <a:cubicBezTo>
                  <a:pt x="1786369" y="3565551"/>
                  <a:pt x="1792140" y="3564730"/>
                  <a:pt x="1799025" y="3564695"/>
                </a:cubicBezTo>
                <a:close/>
                <a:moveTo>
                  <a:pt x="1680324" y="3564695"/>
                </a:moveTo>
                <a:cubicBezTo>
                  <a:pt x="1690361" y="3564817"/>
                  <a:pt x="1699019" y="3567344"/>
                  <a:pt x="1706301" y="3572278"/>
                </a:cubicBezTo>
                <a:cubicBezTo>
                  <a:pt x="1713582" y="3577211"/>
                  <a:pt x="1719198" y="3583821"/>
                  <a:pt x="1723150" y="3592107"/>
                </a:cubicBezTo>
                <a:cubicBezTo>
                  <a:pt x="1727102" y="3600394"/>
                  <a:pt x="1729101" y="3609627"/>
                  <a:pt x="1729149" y="3619807"/>
                </a:cubicBezTo>
                <a:cubicBezTo>
                  <a:pt x="1729101" y="3629987"/>
                  <a:pt x="1727102" y="3639220"/>
                  <a:pt x="1723150" y="3647506"/>
                </a:cubicBezTo>
                <a:cubicBezTo>
                  <a:pt x="1719198" y="3655792"/>
                  <a:pt x="1713582" y="3662402"/>
                  <a:pt x="1706301" y="3667336"/>
                </a:cubicBezTo>
                <a:cubicBezTo>
                  <a:pt x="1699019" y="3672269"/>
                  <a:pt x="1690361" y="3674797"/>
                  <a:pt x="1680324" y="3674918"/>
                </a:cubicBezTo>
                <a:cubicBezTo>
                  <a:pt x="1670290" y="3674797"/>
                  <a:pt x="1661650" y="3672269"/>
                  <a:pt x="1654402" y="3667336"/>
                </a:cubicBezTo>
                <a:cubicBezTo>
                  <a:pt x="1647154" y="3662402"/>
                  <a:pt x="1641572" y="3655792"/>
                  <a:pt x="1637653" y="3647506"/>
                </a:cubicBezTo>
                <a:cubicBezTo>
                  <a:pt x="1633735" y="3639220"/>
                  <a:pt x="1631754" y="3629987"/>
                  <a:pt x="1631708" y="3619807"/>
                </a:cubicBezTo>
                <a:cubicBezTo>
                  <a:pt x="1631754" y="3609627"/>
                  <a:pt x="1633735" y="3600394"/>
                  <a:pt x="1637653" y="3592107"/>
                </a:cubicBezTo>
                <a:cubicBezTo>
                  <a:pt x="1641572" y="3583821"/>
                  <a:pt x="1647154" y="3577211"/>
                  <a:pt x="1654402" y="3572278"/>
                </a:cubicBezTo>
                <a:cubicBezTo>
                  <a:pt x="1661650" y="3567344"/>
                  <a:pt x="1670290" y="3564817"/>
                  <a:pt x="1680324" y="3564695"/>
                </a:cubicBezTo>
                <a:close/>
                <a:moveTo>
                  <a:pt x="1270749" y="3564695"/>
                </a:moveTo>
                <a:cubicBezTo>
                  <a:pt x="1280785" y="3564817"/>
                  <a:pt x="1289444" y="3567344"/>
                  <a:pt x="1296725" y="3572278"/>
                </a:cubicBezTo>
                <a:cubicBezTo>
                  <a:pt x="1304007" y="3577211"/>
                  <a:pt x="1309623" y="3583821"/>
                  <a:pt x="1313575" y="3592107"/>
                </a:cubicBezTo>
                <a:cubicBezTo>
                  <a:pt x="1317527" y="3600394"/>
                  <a:pt x="1319527" y="3609627"/>
                  <a:pt x="1319574" y="3619807"/>
                </a:cubicBezTo>
                <a:cubicBezTo>
                  <a:pt x="1319527" y="3629987"/>
                  <a:pt x="1317527" y="3639220"/>
                  <a:pt x="1313575" y="3647506"/>
                </a:cubicBezTo>
                <a:cubicBezTo>
                  <a:pt x="1309623" y="3655792"/>
                  <a:pt x="1304007" y="3662402"/>
                  <a:pt x="1296725" y="3667336"/>
                </a:cubicBezTo>
                <a:cubicBezTo>
                  <a:pt x="1289444" y="3672269"/>
                  <a:pt x="1280785" y="3674797"/>
                  <a:pt x="1270749" y="3674918"/>
                </a:cubicBezTo>
                <a:cubicBezTo>
                  <a:pt x="1260715" y="3674797"/>
                  <a:pt x="1252075" y="3672269"/>
                  <a:pt x="1244827" y="3667336"/>
                </a:cubicBezTo>
                <a:cubicBezTo>
                  <a:pt x="1237579" y="3662402"/>
                  <a:pt x="1231997" y="3655792"/>
                  <a:pt x="1228079" y="3647506"/>
                </a:cubicBezTo>
                <a:cubicBezTo>
                  <a:pt x="1224161" y="3639220"/>
                  <a:pt x="1222179" y="3629987"/>
                  <a:pt x="1222133" y="3619807"/>
                </a:cubicBezTo>
                <a:cubicBezTo>
                  <a:pt x="1222179" y="3609627"/>
                  <a:pt x="1224161" y="3600394"/>
                  <a:pt x="1228079" y="3592107"/>
                </a:cubicBezTo>
                <a:cubicBezTo>
                  <a:pt x="1231997" y="3583821"/>
                  <a:pt x="1237579" y="3577211"/>
                  <a:pt x="1244827" y="3572278"/>
                </a:cubicBezTo>
                <a:cubicBezTo>
                  <a:pt x="1252075" y="3567344"/>
                  <a:pt x="1260715" y="3564817"/>
                  <a:pt x="1270749" y="3564695"/>
                </a:cubicBezTo>
                <a:close/>
                <a:moveTo>
                  <a:pt x="1164183" y="3564695"/>
                </a:moveTo>
                <a:cubicBezTo>
                  <a:pt x="1174657" y="3564817"/>
                  <a:pt x="1182838" y="3566197"/>
                  <a:pt x="1188727" y="3568834"/>
                </a:cubicBezTo>
                <a:cubicBezTo>
                  <a:pt x="1194616" y="3571470"/>
                  <a:pt x="1197611" y="3574631"/>
                  <a:pt x="1197711" y="3578316"/>
                </a:cubicBezTo>
                <a:cubicBezTo>
                  <a:pt x="1197677" y="3580237"/>
                  <a:pt x="1197065" y="3581791"/>
                  <a:pt x="1195878" y="3582978"/>
                </a:cubicBezTo>
                <a:cubicBezTo>
                  <a:pt x="1194690" y="3584166"/>
                  <a:pt x="1193136" y="3584777"/>
                  <a:pt x="1191215" y="3584812"/>
                </a:cubicBezTo>
                <a:cubicBezTo>
                  <a:pt x="1188591" y="3584706"/>
                  <a:pt x="1186110" y="3583963"/>
                  <a:pt x="1183772" y="3582584"/>
                </a:cubicBezTo>
                <a:cubicBezTo>
                  <a:pt x="1181435" y="3581205"/>
                  <a:pt x="1178644" y="3579827"/>
                  <a:pt x="1175398" y="3578448"/>
                </a:cubicBezTo>
                <a:cubicBezTo>
                  <a:pt x="1172153" y="3577069"/>
                  <a:pt x="1167856" y="3576326"/>
                  <a:pt x="1162507" y="3576220"/>
                </a:cubicBezTo>
                <a:cubicBezTo>
                  <a:pt x="1156544" y="3576312"/>
                  <a:pt x="1151759" y="3577753"/>
                  <a:pt x="1148153" y="3580542"/>
                </a:cubicBezTo>
                <a:cubicBezTo>
                  <a:pt x="1144547" y="3583332"/>
                  <a:pt x="1142696" y="3586920"/>
                  <a:pt x="1142600" y="3591308"/>
                </a:cubicBezTo>
                <a:cubicBezTo>
                  <a:pt x="1142909" y="3597083"/>
                  <a:pt x="1145997" y="3601471"/>
                  <a:pt x="1151866" y="3604474"/>
                </a:cubicBezTo>
                <a:cubicBezTo>
                  <a:pt x="1157734" y="3607475"/>
                  <a:pt x="1164529" y="3610273"/>
                  <a:pt x="1172251" y="3612865"/>
                </a:cubicBezTo>
                <a:cubicBezTo>
                  <a:pt x="1179973" y="3615458"/>
                  <a:pt x="1186768" y="3619028"/>
                  <a:pt x="1192636" y="3623575"/>
                </a:cubicBezTo>
                <a:cubicBezTo>
                  <a:pt x="1198505" y="3628123"/>
                  <a:pt x="1201594" y="3634829"/>
                  <a:pt x="1201902" y="3643695"/>
                </a:cubicBezTo>
                <a:cubicBezTo>
                  <a:pt x="1201732" y="3653339"/>
                  <a:pt x="1198039" y="3660926"/>
                  <a:pt x="1190822" y="3666458"/>
                </a:cubicBezTo>
                <a:cubicBezTo>
                  <a:pt x="1183606" y="3671989"/>
                  <a:pt x="1173888" y="3674809"/>
                  <a:pt x="1161669" y="3674918"/>
                </a:cubicBezTo>
                <a:cubicBezTo>
                  <a:pt x="1150916" y="3674809"/>
                  <a:pt x="1142299" y="3673299"/>
                  <a:pt x="1135816" y="3670387"/>
                </a:cubicBezTo>
                <a:cubicBezTo>
                  <a:pt x="1129333" y="3667475"/>
                  <a:pt x="1126006" y="3663816"/>
                  <a:pt x="1125836" y="3659411"/>
                </a:cubicBezTo>
                <a:cubicBezTo>
                  <a:pt x="1125866" y="3657299"/>
                  <a:pt x="1126539" y="3655657"/>
                  <a:pt x="1127853" y="3654487"/>
                </a:cubicBezTo>
                <a:cubicBezTo>
                  <a:pt x="1129167" y="3653317"/>
                  <a:pt x="1130939" y="3652724"/>
                  <a:pt x="1133170" y="3652706"/>
                </a:cubicBezTo>
                <a:cubicBezTo>
                  <a:pt x="1135773" y="3652838"/>
                  <a:pt x="1138437" y="3653762"/>
                  <a:pt x="1141164" y="3655477"/>
                </a:cubicBezTo>
                <a:cubicBezTo>
                  <a:pt x="1143891" y="3657192"/>
                  <a:pt x="1146990" y="3658907"/>
                  <a:pt x="1150462" y="3660622"/>
                </a:cubicBezTo>
                <a:cubicBezTo>
                  <a:pt x="1153933" y="3662337"/>
                  <a:pt x="1158088" y="3663261"/>
                  <a:pt x="1162926" y="3663393"/>
                </a:cubicBezTo>
                <a:cubicBezTo>
                  <a:pt x="1170579" y="3663236"/>
                  <a:pt x="1176333" y="3661455"/>
                  <a:pt x="1180188" y="3658050"/>
                </a:cubicBezTo>
                <a:cubicBezTo>
                  <a:pt x="1184043" y="3654644"/>
                  <a:pt x="1185972" y="3650558"/>
                  <a:pt x="1185977" y="3645791"/>
                </a:cubicBezTo>
                <a:cubicBezTo>
                  <a:pt x="1185673" y="3639505"/>
                  <a:pt x="1182639" y="3634801"/>
                  <a:pt x="1176874" y="3631679"/>
                </a:cubicBezTo>
                <a:cubicBezTo>
                  <a:pt x="1171109" y="3628556"/>
                  <a:pt x="1164435" y="3625752"/>
                  <a:pt x="1156849" y="3623264"/>
                </a:cubicBezTo>
                <a:cubicBezTo>
                  <a:pt x="1149264" y="3620777"/>
                  <a:pt x="1142589" y="3617343"/>
                  <a:pt x="1136824" y="3612963"/>
                </a:cubicBezTo>
                <a:cubicBezTo>
                  <a:pt x="1131059" y="3608584"/>
                  <a:pt x="1128025" y="3601994"/>
                  <a:pt x="1127722" y="3593194"/>
                </a:cubicBezTo>
                <a:cubicBezTo>
                  <a:pt x="1127905" y="3584030"/>
                  <a:pt x="1131310" y="3577002"/>
                  <a:pt x="1137937" y="3572108"/>
                </a:cubicBezTo>
                <a:cubicBezTo>
                  <a:pt x="1144564" y="3567214"/>
                  <a:pt x="1153313" y="3564743"/>
                  <a:pt x="1164183" y="3564695"/>
                </a:cubicBezTo>
                <a:close/>
                <a:moveTo>
                  <a:pt x="1031576" y="3564695"/>
                </a:moveTo>
                <a:cubicBezTo>
                  <a:pt x="1040614" y="3564815"/>
                  <a:pt x="1048313" y="3567066"/>
                  <a:pt x="1054673" y="3571447"/>
                </a:cubicBezTo>
                <a:cubicBezTo>
                  <a:pt x="1061034" y="3575828"/>
                  <a:pt x="1065892" y="3581618"/>
                  <a:pt x="1069249" y="3588817"/>
                </a:cubicBezTo>
                <a:cubicBezTo>
                  <a:pt x="1072605" y="3596015"/>
                  <a:pt x="1074297" y="3603900"/>
                  <a:pt x="1074325" y="3612472"/>
                </a:cubicBezTo>
                <a:cubicBezTo>
                  <a:pt x="1074368" y="3615738"/>
                  <a:pt x="1073967" y="3617903"/>
                  <a:pt x="1073120" y="3618968"/>
                </a:cubicBezTo>
                <a:cubicBezTo>
                  <a:pt x="1072273" y="3620034"/>
                  <a:pt x="1070719" y="3620523"/>
                  <a:pt x="1068457" y="3620435"/>
                </a:cubicBezTo>
                <a:lnTo>
                  <a:pt x="999934" y="3620435"/>
                </a:lnTo>
                <a:cubicBezTo>
                  <a:pt x="1000375" y="3634200"/>
                  <a:pt x="1003789" y="3644651"/>
                  <a:pt x="1010176" y="3651789"/>
                </a:cubicBezTo>
                <a:cubicBezTo>
                  <a:pt x="1016563" y="3658927"/>
                  <a:pt x="1024535" y="3662516"/>
                  <a:pt x="1034091" y="3662555"/>
                </a:cubicBezTo>
                <a:cubicBezTo>
                  <a:pt x="1040277" y="3662446"/>
                  <a:pt x="1045205" y="3661685"/>
                  <a:pt x="1048876" y="3660273"/>
                </a:cubicBezTo>
                <a:cubicBezTo>
                  <a:pt x="1052547" y="3658861"/>
                  <a:pt x="1055566" y="3657448"/>
                  <a:pt x="1057933" y="3656036"/>
                </a:cubicBezTo>
                <a:cubicBezTo>
                  <a:pt x="1060300" y="3654623"/>
                  <a:pt x="1062621" y="3653862"/>
                  <a:pt x="1064895" y="3653754"/>
                </a:cubicBezTo>
                <a:cubicBezTo>
                  <a:pt x="1066807" y="3653780"/>
                  <a:pt x="1068326" y="3654356"/>
                  <a:pt x="1069453" y="3655483"/>
                </a:cubicBezTo>
                <a:cubicBezTo>
                  <a:pt x="1070579" y="3656609"/>
                  <a:pt x="1071155" y="3658128"/>
                  <a:pt x="1071181" y="3660040"/>
                </a:cubicBezTo>
                <a:cubicBezTo>
                  <a:pt x="1071068" y="3663869"/>
                  <a:pt x="1067785" y="3667265"/>
                  <a:pt x="1061333" y="3670230"/>
                </a:cubicBezTo>
                <a:cubicBezTo>
                  <a:pt x="1054880" y="3673194"/>
                  <a:pt x="1045939" y="3674757"/>
                  <a:pt x="1034510" y="3674918"/>
                </a:cubicBezTo>
                <a:cubicBezTo>
                  <a:pt x="1018379" y="3674586"/>
                  <a:pt x="1005955" y="3669435"/>
                  <a:pt x="997236" y="3659464"/>
                </a:cubicBezTo>
                <a:cubicBezTo>
                  <a:pt x="988518" y="3649493"/>
                  <a:pt x="984109" y="3636693"/>
                  <a:pt x="984009" y="3621064"/>
                </a:cubicBezTo>
                <a:cubicBezTo>
                  <a:pt x="984314" y="3604597"/>
                  <a:pt x="988889" y="3591168"/>
                  <a:pt x="997734" y="3580778"/>
                </a:cubicBezTo>
                <a:cubicBezTo>
                  <a:pt x="1006579" y="3570388"/>
                  <a:pt x="1017860" y="3565027"/>
                  <a:pt x="1031576" y="3564695"/>
                </a:cubicBezTo>
                <a:close/>
                <a:moveTo>
                  <a:pt x="743521" y="3564695"/>
                </a:moveTo>
                <a:cubicBezTo>
                  <a:pt x="756898" y="3564739"/>
                  <a:pt x="766816" y="3567480"/>
                  <a:pt x="773277" y="3572920"/>
                </a:cubicBezTo>
                <a:cubicBezTo>
                  <a:pt x="779739" y="3578359"/>
                  <a:pt x="782952" y="3586235"/>
                  <a:pt x="782917" y="3596547"/>
                </a:cubicBezTo>
                <a:lnTo>
                  <a:pt x="782917" y="3666746"/>
                </a:lnTo>
                <a:cubicBezTo>
                  <a:pt x="782873" y="3668256"/>
                  <a:pt x="782332" y="3669531"/>
                  <a:pt x="781293" y="3670570"/>
                </a:cubicBezTo>
                <a:cubicBezTo>
                  <a:pt x="780254" y="3671609"/>
                  <a:pt x="778979" y="3672151"/>
                  <a:pt x="777468" y="3672194"/>
                </a:cubicBezTo>
                <a:lnTo>
                  <a:pt x="772230" y="3672194"/>
                </a:lnTo>
                <a:cubicBezTo>
                  <a:pt x="770719" y="3672151"/>
                  <a:pt x="769444" y="3671609"/>
                  <a:pt x="768405" y="3670570"/>
                </a:cubicBezTo>
                <a:cubicBezTo>
                  <a:pt x="767366" y="3669531"/>
                  <a:pt x="766825" y="3668256"/>
                  <a:pt x="766781" y="3666746"/>
                </a:cubicBezTo>
                <a:lnTo>
                  <a:pt x="766781" y="3664022"/>
                </a:lnTo>
                <a:cubicBezTo>
                  <a:pt x="764035" y="3667410"/>
                  <a:pt x="760045" y="3670064"/>
                  <a:pt x="754811" y="3671985"/>
                </a:cubicBezTo>
                <a:cubicBezTo>
                  <a:pt x="749576" y="3673905"/>
                  <a:pt x="743229" y="3674883"/>
                  <a:pt x="735768" y="3674918"/>
                </a:cubicBezTo>
                <a:cubicBezTo>
                  <a:pt x="724073" y="3675014"/>
                  <a:pt x="715088" y="3672727"/>
                  <a:pt x="708815" y="3668055"/>
                </a:cubicBezTo>
                <a:cubicBezTo>
                  <a:pt x="702541" y="3663384"/>
                  <a:pt x="699372" y="3655753"/>
                  <a:pt x="699306" y="3645162"/>
                </a:cubicBezTo>
                <a:cubicBezTo>
                  <a:pt x="699031" y="3634196"/>
                  <a:pt x="702253" y="3626320"/>
                  <a:pt x="708972" y="3621535"/>
                </a:cubicBezTo>
                <a:cubicBezTo>
                  <a:pt x="715691" y="3616751"/>
                  <a:pt x="727556" y="3613590"/>
                  <a:pt x="744569" y="3612053"/>
                </a:cubicBezTo>
                <a:cubicBezTo>
                  <a:pt x="753588" y="3611272"/>
                  <a:pt x="759700" y="3610163"/>
                  <a:pt x="762905" y="3608727"/>
                </a:cubicBezTo>
                <a:cubicBezTo>
                  <a:pt x="766109" y="3607290"/>
                  <a:pt x="767611" y="3604558"/>
                  <a:pt x="767410" y="3600528"/>
                </a:cubicBezTo>
                <a:lnTo>
                  <a:pt x="767410" y="3596337"/>
                </a:lnTo>
                <a:cubicBezTo>
                  <a:pt x="767475" y="3589906"/>
                  <a:pt x="765616" y="3584956"/>
                  <a:pt x="761831" y="3581485"/>
                </a:cubicBezTo>
                <a:cubicBezTo>
                  <a:pt x="758046" y="3578014"/>
                  <a:pt x="751943" y="3576260"/>
                  <a:pt x="743521" y="3576220"/>
                </a:cubicBezTo>
                <a:cubicBezTo>
                  <a:pt x="738187" y="3576331"/>
                  <a:pt x="733582" y="3577110"/>
                  <a:pt x="729707" y="3578556"/>
                </a:cubicBezTo>
                <a:cubicBezTo>
                  <a:pt x="725831" y="3580002"/>
                  <a:pt x="722421" y="3581449"/>
                  <a:pt x="719477" y="3582895"/>
                </a:cubicBezTo>
                <a:cubicBezTo>
                  <a:pt x="716533" y="3584341"/>
                  <a:pt x="713791" y="3585119"/>
                  <a:pt x="711251" y="3585231"/>
                </a:cubicBezTo>
                <a:cubicBezTo>
                  <a:pt x="709531" y="3585218"/>
                  <a:pt x="708099" y="3584668"/>
                  <a:pt x="706955" y="3583581"/>
                </a:cubicBezTo>
                <a:cubicBezTo>
                  <a:pt x="705811" y="3582493"/>
                  <a:pt x="705217" y="3580948"/>
                  <a:pt x="705174" y="3578944"/>
                </a:cubicBezTo>
                <a:cubicBezTo>
                  <a:pt x="705383" y="3574775"/>
                  <a:pt x="708998" y="3571379"/>
                  <a:pt x="716018" y="3568755"/>
                </a:cubicBezTo>
                <a:cubicBezTo>
                  <a:pt x="723038" y="3566131"/>
                  <a:pt x="732206" y="3564778"/>
                  <a:pt x="743521" y="3564695"/>
                </a:cubicBezTo>
                <a:close/>
                <a:moveTo>
                  <a:pt x="636975" y="3564695"/>
                </a:moveTo>
                <a:cubicBezTo>
                  <a:pt x="649980" y="3564839"/>
                  <a:pt x="659436" y="3567904"/>
                  <a:pt x="665343" y="3573889"/>
                </a:cubicBezTo>
                <a:cubicBezTo>
                  <a:pt x="671249" y="3579874"/>
                  <a:pt x="674157" y="3587916"/>
                  <a:pt x="674065" y="3598013"/>
                </a:cubicBezTo>
                <a:lnTo>
                  <a:pt x="674065" y="3666746"/>
                </a:lnTo>
                <a:cubicBezTo>
                  <a:pt x="674021" y="3668256"/>
                  <a:pt x="673480" y="3669531"/>
                  <a:pt x="672441" y="3670570"/>
                </a:cubicBezTo>
                <a:cubicBezTo>
                  <a:pt x="671402" y="3671609"/>
                  <a:pt x="670127" y="3672151"/>
                  <a:pt x="668617" y="3672194"/>
                </a:cubicBezTo>
                <a:lnTo>
                  <a:pt x="663378" y="3672194"/>
                </a:lnTo>
                <a:cubicBezTo>
                  <a:pt x="661867" y="3672151"/>
                  <a:pt x="660593" y="3671609"/>
                  <a:pt x="659554" y="3670570"/>
                </a:cubicBezTo>
                <a:cubicBezTo>
                  <a:pt x="658515" y="3669531"/>
                  <a:pt x="657973" y="3668256"/>
                  <a:pt x="657930" y="3666746"/>
                </a:cubicBezTo>
                <a:lnTo>
                  <a:pt x="657930" y="3600109"/>
                </a:lnTo>
                <a:cubicBezTo>
                  <a:pt x="657982" y="3592696"/>
                  <a:pt x="656096" y="3586881"/>
                  <a:pt x="652272" y="3582664"/>
                </a:cubicBezTo>
                <a:cubicBezTo>
                  <a:pt x="648447" y="3578447"/>
                  <a:pt x="642371" y="3576299"/>
                  <a:pt x="634041" y="3576220"/>
                </a:cubicBezTo>
                <a:cubicBezTo>
                  <a:pt x="625091" y="3576225"/>
                  <a:pt x="618578" y="3577159"/>
                  <a:pt x="614500" y="3579023"/>
                </a:cubicBezTo>
                <a:cubicBezTo>
                  <a:pt x="610423" y="3580887"/>
                  <a:pt x="608415" y="3583655"/>
                  <a:pt x="608476" y="3587326"/>
                </a:cubicBezTo>
                <a:lnTo>
                  <a:pt x="608476" y="3666746"/>
                </a:lnTo>
                <a:cubicBezTo>
                  <a:pt x="608432" y="3668256"/>
                  <a:pt x="607891" y="3669531"/>
                  <a:pt x="606852" y="3670570"/>
                </a:cubicBezTo>
                <a:cubicBezTo>
                  <a:pt x="605813" y="3671609"/>
                  <a:pt x="604538" y="3672151"/>
                  <a:pt x="603027" y="3672194"/>
                </a:cubicBezTo>
                <a:lnTo>
                  <a:pt x="597789" y="3672194"/>
                </a:lnTo>
                <a:cubicBezTo>
                  <a:pt x="596278" y="3672151"/>
                  <a:pt x="595004" y="3671609"/>
                  <a:pt x="593965" y="3670570"/>
                </a:cubicBezTo>
                <a:cubicBezTo>
                  <a:pt x="592925" y="3669531"/>
                  <a:pt x="592384" y="3668256"/>
                  <a:pt x="592341" y="3666746"/>
                </a:cubicBezTo>
                <a:lnTo>
                  <a:pt x="592341" y="3572867"/>
                </a:lnTo>
                <a:cubicBezTo>
                  <a:pt x="592384" y="3571357"/>
                  <a:pt x="592925" y="3570082"/>
                  <a:pt x="593965" y="3569043"/>
                </a:cubicBezTo>
                <a:cubicBezTo>
                  <a:pt x="595004" y="3568004"/>
                  <a:pt x="596278" y="3567463"/>
                  <a:pt x="597789" y="3567419"/>
                </a:cubicBezTo>
                <a:lnTo>
                  <a:pt x="603027" y="3567419"/>
                </a:lnTo>
                <a:cubicBezTo>
                  <a:pt x="604538" y="3567463"/>
                  <a:pt x="605813" y="3568004"/>
                  <a:pt x="606852" y="3569043"/>
                </a:cubicBezTo>
                <a:cubicBezTo>
                  <a:pt x="607891" y="3570082"/>
                  <a:pt x="608432" y="3571357"/>
                  <a:pt x="608476" y="3572867"/>
                </a:cubicBezTo>
                <a:lnTo>
                  <a:pt x="608476" y="3573706"/>
                </a:lnTo>
                <a:cubicBezTo>
                  <a:pt x="611274" y="3570947"/>
                  <a:pt x="615002" y="3568764"/>
                  <a:pt x="619661" y="3567157"/>
                </a:cubicBezTo>
                <a:cubicBezTo>
                  <a:pt x="624319" y="3565551"/>
                  <a:pt x="630090" y="3564730"/>
                  <a:pt x="636975" y="3564695"/>
                </a:cubicBezTo>
                <a:close/>
                <a:moveTo>
                  <a:pt x="457771" y="3564695"/>
                </a:moveTo>
                <a:cubicBezTo>
                  <a:pt x="471148" y="3564739"/>
                  <a:pt x="481066" y="3567480"/>
                  <a:pt x="487527" y="3572920"/>
                </a:cubicBezTo>
                <a:cubicBezTo>
                  <a:pt x="493989" y="3578359"/>
                  <a:pt x="497202" y="3586235"/>
                  <a:pt x="497167" y="3596547"/>
                </a:cubicBezTo>
                <a:lnTo>
                  <a:pt x="497167" y="3666746"/>
                </a:lnTo>
                <a:cubicBezTo>
                  <a:pt x="497123" y="3668256"/>
                  <a:pt x="496582" y="3669531"/>
                  <a:pt x="495543" y="3670570"/>
                </a:cubicBezTo>
                <a:cubicBezTo>
                  <a:pt x="494504" y="3671609"/>
                  <a:pt x="493229" y="3672151"/>
                  <a:pt x="491718" y="3672194"/>
                </a:cubicBezTo>
                <a:lnTo>
                  <a:pt x="486480" y="3672194"/>
                </a:lnTo>
                <a:cubicBezTo>
                  <a:pt x="484969" y="3672151"/>
                  <a:pt x="483694" y="3671609"/>
                  <a:pt x="482655" y="3670570"/>
                </a:cubicBezTo>
                <a:cubicBezTo>
                  <a:pt x="481616" y="3669531"/>
                  <a:pt x="481075" y="3668256"/>
                  <a:pt x="481031" y="3666746"/>
                </a:cubicBezTo>
                <a:lnTo>
                  <a:pt x="481031" y="3664022"/>
                </a:lnTo>
                <a:cubicBezTo>
                  <a:pt x="478285" y="3667410"/>
                  <a:pt x="474295" y="3670064"/>
                  <a:pt x="469061" y="3671985"/>
                </a:cubicBezTo>
                <a:cubicBezTo>
                  <a:pt x="463826" y="3673905"/>
                  <a:pt x="457479" y="3674883"/>
                  <a:pt x="450018" y="3674918"/>
                </a:cubicBezTo>
                <a:cubicBezTo>
                  <a:pt x="438322" y="3675014"/>
                  <a:pt x="429338" y="3672727"/>
                  <a:pt x="423065" y="3668055"/>
                </a:cubicBezTo>
                <a:cubicBezTo>
                  <a:pt x="416791" y="3663384"/>
                  <a:pt x="413622" y="3655753"/>
                  <a:pt x="413556" y="3645162"/>
                </a:cubicBezTo>
                <a:cubicBezTo>
                  <a:pt x="413281" y="3634196"/>
                  <a:pt x="416503" y="3626320"/>
                  <a:pt x="423222" y="3621535"/>
                </a:cubicBezTo>
                <a:cubicBezTo>
                  <a:pt x="429940" y="3616751"/>
                  <a:pt x="441806" y="3613590"/>
                  <a:pt x="458819" y="3612053"/>
                </a:cubicBezTo>
                <a:cubicBezTo>
                  <a:pt x="467838" y="3611272"/>
                  <a:pt x="473950" y="3610163"/>
                  <a:pt x="477155" y="3608727"/>
                </a:cubicBezTo>
                <a:cubicBezTo>
                  <a:pt x="480359" y="3607290"/>
                  <a:pt x="481861" y="3604558"/>
                  <a:pt x="481660" y="3600528"/>
                </a:cubicBezTo>
                <a:lnTo>
                  <a:pt x="481660" y="3596337"/>
                </a:lnTo>
                <a:cubicBezTo>
                  <a:pt x="481726" y="3589906"/>
                  <a:pt x="479866" y="3584956"/>
                  <a:pt x="476081" y="3581485"/>
                </a:cubicBezTo>
                <a:cubicBezTo>
                  <a:pt x="472296" y="3578014"/>
                  <a:pt x="466193" y="3576260"/>
                  <a:pt x="457771" y="3576220"/>
                </a:cubicBezTo>
                <a:cubicBezTo>
                  <a:pt x="452437" y="3576331"/>
                  <a:pt x="447832" y="3577110"/>
                  <a:pt x="443957" y="3578556"/>
                </a:cubicBezTo>
                <a:cubicBezTo>
                  <a:pt x="440081" y="3580002"/>
                  <a:pt x="436671" y="3581449"/>
                  <a:pt x="433727" y="3582895"/>
                </a:cubicBezTo>
                <a:cubicBezTo>
                  <a:pt x="430783" y="3584341"/>
                  <a:pt x="428041" y="3585119"/>
                  <a:pt x="425501" y="3585231"/>
                </a:cubicBezTo>
                <a:cubicBezTo>
                  <a:pt x="423781" y="3585218"/>
                  <a:pt x="422349" y="3584668"/>
                  <a:pt x="421205" y="3583581"/>
                </a:cubicBezTo>
                <a:cubicBezTo>
                  <a:pt x="420061" y="3582493"/>
                  <a:pt x="419467" y="3580948"/>
                  <a:pt x="419424" y="3578944"/>
                </a:cubicBezTo>
                <a:cubicBezTo>
                  <a:pt x="419633" y="3574775"/>
                  <a:pt x="423248" y="3571379"/>
                  <a:pt x="430268" y="3568755"/>
                </a:cubicBezTo>
                <a:cubicBezTo>
                  <a:pt x="437288" y="3566131"/>
                  <a:pt x="446456" y="3564778"/>
                  <a:pt x="457771" y="3564695"/>
                </a:cubicBezTo>
                <a:close/>
                <a:moveTo>
                  <a:pt x="278358" y="3564695"/>
                </a:moveTo>
                <a:cubicBezTo>
                  <a:pt x="288832" y="3564817"/>
                  <a:pt x="297013" y="3566197"/>
                  <a:pt x="302902" y="3568834"/>
                </a:cubicBezTo>
                <a:cubicBezTo>
                  <a:pt x="308791" y="3571470"/>
                  <a:pt x="311786" y="3574631"/>
                  <a:pt x="311886" y="3578316"/>
                </a:cubicBezTo>
                <a:cubicBezTo>
                  <a:pt x="311851" y="3580237"/>
                  <a:pt x="311240" y="3581791"/>
                  <a:pt x="310053" y="3582978"/>
                </a:cubicBezTo>
                <a:cubicBezTo>
                  <a:pt x="308865" y="3584166"/>
                  <a:pt x="307311" y="3584777"/>
                  <a:pt x="305390" y="3584812"/>
                </a:cubicBezTo>
                <a:cubicBezTo>
                  <a:pt x="302766" y="3584706"/>
                  <a:pt x="300285" y="3583963"/>
                  <a:pt x="297947" y="3582584"/>
                </a:cubicBezTo>
                <a:cubicBezTo>
                  <a:pt x="295610" y="3581205"/>
                  <a:pt x="292819" y="3579827"/>
                  <a:pt x="289573" y="3578448"/>
                </a:cubicBezTo>
                <a:cubicBezTo>
                  <a:pt x="286328" y="3577069"/>
                  <a:pt x="282031" y="3576326"/>
                  <a:pt x="276682" y="3576220"/>
                </a:cubicBezTo>
                <a:cubicBezTo>
                  <a:pt x="270719" y="3576312"/>
                  <a:pt x="265934" y="3577753"/>
                  <a:pt x="262328" y="3580542"/>
                </a:cubicBezTo>
                <a:cubicBezTo>
                  <a:pt x="258722" y="3583332"/>
                  <a:pt x="256871" y="3586920"/>
                  <a:pt x="256775" y="3591308"/>
                </a:cubicBezTo>
                <a:cubicBezTo>
                  <a:pt x="257084" y="3597083"/>
                  <a:pt x="260172" y="3601471"/>
                  <a:pt x="266041" y="3604474"/>
                </a:cubicBezTo>
                <a:cubicBezTo>
                  <a:pt x="271909" y="3607475"/>
                  <a:pt x="278704" y="3610273"/>
                  <a:pt x="286426" y="3612865"/>
                </a:cubicBezTo>
                <a:cubicBezTo>
                  <a:pt x="294148" y="3615458"/>
                  <a:pt x="300943" y="3619028"/>
                  <a:pt x="306811" y="3623575"/>
                </a:cubicBezTo>
                <a:cubicBezTo>
                  <a:pt x="312680" y="3628123"/>
                  <a:pt x="315769" y="3634829"/>
                  <a:pt x="316077" y="3643695"/>
                </a:cubicBezTo>
                <a:cubicBezTo>
                  <a:pt x="315907" y="3653339"/>
                  <a:pt x="312214" y="3660926"/>
                  <a:pt x="304997" y="3666458"/>
                </a:cubicBezTo>
                <a:cubicBezTo>
                  <a:pt x="297781" y="3671989"/>
                  <a:pt x="288063" y="3674809"/>
                  <a:pt x="275844" y="3674918"/>
                </a:cubicBezTo>
                <a:cubicBezTo>
                  <a:pt x="265091" y="3674809"/>
                  <a:pt x="256474" y="3673299"/>
                  <a:pt x="249991" y="3670387"/>
                </a:cubicBezTo>
                <a:cubicBezTo>
                  <a:pt x="243508" y="3667475"/>
                  <a:pt x="240181" y="3663816"/>
                  <a:pt x="240011" y="3659411"/>
                </a:cubicBezTo>
                <a:cubicBezTo>
                  <a:pt x="240041" y="3657299"/>
                  <a:pt x="240714" y="3655657"/>
                  <a:pt x="242028" y="3654487"/>
                </a:cubicBezTo>
                <a:cubicBezTo>
                  <a:pt x="243342" y="3653317"/>
                  <a:pt x="245114" y="3652724"/>
                  <a:pt x="247345" y="3652706"/>
                </a:cubicBezTo>
                <a:cubicBezTo>
                  <a:pt x="249948" y="3652838"/>
                  <a:pt x="252612" y="3653762"/>
                  <a:pt x="255339" y="3655477"/>
                </a:cubicBezTo>
                <a:cubicBezTo>
                  <a:pt x="258066" y="3657192"/>
                  <a:pt x="261165" y="3658907"/>
                  <a:pt x="264637" y="3660622"/>
                </a:cubicBezTo>
                <a:cubicBezTo>
                  <a:pt x="268109" y="3662337"/>
                  <a:pt x="272263" y="3663261"/>
                  <a:pt x="277101" y="3663393"/>
                </a:cubicBezTo>
                <a:cubicBezTo>
                  <a:pt x="284754" y="3663236"/>
                  <a:pt x="290508" y="3661455"/>
                  <a:pt x="294363" y="3658050"/>
                </a:cubicBezTo>
                <a:cubicBezTo>
                  <a:pt x="298218" y="3654644"/>
                  <a:pt x="300147" y="3650558"/>
                  <a:pt x="300152" y="3645791"/>
                </a:cubicBezTo>
                <a:cubicBezTo>
                  <a:pt x="299848" y="3639505"/>
                  <a:pt x="296814" y="3634801"/>
                  <a:pt x="291049" y="3631679"/>
                </a:cubicBezTo>
                <a:cubicBezTo>
                  <a:pt x="285285" y="3628556"/>
                  <a:pt x="278609" y="3625752"/>
                  <a:pt x="271024" y="3623264"/>
                </a:cubicBezTo>
                <a:cubicBezTo>
                  <a:pt x="263439" y="3620777"/>
                  <a:pt x="256764" y="3617343"/>
                  <a:pt x="250999" y="3612963"/>
                </a:cubicBezTo>
                <a:cubicBezTo>
                  <a:pt x="245234" y="3608584"/>
                  <a:pt x="242200" y="3601994"/>
                  <a:pt x="241897" y="3593194"/>
                </a:cubicBezTo>
                <a:cubicBezTo>
                  <a:pt x="242080" y="3584030"/>
                  <a:pt x="245485" y="3577002"/>
                  <a:pt x="252112" y="3572108"/>
                </a:cubicBezTo>
                <a:cubicBezTo>
                  <a:pt x="258739" y="3567214"/>
                  <a:pt x="267488" y="3564743"/>
                  <a:pt x="278358" y="3564695"/>
                </a:cubicBezTo>
                <a:close/>
                <a:moveTo>
                  <a:pt x="1525905" y="3537034"/>
                </a:moveTo>
                <a:lnTo>
                  <a:pt x="1531144" y="3537034"/>
                </a:lnTo>
                <a:cubicBezTo>
                  <a:pt x="1532654" y="3537078"/>
                  <a:pt x="1533929" y="3537619"/>
                  <a:pt x="1534968" y="3538658"/>
                </a:cubicBezTo>
                <a:cubicBezTo>
                  <a:pt x="1536007" y="3539697"/>
                  <a:pt x="1536548" y="3540972"/>
                  <a:pt x="1536592" y="3542483"/>
                </a:cubicBezTo>
                <a:lnTo>
                  <a:pt x="1536592" y="3567419"/>
                </a:lnTo>
                <a:lnTo>
                  <a:pt x="1561109" y="3567419"/>
                </a:lnTo>
                <a:cubicBezTo>
                  <a:pt x="1562620" y="3567463"/>
                  <a:pt x="1563895" y="3568004"/>
                  <a:pt x="1564934" y="3569043"/>
                </a:cubicBezTo>
                <a:cubicBezTo>
                  <a:pt x="1565973" y="3570082"/>
                  <a:pt x="1566514" y="3571357"/>
                  <a:pt x="1566558" y="3572867"/>
                </a:cubicBezTo>
                <a:lnTo>
                  <a:pt x="1566558" y="3573706"/>
                </a:lnTo>
                <a:cubicBezTo>
                  <a:pt x="1566514" y="3575216"/>
                  <a:pt x="1565973" y="3576491"/>
                  <a:pt x="1564934" y="3577530"/>
                </a:cubicBezTo>
                <a:cubicBezTo>
                  <a:pt x="1563895" y="3578569"/>
                  <a:pt x="1562620" y="3579110"/>
                  <a:pt x="1561109" y="3579154"/>
                </a:cubicBezTo>
                <a:lnTo>
                  <a:pt x="1536592" y="3579154"/>
                </a:lnTo>
                <a:lnTo>
                  <a:pt x="1536592" y="3647048"/>
                </a:lnTo>
                <a:cubicBezTo>
                  <a:pt x="1536505" y="3651510"/>
                  <a:pt x="1537570" y="3655055"/>
                  <a:pt x="1539788" y="3657683"/>
                </a:cubicBezTo>
                <a:cubicBezTo>
                  <a:pt x="1542005" y="3660311"/>
                  <a:pt x="1545899" y="3661656"/>
                  <a:pt x="1551470" y="3661717"/>
                </a:cubicBezTo>
                <a:cubicBezTo>
                  <a:pt x="1554085" y="3661673"/>
                  <a:pt x="1556084" y="3661498"/>
                  <a:pt x="1557468" y="3661193"/>
                </a:cubicBezTo>
                <a:cubicBezTo>
                  <a:pt x="1558852" y="3660887"/>
                  <a:pt x="1560275" y="3660713"/>
                  <a:pt x="1561738" y="3660669"/>
                </a:cubicBezTo>
                <a:cubicBezTo>
                  <a:pt x="1562855" y="3660630"/>
                  <a:pt x="1563921" y="3661022"/>
                  <a:pt x="1564934" y="3661848"/>
                </a:cubicBezTo>
                <a:cubicBezTo>
                  <a:pt x="1565946" y="3662673"/>
                  <a:pt x="1566488" y="3664166"/>
                  <a:pt x="1566558" y="3666327"/>
                </a:cubicBezTo>
                <a:lnTo>
                  <a:pt x="1566558" y="3666955"/>
                </a:lnTo>
                <a:cubicBezTo>
                  <a:pt x="1566448" y="3669116"/>
                  <a:pt x="1565776" y="3670662"/>
                  <a:pt x="1564541" y="3671592"/>
                </a:cubicBezTo>
                <a:cubicBezTo>
                  <a:pt x="1563305" y="3672521"/>
                  <a:pt x="1562161" y="3673072"/>
                  <a:pt x="1561109" y="3673242"/>
                </a:cubicBezTo>
                <a:cubicBezTo>
                  <a:pt x="1559450" y="3673552"/>
                  <a:pt x="1557739" y="3673770"/>
                  <a:pt x="1555975" y="3673897"/>
                </a:cubicBezTo>
                <a:cubicBezTo>
                  <a:pt x="1554211" y="3674023"/>
                  <a:pt x="1552291" y="3674084"/>
                  <a:pt x="1550213" y="3674080"/>
                </a:cubicBezTo>
                <a:cubicBezTo>
                  <a:pt x="1540813" y="3674290"/>
                  <a:pt x="1533523" y="3672194"/>
                  <a:pt x="1528341" y="3667794"/>
                </a:cubicBezTo>
                <a:cubicBezTo>
                  <a:pt x="1523159" y="3663393"/>
                  <a:pt x="1520531" y="3655430"/>
                  <a:pt x="1520457" y="3643905"/>
                </a:cubicBezTo>
                <a:lnTo>
                  <a:pt x="1520457" y="3579154"/>
                </a:lnTo>
                <a:lnTo>
                  <a:pt x="1506417" y="3579154"/>
                </a:lnTo>
                <a:cubicBezTo>
                  <a:pt x="1504906" y="3579110"/>
                  <a:pt x="1503631" y="3578569"/>
                  <a:pt x="1502593" y="3577530"/>
                </a:cubicBezTo>
                <a:cubicBezTo>
                  <a:pt x="1501553" y="3576491"/>
                  <a:pt x="1501012" y="3575216"/>
                  <a:pt x="1500968" y="3573706"/>
                </a:cubicBezTo>
                <a:lnTo>
                  <a:pt x="1500968" y="3572867"/>
                </a:lnTo>
                <a:cubicBezTo>
                  <a:pt x="1501012" y="3571357"/>
                  <a:pt x="1501553" y="3570082"/>
                  <a:pt x="1502593" y="3569043"/>
                </a:cubicBezTo>
                <a:cubicBezTo>
                  <a:pt x="1503631" y="3568004"/>
                  <a:pt x="1504906" y="3567463"/>
                  <a:pt x="1506417" y="3567419"/>
                </a:cubicBezTo>
                <a:lnTo>
                  <a:pt x="1520457" y="3567419"/>
                </a:lnTo>
                <a:lnTo>
                  <a:pt x="1520457" y="3542483"/>
                </a:lnTo>
                <a:cubicBezTo>
                  <a:pt x="1520500" y="3540972"/>
                  <a:pt x="1521041" y="3539697"/>
                  <a:pt x="1522081" y="3538658"/>
                </a:cubicBezTo>
                <a:cubicBezTo>
                  <a:pt x="1523119" y="3537619"/>
                  <a:pt x="1524394" y="3537078"/>
                  <a:pt x="1525905" y="3537034"/>
                </a:cubicBezTo>
                <a:close/>
                <a:moveTo>
                  <a:pt x="354330" y="3537034"/>
                </a:moveTo>
                <a:lnTo>
                  <a:pt x="359569" y="3537034"/>
                </a:lnTo>
                <a:cubicBezTo>
                  <a:pt x="361079" y="3537078"/>
                  <a:pt x="362354" y="3537619"/>
                  <a:pt x="363393" y="3538658"/>
                </a:cubicBezTo>
                <a:cubicBezTo>
                  <a:pt x="364432" y="3539697"/>
                  <a:pt x="364973" y="3540972"/>
                  <a:pt x="365017" y="3542483"/>
                </a:cubicBezTo>
                <a:lnTo>
                  <a:pt x="365017" y="3567419"/>
                </a:lnTo>
                <a:lnTo>
                  <a:pt x="389534" y="3567419"/>
                </a:lnTo>
                <a:cubicBezTo>
                  <a:pt x="391045" y="3567463"/>
                  <a:pt x="392320" y="3568004"/>
                  <a:pt x="393359" y="3569043"/>
                </a:cubicBezTo>
                <a:cubicBezTo>
                  <a:pt x="394398" y="3570082"/>
                  <a:pt x="394939" y="3571357"/>
                  <a:pt x="394983" y="3572867"/>
                </a:cubicBezTo>
                <a:lnTo>
                  <a:pt x="394983" y="3573706"/>
                </a:lnTo>
                <a:cubicBezTo>
                  <a:pt x="394939" y="3575216"/>
                  <a:pt x="394398" y="3576491"/>
                  <a:pt x="393359" y="3577530"/>
                </a:cubicBezTo>
                <a:cubicBezTo>
                  <a:pt x="392320" y="3578569"/>
                  <a:pt x="391045" y="3579110"/>
                  <a:pt x="389534" y="3579154"/>
                </a:cubicBezTo>
                <a:lnTo>
                  <a:pt x="365017" y="3579154"/>
                </a:lnTo>
                <a:lnTo>
                  <a:pt x="365017" y="3647048"/>
                </a:lnTo>
                <a:cubicBezTo>
                  <a:pt x="364930" y="3651510"/>
                  <a:pt x="365995" y="3655055"/>
                  <a:pt x="368213" y="3657683"/>
                </a:cubicBezTo>
                <a:cubicBezTo>
                  <a:pt x="370430" y="3660311"/>
                  <a:pt x="374324" y="3661656"/>
                  <a:pt x="379895" y="3661717"/>
                </a:cubicBezTo>
                <a:cubicBezTo>
                  <a:pt x="382510" y="3661673"/>
                  <a:pt x="384509" y="3661498"/>
                  <a:pt x="385893" y="3661193"/>
                </a:cubicBezTo>
                <a:cubicBezTo>
                  <a:pt x="387277" y="3660887"/>
                  <a:pt x="388700" y="3660713"/>
                  <a:pt x="390163" y="3660669"/>
                </a:cubicBezTo>
                <a:cubicBezTo>
                  <a:pt x="391280" y="3660630"/>
                  <a:pt x="392346" y="3661022"/>
                  <a:pt x="393359" y="3661848"/>
                </a:cubicBezTo>
                <a:cubicBezTo>
                  <a:pt x="394371" y="3662673"/>
                  <a:pt x="394913" y="3664166"/>
                  <a:pt x="394983" y="3666327"/>
                </a:cubicBezTo>
                <a:lnTo>
                  <a:pt x="394983" y="3666955"/>
                </a:lnTo>
                <a:cubicBezTo>
                  <a:pt x="394873" y="3669116"/>
                  <a:pt x="394201" y="3670662"/>
                  <a:pt x="392966" y="3671592"/>
                </a:cubicBezTo>
                <a:cubicBezTo>
                  <a:pt x="391730" y="3672521"/>
                  <a:pt x="390586" y="3673072"/>
                  <a:pt x="389534" y="3673242"/>
                </a:cubicBezTo>
                <a:cubicBezTo>
                  <a:pt x="387875" y="3673552"/>
                  <a:pt x="386164" y="3673770"/>
                  <a:pt x="384400" y="3673897"/>
                </a:cubicBezTo>
                <a:cubicBezTo>
                  <a:pt x="382637" y="3674023"/>
                  <a:pt x="380716" y="3674084"/>
                  <a:pt x="378638" y="3674080"/>
                </a:cubicBezTo>
                <a:cubicBezTo>
                  <a:pt x="369238" y="3674290"/>
                  <a:pt x="361948" y="3672194"/>
                  <a:pt x="356766" y="3667794"/>
                </a:cubicBezTo>
                <a:cubicBezTo>
                  <a:pt x="351584" y="3663393"/>
                  <a:pt x="348956" y="3655430"/>
                  <a:pt x="348882" y="3643905"/>
                </a:cubicBezTo>
                <a:lnTo>
                  <a:pt x="348882" y="3579154"/>
                </a:lnTo>
                <a:lnTo>
                  <a:pt x="334842" y="3579154"/>
                </a:lnTo>
                <a:cubicBezTo>
                  <a:pt x="333331" y="3579110"/>
                  <a:pt x="332056" y="3578569"/>
                  <a:pt x="331017" y="3577530"/>
                </a:cubicBezTo>
                <a:cubicBezTo>
                  <a:pt x="329978" y="3576491"/>
                  <a:pt x="329437" y="3575216"/>
                  <a:pt x="329393" y="3573706"/>
                </a:cubicBezTo>
                <a:lnTo>
                  <a:pt x="329393" y="3572867"/>
                </a:lnTo>
                <a:cubicBezTo>
                  <a:pt x="329437" y="3571357"/>
                  <a:pt x="329978" y="3570082"/>
                  <a:pt x="331017" y="3569043"/>
                </a:cubicBezTo>
                <a:cubicBezTo>
                  <a:pt x="332056" y="3568004"/>
                  <a:pt x="333331" y="3567463"/>
                  <a:pt x="334842" y="3567419"/>
                </a:cubicBezTo>
                <a:lnTo>
                  <a:pt x="348882" y="3567419"/>
                </a:lnTo>
                <a:lnTo>
                  <a:pt x="348882" y="3542483"/>
                </a:lnTo>
                <a:cubicBezTo>
                  <a:pt x="348925" y="3540972"/>
                  <a:pt x="349467" y="3539697"/>
                  <a:pt x="350506" y="3538658"/>
                </a:cubicBezTo>
                <a:cubicBezTo>
                  <a:pt x="351545" y="3537619"/>
                  <a:pt x="352819" y="3537078"/>
                  <a:pt x="354330" y="3537034"/>
                </a:cubicBezTo>
                <a:close/>
                <a:moveTo>
                  <a:pt x="1591113" y="3526976"/>
                </a:moveTo>
                <a:cubicBezTo>
                  <a:pt x="1594326" y="3527054"/>
                  <a:pt x="1596963" y="3528155"/>
                  <a:pt x="1599023" y="3530276"/>
                </a:cubicBezTo>
                <a:cubicBezTo>
                  <a:pt x="1601084" y="3532398"/>
                  <a:pt x="1602149" y="3535070"/>
                  <a:pt x="1602219" y="3538292"/>
                </a:cubicBezTo>
                <a:cubicBezTo>
                  <a:pt x="1602149" y="3541513"/>
                  <a:pt x="1601084" y="3544185"/>
                  <a:pt x="1599023" y="3546307"/>
                </a:cubicBezTo>
                <a:cubicBezTo>
                  <a:pt x="1596963" y="3548429"/>
                  <a:pt x="1594326" y="3549529"/>
                  <a:pt x="1591113" y="3549607"/>
                </a:cubicBezTo>
                <a:cubicBezTo>
                  <a:pt x="1587891" y="3549529"/>
                  <a:pt x="1585219" y="3548429"/>
                  <a:pt x="1583098" y="3546307"/>
                </a:cubicBezTo>
                <a:cubicBezTo>
                  <a:pt x="1580976" y="3544185"/>
                  <a:pt x="1579876" y="3541513"/>
                  <a:pt x="1579797" y="3538292"/>
                </a:cubicBezTo>
                <a:cubicBezTo>
                  <a:pt x="1579876" y="3535070"/>
                  <a:pt x="1580976" y="3532398"/>
                  <a:pt x="1583098" y="3530276"/>
                </a:cubicBezTo>
                <a:cubicBezTo>
                  <a:pt x="1585219" y="3528155"/>
                  <a:pt x="1587891" y="3527054"/>
                  <a:pt x="1591113" y="3526976"/>
                </a:cubicBezTo>
                <a:close/>
                <a:moveTo>
                  <a:pt x="1350264" y="3526976"/>
                </a:moveTo>
                <a:lnTo>
                  <a:pt x="1355503" y="3526976"/>
                </a:lnTo>
                <a:cubicBezTo>
                  <a:pt x="1357013" y="3527020"/>
                  <a:pt x="1358288" y="3527561"/>
                  <a:pt x="1359327" y="3528600"/>
                </a:cubicBezTo>
                <a:cubicBezTo>
                  <a:pt x="1360366" y="3529639"/>
                  <a:pt x="1360907" y="3530914"/>
                  <a:pt x="1360951" y="3532424"/>
                </a:cubicBezTo>
                <a:lnTo>
                  <a:pt x="1360951" y="3666746"/>
                </a:lnTo>
                <a:cubicBezTo>
                  <a:pt x="1360907" y="3668256"/>
                  <a:pt x="1360366" y="3669531"/>
                  <a:pt x="1359327" y="3670570"/>
                </a:cubicBezTo>
                <a:cubicBezTo>
                  <a:pt x="1358288" y="3671609"/>
                  <a:pt x="1357013" y="3672151"/>
                  <a:pt x="1355503" y="3672194"/>
                </a:cubicBezTo>
                <a:lnTo>
                  <a:pt x="1350264" y="3672194"/>
                </a:lnTo>
                <a:cubicBezTo>
                  <a:pt x="1348753" y="3672151"/>
                  <a:pt x="1347479" y="3671609"/>
                  <a:pt x="1346439" y="3670570"/>
                </a:cubicBezTo>
                <a:cubicBezTo>
                  <a:pt x="1345401" y="3669531"/>
                  <a:pt x="1344859" y="3668256"/>
                  <a:pt x="1344815" y="3666746"/>
                </a:cubicBezTo>
                <a:lnTo>
                  <a:pt x="1344815" y="3532424"/>
                </a:lnTo>
                <a:cubicBezTo>
                  <a:pt x="1344859" y="3530914"/>
                  <a:pt x="1345401" y="3529639"/>
                  <a:pt x="1346439" y="3528600"/>
                </a:cubicBezTo>
                <a:cubicBezTo>
                  <a:pt x="1347479" y="3527561"/>
                  <a:pt x="1348753" y="3527020"/>
                  <a:pt x="1350264" y="3526976"/>
                </a:cubicBezTo>
                <a:close/>
                <a:moveTo>
                  <a:pt x="940689" y="3526976"/>
                </a:moveTo>
                <a:lnTo>
                  <a:pt x="945928" y="3526976"/>
                </a:lnTo>
                <a:cubicBezTo>
                  <a:pt x="947438" y="3527020"/>
                  <a:pt x="948713" y="3527561"/>
                  <a:pt x="949752" y="3528600"/>
                </a:cubicBezTo>
                <a:cubicBezTo>
                  <a:pt x="950791" y="3529639"/>
                  <a:pt x="951332" y="3530914"/>
                  <a:pt x="951376" y="3532424"/>
                </a:cubicBezTo>
                <a:lnTo>
                  <a:pt x="951376" y="3666746"/>
                </a:lnTo>
                <a:cubicBezTo>
                  <a:pt x="951332" y="3668256"/>
                  <a:pt x="950791" y="3669531"/>
                  <a:pt x="949752" y="3670570"/>
                </a:cubicBezTo>
                <a:cubicBezTo>
                  <a:pt x="948713" y="3671609"/>
                  <a:pt x="947438" y="3672151"/>
                  <a:pt x="945928" y="3672194"/>
                </a:cubicBezTo>
                <a:lnTo>
                  <a:pt x="940689" y="3672194"/>
                </a:lnTo>
                <a:cubicBezTo>
                  <a:pt x="939178" y="3672151"/>
                  <a:pt x="937904" y="3671609"/>
                  <a:pt x="936865" y="3670570"/>
                </a:cubicBezTo>
                <a:cubicBezTo>
                  <a:pt x="935826" y="3669531"/>
                  <a:pt x="935284" y="3668256"/>
                  <a:pt x="935240" y="3666746"/>
                </a:cubicBezTo>
                <a:lnTo>
                  <a:pt x="935240" y="3532424"/>
                </a:lnTo>
                <a:cubicBezTo>
                  <a:pt x="935284" y="3530914"/>
                  <a:pt x="935826" y="3529639"/>
                  <a:pt x="936865" y="3528600"/>
                </a:cubicBezTo>
                <a:cubicBezTo>
                  <a:pt x="937904" y="3527561"/>
                  <a:pt x="939178" y="3527020"/>
                  <a:pt x="940689" y="3526976"/>
                </a:cubicBezTo>
                <a:close/>
                <a:moveTo>
                  <a:pt x="826389" y="3526976"/>
                </a:moveTo>
                <a:lnTo>
                  <a:pt x="831628" y="3526976"/>
                </a:lnTo>
                <a:cubicBezTo>
                  <a:pt x="833138" y="3527020"/>
                  <a:pt x="834413" y="3527561"/>
                  <a:pt x="835452" y="3528600"/>
                </a:cubicBezTo>
                <a:cubicBezTo>
                  <a:pt x="836491" y="3529639"/>
                  <a:pt x="837032" y="3530914"/>
                  <a:pt x="837076" y="3532424"/>
                </a:cubicBezTo>
                <a:lnTo>
                  <a:pt x="837076" y="3574753"/>
                </a:lnTo>
                <a:cubicBezTo>
                  <a:pt x="839953" y="3572042"/>
                  <a:pt x="843943" y="3569711"/>
                  <a:pt x="849046" y="3567760"/>
                </a:cubicBezTo>
                <a:cubicBezTo>
                  <a:pt x="854150" y="3565808"/>
                  <a:pt x="860078" y="3564787"/>
                  <a:pt x="866832" y="3564695"/>
                </a:cubicBezTo>
                <a:cubicBezTo>
                  <a:pt x="881880" y="3564856"/>
                  <a:pt x="893379" y="3569615"/>
                  <a:pt x="901329" y="3578970"/>
                </a:cubicBezTo>
                <a:cubicBezTo>
                  <a:pt x="909279" y="3588326"/>
                  <a:pt x="913287" y="3601309"/>
                  <a:pt x="913352" y="3617921"/>
                </a:cubicBezTo>
                <a:cubicBezTo>
                  <a:pt x="913195" y="3635239"/>
                  <a:pt x="908951" y="3649008"/>
                  <a:pt x="900622" y="3659228"/>
                </a:cubicBezTo>
                <a:cubicBezTo>
                  <a:pt x="892292" y="3669448"/>
                  <a:pt x="880819" y="3674678"/>
                  <a:pt x="866203" y="3674918"/>
                </a:cubicBezTo>
                <a:cubicBezTo>
                  <a:pt x="859921" y="3674897"/>
                  <a:pt x="854202" y="3673945"/>
                  <a:pt x="849046" y="3672063"/>
                </a:cubicBezTo>
                <a:cubicBezTo>
                  <a:pt x="843891" y="3670181"/>
                  <a:pt x="839900" y="3667501"/>
                  <a:pt x="837076" y="3664022"/>
                </a:cubicBezTo>
                <a:lnTo>
                  <a:pt x="837076" y="3666746"/>
                </a:lnTo>
                <a:cubicBezTo>
                  <a:pt x="837032" y="3668256"/>
                  <a:pt x="836491" y="3669531"/>
                  <a:pt x="835452" y="3670570"/>
                </a:cubicBezTo>
                <a:cubicBezTo>
                  <a:pt x="834413" y="3671609"/>
                  <a:pt x="833138" y="3672151"/>
                  <a:pt x="831628" y="3672194"/>
                </a:cubicBezTo>
                <a:lnTo>
                  <a:pt x="826389" y="3672194"/>
                </a:lnTo>
                <a:cubicBezTo>
                  <a:pt x="824878" y="3672151"/>
                  <a:pt x="823603" y="3671609"/>
                  <a:pt x="822565" y="3670570"/>
                </a:cubicBezTo>
                <a:cubicBezTo>
                  <a:pt x="821525" y="3669531"/>
                  <a:pt x="820984" y="3668256"/>
                  <a:pt x="820941" y="3666746"/>
                </a:cubicBezTo>
                <a:lnTo>
                  <a:pt x="820941" y="3532424"/>
                </a:lnTo>
                <a:cubicBezTo>
                  <a:pt x="820984" y="3530914"/>
                  <a:pt x="821525" y="3529639"/>
                  <a:pt x="822565" y="3528600"/>
                </a:cubicBezTo>
                <a:cubicBezTo>
                  <a:pt x="823603" y="3527561"/>
                  <a:pt x="824878" y="3527020"/>
                  <a:pt x="826389" y="3526976"/>
                </a:cubicBezTo>
                <a:close/>
                <a:moveTo>
                  <a:pt x="543363" y="3526976"/>
                </a:moveTo>
                <a:cubicBezTo>
                  <a:pt x="546576" y="3527054"/>
                  <a:pt x="549213" y="3528155"/>
                  <a:pt x="551273" y="3530276"/>
                </a:cubicBezTo>
                <a:cubicBezTo>
                  <a:pt x="553334" y="3532398"/>
                  <a:pt x="554399" y="3535070"/>
                  <a:pt x="554469" y="3538292"/>
                </a:cubicBezTo>
                <a:cubicBezTo>
                  <a:pt x="554399" y="3541513"/>
                  <a:pt x="553334" y="3544185"/>
                  <a:pt x="551273" y="3546307"/>
                </a:cubicBezTo>
                <a:cubicBezTo>
                  <a:pt x="549213" y="3548429"/>
                  <a:pt x="546576" y="3549529"/>
                  <a:pt x="543363" y="3549607"/>
                </a:cubicBezTo>
                <a:cubicBezTo>
                  <a:pt x="540141" y="3549529"/>
                  <a:pt x="537469" y="3548429"/>
                  <a:pt x="535348" y="3546307"/>
                </a:cubicBezTo>
                <a:cubicBezTo>
                  <a:pt x="533226" y="3544185"/>
                  <a:pt x="532126" y="3541513"/>
                  <a:pt x="532047" y="3538292"/>
                </a:cubicBezTo>
                <a:cubicBezTo>
                  <a:pt x="532126" y="3535070"/>
                  <a:pt x="533226" y="3532398"/>
                  <a:pt x="535348" y="3530276"/>
                </a:cubicBezTo>
                <a:cubicBezTo>
                  <a:pt x="537469" y="3528155"/>
                  <a:pt x="540141" y="3527054"/>
                  <a:pt x="543363" y="3526976"/>
                </a:cubicBezTo>
                <a:close/>
                <a:moveTo>
                  <a:pt x="53226" y="3524252"/>
                </a:moveTo>
                <a:cubicBezTo>
                  <a:pt x="61589" y="3524274"/>
                  <a:pt x="69309" y="3524998"/>
                  <a:pt x="76385" y="3526425"/>
                </a:cubicBezTo>
                <a:cubicBezTo>
                  <a:pt x="83460" y="3527852"/>
                  <a:pt x="89162" y="3529849"/>
                  <a:pt x="93490" y="3532417"/>
                </a:cubicBezTo>
                <a:cubicBezTo>
                  <a:pt x="97818" y="3534984"/>
                  <a:pt x="100043" y="3537990"/>
                  <a:pt x="100165" y="3541435"/>
                </a:cubicBezTo>
                <a:cubicBezTo>
                  <a:pt x="100147" y="3543500"/>
                  <a:pt x="99501" y="3545290"/>
                  <a:pt x="98226" y="3546805"/>
                </a:cubicBezTo>
                <a:cubicBezTo>
                  <a:pt x="96952" y="3548319"/>
                  <a:pt x="95153" y="3549114"/>
                  <a:pt x="92830" y="3549188"/>
                </a:cubicBezTo>
                <a:cubicBezTo>
                  <a:pt x="89654" y="3549038"/>
                  <a:pt x="86368" y="3547988"/>
                  <a:pt x="82974" y="3546037"/>
                </a:cubicBezTo>
                <a:cubicBezTo>
                  <a:pt x="79580" y="3544087"/>
                  <a:pt x="75440" y="3542136"/>
                  <a:pt x="70556" y="3540185"/>
                </a:cubicBezTo>
                <a:cubicBezTo>
                  <a:pt x="65672" y="3538235"/>
                  <a:pt x="59406" y="3537184"/>
                  <a:pt x="51759" y="3537034"/>
                </a:cubicBezTo>
                <a:cubicBezTo>
                  <a:pt x="41849" y="3537222"/>
                  <a:pt x="34218" y="3539675"/>
                  <a:pt x="28865" y="3544395"/>
                </a:cubicBezTo>
                <a:cubicBezTo>
                  <a:pt x="23513" y="3549114"/>
                  <a:pt x="20806" y="3554973"/>
                  <a:pt x="20745" y="3561971"/>
                </a:cubicBezTo>
                <a:cubicBezTo>
                  <a:pt x="20969" y="3569543"/>
                  <a:pt x="23882" y="3575228"/>
                  <a:pt x="29484" y="3579025"/>
                </a:cubicBezTo>
                <a:cubicBezTo>
                  <a:pt x="35086" y="3582822"/>
                  <a:pt x="42033" y="3585818"/>
                  <a:pt x="50324" y="3588012"/>
                </a:cubicBezTo>
                <a:cubicBezTo>
                  <a:pt x="58615" y="3590206"/>
                  <a:pt x="66906" y="3592686"/>
                  <a:pt x="75196" y="3595450"/>
                </a:cubicBezTo>
                <a:cubicBezTo>
                  <a:pt x="83487" y="3598215"/>
                  <a:pt x="90434" y="3602350"/>
                  <a:pt x="96036" y="3607857"/>
                </a:cubicBezTo>
                <a:cubicBezTo>
                  <a:pt x="101638" y="3613364"/>
                  <a:pt x="104551" y="3621329"/>
                  <a:pt x="104775" y="3631751"/>
                </a:cubicBezTo>
                <a:cubicBezTo>
                  <a:pt x="104836" y="3643909"/>
                  <a:pt x="100418" y="3654064"/>
                  <a:pt x="91521" y="3662214"/>
                </a:cubicBezTo>
                <a:cubicBezTo>
                  <a:pt x="82624" y="3670365"/>
                  <a:pt x="68881" y="3674600"/>
                  <a:pt x="50292" y="3674918"/>
                </a:cubicBezTo>
                <a:cubicBezTo>
                  <a:pt x="35820" y="3674783"/>
                  <a:pt x="23902" y="3672853"/>
                  <a:pt x="14537" y="3669129"/>
                </a:cubicBezTo>
                <a:cubicBezTo>
                  <a:pt x="5173" y="3665406"/>
                  <a:pt x="327" y="3660699"/>
                  <a:pt x="0" y="3655011"/>
                </a:cubicBezTo>
                <a:cubicBezTo>
                  <a:pt x="22" y="3652689"/>
                  <a:pt x="711" y="3650890"/>
                  <a:pt x="2069" y="3649615"/>
                </a:cubicBezTo>
                <a:cubicBezTo>
                  <a:pt x="3427" y="3648340"/>
                  <a:pt x="5322" y="3647694"/>
                  <a:pt x="7753" y="3647677"/>
                </a:cubicBezTo>
                <a:cubicBezTo>
                  <a:pt x="10992" y="3647853"/>
                  <a:pt x="14410" y="3649084"/>
                  <a:pt x="18006" y="3651371"/>
                </a:cubicBezTo>
                <a:cubicBezTo>
                  <a:pt x="21602" y="3653658"/>
                  <a:pt x="26059" y="3655945"/>
                  <a:pt x="31378" y="3658232"/>
                </a:cubicBezTo>
                <a:cubicBezTo>
                  <a:pt x="36697" y="3660519"/>
                  <a:pt x="43560" y="3661750"/>
                  <a:pt x="51968" y="3661926"/>
                </a:cubicBezTo>
                <a:cubicBezTo>
                  <a:pt x="63720" y="3661656"/>
                  <a:pt x="72591" y="3658739"/>
                  <a:pt x="78581" y="3653178"/>
                </a:cubicBezTo>
                <a:cubicBezTo>
                  <a:pt x="84571" y="3647616"/>
                  <a:pt x="87574" y="3641032"/>
                  <a:pt x="87592" y="3633427"/>
                </a:cubicBezTo>
                <a:cubicBezTo>
                  <a:pt x="87367" y="3625728"/>
                  <a:pt x="84447" y="3619945"/>
                  <a:pt x="78831" y="3616078"/>
                </a:cubicBezTo>
                <a:cubicBezTo>
                  <a:pt x="73215" y="3612211"/>
                  <a:pt x="66251" y="3609181"/>
                  <a:pt x="57940" y="3606987"/>
                </a:cubicBezTo>
                <a:cubicBezTo>
                  <a:pt x="49628" y="3604793"/>
                  <a:pt x="41316" y="3602357"/>
                  <a:pt x="33005" y="3599676"/>
                </a:cubicBezTo>
                <a:cubicBezTo>
                  <a:pt x="24693" y="3596996"/>
                  <a:pt x="17729" y="3592994"/>
                  <a:pt x="12114" y="3587668"/>
                </a:cubicBezTo>
                <a:cubicBezTo>
                  <a:pt x="6498" y="3582343"/>
                  <a:pt x="3577" y="3574615"/>
                  <a:pt x="3353" y="3564485"/>
                </a:cubicBezTo>
                <a:cubicBezTo>
                  <a:pt x="3414" y="3552724"/>
                  <a:pt x="7692" y="3543137"/>
                  <a:pt x="16188" y="3535725"/>
                </a:cubicBezTo>
                <a:cubicBezTo>
                  <a:pt x="24683" y="3528312"/>
                  <a:pt x="37029" y="3524487"/>
                  <a:pt x="53226" y="3524252"/>
                </a:cubicBezTo>
                <a:close/>
                <a:moveTo>
                  <a:pt x="1337862" y="3360746"/>
                </a:moveTo>
                <a:cubicBezTo>
                  <a:pt x="1334881" y="3362265"/>
                  <a:pt x="1331781" y="3363365"/>
                  <a:pt x="1328563" y="3364046"/>
                </a:cubicBezTo>
                <a:cubicBezTo>
                  <a:pt x="1325346" y="3364727"/>
                  <a:pt x="1321041" y="3365303"/>
                  <a:pt x="1315650" y="3365775"/>
                </a:cubicBezTo>
                <a:cubicBezTo>
                  <a:pt x="1305111" y="3366678"/>
                  <a:pt x="1297690" y="3368695"/>
                  <a:pt x="1293385" y="3371826"/>
                </a:cubicBezTo>
                <a:cubicBezTo>
                  <a:pt x="1289081" y="3374956"/>
                  <a:pt x="1287003" y="3380064"/>
                  <a:pt x="1287151" y="3387149"/>
                </a:cubicBezTo>
                <a:cubicBezTo>
                  <a:pt x="1287121" y="3394453"/>
                  <a:pt x="1289225" y="3399491"/>
                  <a:pt x="1293464" y="3402263"/>
                </a:cubicBezTo>
                <a:cubicBezTo>
                  <a:pt x="1297703" y="3405035"/>
                  <a:pt x="1304260" y="3406353"/>
                  <a:pt x="1313135" y="3406218"/>
                </a:cubicBezTo>
                <a:cubicBezTo>
                  <a:pt x="1320243" y="3406240"/>
                  <a:pt x="1326197" y="3405149"/>
                  <a:pt x="1330999" y="3402944"/>
                </a:cubicBezTo>
                <a:cubicBezTo>
                  <a:pt x="1335802" y="3400739"/>
                  <a:pt x="1338299" y="3397290"/>
                  <a:pt x="1338491" y="3392597"/>
                </a:cubicBezTo>
                <a:lnTo>
                  <a:pt x="1338491" y="3360746"/>
                </a:lnTo>
                <a:close/>
                <a:moveTo>
                  <a:pt x="878548" y="3319045"/>
                </a:moveTo>
                <a:cubicBezTo>
                  <a:pt x="869659" y="3319368"/>
                  <a:pt x="862552" y="3322808"/>
                  <a:pt x="857226" y="3329366"/>
                </a:cubicBezTo>
                <a:cubicBezTo>
                  <a:pt x="851900" y="3335923"/>
                  <a:pt x="848879" y="3343659"/>
                  <a:pt x="848163" y="3352573"/>
                </a:cubicBezTo>
                <a:lnTo>
                  <a:pt x="905789" y="3352573"/>
                </a:lnTo>
                <a:cubicBezTo>
                  <a:pt x="905636" y="3342100"/>
                  <a:pt x="903061" y="3333919"/>
                  <a:pt x="898062" y="3328030"/>
                </a:cubicBezTo>
                <a:cubicBezTo>
                  <a:pt x="893063" y="3322140"/>
                  <a:pt x="886559" y="3319146"/>
                  <a:pt x="878548" y="3319045"/>
                </a:cubicBezTo>
                <a:close/>
                <a:moveTo>
                  <a:pt x="430873" y="3319045"/>
                </a:moveTo>
                <a:cubicBezTo>
                  <a:pt x="421984" y="3319368"/>
                  <a:pt x="414877" y="3322808"/>
                  <a:pt x="409551" y="3329366"/>
                </a:cubicBezTo>
                <a:cubicBezTo>
                  <a:pt x="404225" y="3335923"/>
                  <a:pt x="401204" y="3343659"/>
                  <a:pt x="400488" y="3352573"/>
                </a:cubicBezTo>
                <a:lnTo>
                  <a:pt x="458114" y="3352573"/>
                </a:lnTo>
                <a:cubicBezTo>
                  <a:pt x="457961" y="3342100"/>
                  <a:pt x="455386" y="3333919"/>
                  <a:pt x="450387" y="3328030"/>
                </a:cubicBezTo>
                <a:cubicBezTo>
                  <a:pt x="445388" y="3322140"/>
                  <a:pt x="438884" y="3319146"/>
                  <a:pt x="430873" y="3319045"/>
                </a:cubicBezTo>
                <a:close/>
                <a:moveTo>
                  <a:pt x="164173" y="3319045"/>
                </a:moveTo>
                <a:cubicBezTo>
                  <a:pt x="155284" y="3319368"/>
                  <a:pt x="148177" y="3322808"/>
                  <a:pt x="142851" y="3329366"/>
                </a:cubicBezTo>
                <a:cubicBezTo>
                  <a:pt x="137525" y="3335923"/>
                  <a:pt x="134504" y="3343659"/>
                  <a:pt x="133788" y="3352573"/>
                </a:cubicBezTo>
                <a:lnTo>
                  <a:pt x="191414" y="3352573"/>
                </a:lnTo>
                <a:cubicBezTo>
                  <a:pt x="191261" y="3342100"/>
                  <a:pt x="188686" y="3333919"/>
                  <a:pt x="183687" y="3328030"/>
                </a:cubicBezTo>
                <a:cubicBezTo>
                  <a:pt x="178688" y="3322140"/>
                  <a:pt x="172184" y="3319146"/>
                  <a:pt x="164173" y="3319045"/>
                </a:cubicBezTo>
                <a:close/>
                <a:moveTo>
                  <a:pt x="1131189" y="3310244"/>
                </a:moveTo>
                <a:lnTo>
                  <a:pt x="1136427" y="3310244"/>
                </a:lnTo>
                <a:cubicBezTo>
                  <a:pt x="1137938" y="3310288"/>
                  <a:pt x="1139213" y="3310829"/>
                  <a:pt x="1140252" y="3311868"/>
                </a:cubicBezTo>
                <a:cubicBezTo>
                  <a:pt x="1141291" y="3312907"/>
                  <a:pt x="1141832" y="3314182"/>
                  <a:pt x="1141876" y="3315692"/>
                </a:cubicBezTo>
                <a:lnTo>
                  <a:pt x="1141876" y="3409571"/>
                </a:lnTo>
                <a:cubicBezTo>
                  <a:pt x="1141832" y="3411081"/>
                  <a:pt x="1141291" y="3412356"/>
                  <a:pt x="1140252" y="3413395"/>
                </a:cubicBezTo>
                <a:cubicBezTo>
                  <a:pt x="1139213" y="3414434"/>
                  <a:pt x="1137938" y="3414976"/>
                  <a:pt x="1136427" y="3415019"/>
                </a:cubicBezTo>
                <a:lnTo>
                  <a:pt x="1131189" y="3415019"/>
                </a:lnTo>
                <a:cubicBezTo>
                  <a:pt x="1129678" y="3414976"/>
                  <a:pt x="1128403" y="3414434"/>
                  <a:pt x="1127365" y="3413395"/>
                </a:cubicBezTo>
                <a:cubicBezTo>
                  <a:pt x="1126325" y="3412356"/>
                  <a:pt x="1125784" y="3411081"/>
                  <a:pt x="1125741" y="3409571"/>
                </a:cubicBezTo>
                <a:lnTo>
                  <a:pt x="1125741" y="3315692"/>
                </a:lnTo>
                <a:cubicBezTo>
                  <a:pt x="1125784" y="3314182"/>
                  <a:pt x="1126325" y="3312907"/>
                  <a:pt x="1127365" y="3311868"/>
                </a:cubicBezTo>
                <a:cubicBezTo>
                  <a:pt x="1128403" y="3310829"/>
                  <a:pt x="1129678" y="3310288"/>
                  <a:pt x="1131189" y="3310244"/>
                </a:cubicBezTo>
                <a:close/>
                <a:moveTo>
                  <a:pt x="232581" y="3310244"/>
                </a:moveTo>
                <a:lnTo>
                  <a:pt x="239077" y="3310244"/>
                </a:lnTo>
                <a:cubicBezTo>
                  <a:pt x="240531" y="3310301"/>
                  <a:pt x="241657" y="3310869"/>
                  <a:pt x="242456" y="3311947"/>
                </a:cubicBezTo>
                <a:cubicBezTo>
                  <a:pt x="243255" y="3313025"/>
                  <a:pt x="243805" y="3314274"/>
                  <a:pt x="244107" y="3315692"/>
                </a:cubicBezTo>
                <a:lnTo>
                  <a:pt x="264852" y="3397836"/>
                </a:lnTo>
                <a:lnTo>
                  <a:pt x="265481" y="3397836"/>
                </a:lnTo>
                <a:lnTo>
                  <a:pt x="288531" y="3317788"/>
                </a:lnTo>
                <a:cubicBezTo>
                  <a:pt x="289260" y="3315400"/>
                  <a:pt x="290369" y="3313680"/>
                  <a:pt x="291858" y="3312628"/>
                </a:cubicBezTo>
                <a:cubicBezTo>
                  <a:pt x="293346" y="3311576"/>
                  <a:pt x="295241" y="3311060"/>
                  <a:pt x="297542" y="3311082"/>
                </a:cubicBezTo>
                <a:cubicBezTo>
                  <a:pt x="299755" y="3311074"/>
                  <a:pt x="301615" y="3311615"/>
                  <a:pt x="303121" y="3312706"/>
                </a:cubicBezTo>
                <a:cubicBezTo>
                  <a:pt x="304627" y="3313798"/>
                  <a:pt x="305701" y="3315491"/>
                  <a:pt x="306343" y="3317788"/>
                </a:cubicBezTo>
                <a:lnTo>
                  <a:pt x="327298" y="3397836"/>
                </a:lnTo>
                <a:lnTo>
                  <a:pt x="327927" y="3397836"/>
                </a:lnTo>
                <a:lnTo>
                  <a:pt x="350977" y="3315692"/>
                </a:lnTo>
                <a:cubicBezTo>
                  <a:pt x="351405" y="3314274"/>
                  <a:pt x="352121" y="3313025"/>
                  <a:pt x="353125" y="3311947"/>
                </a:cubicBezTo>
                <a:cubicBezTo>
                  <a:pt x="354129" y="3310869"/>
                  <a:pt x="355369" y="3310301"/>
                  <a:pt x="356844" y="3310244"/>
                </a:cubicBezTo>
                <a:lnTo>
                  <a:pt x="361035" y="3310244"/>
                </a:lnTo>
                <a:cubicBezTo>
                  <a:pt x="362904" y="3310257"/>
                  <a:pt x="364249" y="3310650"/>
                  <a:pt x="365069" y="3311423"/>
                </a:cubicBezTo>
                <a:cubicBezTo>
                  <a:pt x="365890" y="3312195"/>
                  <a:pt x="366292" y="3313270"/>
                  <a:pt x="366274" y="3314645"/>
                </a:cubicBezTo>
                <a:cubicBezTo>
                  <a:pt x="366239" y="3315518"/>
                  <a:pt x="366100" y="3316496"/>
                  <a:pt x="365855" y="3317578"/>
                </a:cubicBezTo>
                <a:lnTo>
                  <a:pt x="337566" y="3408313"/>
                </a:lnTo>
                <a:cubicBezTo>
                  <a:pt x="336540" y="3411614"/>
                  <a:pt x="335134" y="3413919"/>
                  <a:pt x="333349" y="3415229"/>
                </a:cubicBezTo>
                <a:cubicBezTo>
                  <a:pt x="331563" y="3416538"/>
                  <a:pt x="329267" y="3417167"/>
                  <a:pt x="326460" y="3417115"/>
                </a:cubicBezTo>
                <a:cubicBezTo>
                  <a:pt x="323941" y="3417206"/>
                  <a:pt x="321802" y="3416656"/>
                  <a:pt x="320042" y="3415464"/>
                </a:cubicBezTo>
                <a:cubicBezTo>
                  <a:pt x="318283" y="3414273"/>
                  <a:pt x="316930" y="3411889"/>
                  <a:pt x="315982" y="3408313"/>
                </a:cubicBezTo>
                <a:lnTo>
                  <a:pt x="296913" y="3336438"/>
                </a:lnTo>
                <a:lnTo>
                  <a:pt x="296075" y="3336438"/>
                </a:lnTo>
                <a:lnTo>
                  <a:pt x="275120" y="3408313"/>
                </a:lnTo>
                <a:cubicBezTo>
                  <a:pt x="274199" y="3411431"/>
                  <a:pt x="272845" y="3413683"/>
                  <a:pt x="271060" y="3415071"/>
                </a:cubicBezTo>
                <a:cubicBezTo>
                  <a:pt x="269274" y="3416460"/>
                  <a:pt x="266926" y="3417141"/>
                  <a:pt x="264014" y="3417115"/>
                </a:cubicBezTo>
                <a:cubicBezTo>
                  <a:pt x="261294" y="3417180"/>
                  <a:pt x="259033" y="3416578"/>
                  <a:pt x="257230" y="3415307"/>
                </a:cubicBezTo>
                <a:cubicBezTo>
                  <a:pt x="255427" y="3414037"/>
                  <a:pt x="254056" y="3411706"/>
                  <a:pt x="253117" y="3408313"/>
                </a:cubicBezTo>
                <a:lnTo>
                  <a:pt x="227762" y="3317578"/>
                </a:lnTo>
                <a:cubicBezTo>
                  <a:pt x="227517" y="3316566"/>
                  <a:pt x="227377" y="3315657"/>
                  <a:pt x="227343" y="3314854"/>
                </a:cubicBezTo>
                <a:cubicBezTo>
                  <a:pt x="227325" y="3313470"/>
                  <a:pt x="227727" y="3312361"/>
                  <a:pt x="228547" y="3311528"/>
                </a:cubicBezTo>
                <a:cubicBezTo>
                  <a:pt x="229368" y="3310694"/>
                  <a:pt x="230713" y="3310266"/>
                  <a:pt x="232581" y="3310244"/>
                </a:cubicBezTo>
                <a:close/>
                <a:moveTo>
                  <a:pt x="1468983" y="3307520"/>
                </a:moveTo>
                <a:cubicBezTo>
                  <a:pt x="1479457" y="3307642"/>
                  <a:pt x="1487638" y="3309022"/>
                  <a:pt x="1493527" y="3311659"/>
                </a:cubicBezTo>
                <a:cubicBezTo>
                  <a:pt x="1499416" y="3314295"/>
                  <a:pt x="1502411" y="3317456"/>
                  <a:pt x="1502511" y="3321141"/>
                </a:cubicBezTo>
                <a:cubicBezTo>
                  <a:pt x="1502477" y="3323062"/>
                  <a:pt x="1501865" y="3324616"/>
                  <a:pt x="1500678" y="3325803"/>
                </a:cubicBezTo>
                <a:cubicBezTo>
                  <a:pt x="1499490" y="3326991"/>
                  <a:pt x="1497936" y="3327602"/>
                  <a:pt x="1496015" y="3327637"/>
                </a:cubicBezTo>
                <a:cubicBezTo>
                  <a:pt x="1493391" y="3327531"/>
                  <a:pt x="1490910" y="3326788"/>
                  <a:pt x="1488572" y="3325409"/>
                </a:cubicBezTo>
                <a:cubicBezTo>
                  <a:pt x="1486235" y="3324030"/>
                  <a:pt x="1483444" y="3322652"/>
                  <a:pt x="1480198" y="3321273"/>
                </a:cubicBezTo>
                <a:cubicBezTo>
                  <a:pt x="1476953" y="3319894"/>
                  <a:pt x="1472656" y="3319151"/>
                  <a:pt x="1467307" y="3319045"/>
                </a:cubicBezTo>
                <a:cubicBezTo>
                  <a:pt x="1461343" y="3319137"/>
                  <a:pt x="1456559" y="3320578"/>
                  <a:pt x="1452953" y="3323367"/>
                </a:cubicBezTo>
                <a:cubicBezTo>
                  <a:pt x="1449347" y="3326157"/>
                  <a:pt x="1447496" y="3329745"/>
                  <a:pt x="1447400" y="3334133"/>
                </a:cubicBezTo>
                <a:cubicBezTo>
                  <a:pt x="1447709" y="3339908"/>
                  <a:pt x="1450797" y="3344296"/>
                  <a:pt x="1456666" y="3347299"/>
                </a:cubicBezTo>
                <a:cubicBezTo>
                  <a:pt x="1462534" y="3350300"/>
                  <a:pt x="1469329" y="3353098"/>
                  <a:pt x="1477051" y="3355690"/>
                </a:cubicBezTo>
                <a:cubicBezTo>
                  <a:pt x="1484773" y="3358283"/>
                  <a:pt x="1491568" y="3361853"/>
                  <a:pt x="1497436" y="3366400"/>
                </a:cubicBezTo>
                <a:cubicBezTo>
                  <a:pt x="1503305" y="3370948"/>
                  <a:pt x="1506393" y="3377654"/>
                  <a:pt x="1506702" y="3386520"/>
                </a:cubicBezTo>
                <a:cubicBezTo>
                  <a:pt x="1506532" y="3396164"/>
                  <a:pt x="1502839" y="3403751"/>
                  <a:pt x="1495622" y="3409283"/>
                </a:cubicBezTo>
                <a:cubicBezTo>
                  <a:pt x="1488406" y="3414814"/>
                  <a:pt x="1478688" y="3417634"/>
                  <a:pt x="1466469" y="3417743"/>
                </a:cubicBezTo>
                <a:cubicBezTo>
                  <a:pt x="1455716" y="3417634"/>
                  <a:pt x="1447099" y="3416124"/>
                  <a:pt x="1440616" y="3413212"/>
                </a:cubicBezTo>
                <a:cubicBezTo>
                  <a:pt x="1434133" y="3410300"/>
                  <a:pt x="1430806" y="3406641"/>
                  <a:pt x="1430636" y="3402236"/>
                </a:cubicBezTo>
                <a:cubicBezTo>
                  <a:pt x="1430666" y="3400124"/>
                  <a:pt x="1431339" y="3398482"/>
                  <a:pt x="1432653" y="3397312"/>
                </a:cubicBezTo>
                <a:cubicBezTo>
                  <a:pt x="1433967" y="3396142"/>
                  <a:pt x="1435739" y="3395549"/>
                  <a:pt x="1437970" y="3395531"/>
                </a:cubicBezTo>
                <a:cubicBezTo>
                  <a:pt x="1440573" y="3395663"/>
                  <a:pt x="1443237" y="3396587"/>
                  <a:pt x="1445964" y="3398302"/>
                </a:cubicBezTo>
                <a:cubicBezTo>
                  <a:pt x="1448691" y="3400017"/>
                  <a:pt x="1451790" y="3401732"/>
                  <a:pt x="1455262" y="3403447"/>
                </a:cubicBezTo>
                <a:cubicBezTo>
                  <a:pt x="1458733" y="3405162"/>
                  <a:pt x="1462888" y="3406086"/>
                  <a:pt x="1467726" y="3406218"/>
                </a:cubicBezTo>
                <a:cubicBezTo>
                  <a:pt x="1475379" y="3406061"/>
                  <a:pt x="1481133" y="3404280"/>
                  <a:pt x="1484988" y="3400875"/>
                </a:cubicBezTo>
                <a:cubicBezTo>
                  <a:pt x="1488843" y="3397469"/>
                  <a:pt x="1490772" y="3393383"/>
                  <a:pt x="1490777" y="3388616"/>
                </a:cubicBezTo>
                <a:cubicBezTo>
                  <a:pt x="1490473" y="3382330"/>
                  <a:pt x="1487439" y="3377626"/>
                  <a:pt x="1481674" y="3374504"/>
                </a:cubicBezTo>
                <a:cubicBezTo>
                  <a:pt x="1475909" y="3371381"/>
                  <a:pt x="1469235" y="3368577"/>
                  <a:pt x="1461649" y="3366089"/>
                </a:cubicBezTo>
                <a:cubicBezTo>
                  <a:pt x="1454064" y="3363602"/>
                  <a:pt x="1447389" y="3360168"/>
                  <a:pt x="1441624" y="3355788"/>
                </a:cubicBezTo>
                <a:cubicBezTo>
                  <a:pt x="1435859" y="3351409"/>
                  <a:pt x="1432825" y="3344819"/>
                  <a:pt x="1432522" y="3336019"/>
                </a:cubicBezTo>
                <a:cubicBezTo>
                  <a:pt x="1432705" y="3326855"/>
                  <a:pt x="1436110" y="3319827"/>
                  <a:pt x="1442737" y="3314933"/>
                </a:cubicBezTo>
                <a:cubicBezTo>
                  <a:pt x="1449364" y="3310039"/>
                  <a:pt x="1458113" y="3307568"/>
                  <a:pt x="1468983" y="3307520"/>
                </a:cubicBezTo>
                <a:close/>
                <a:moveTo>
                  <a:pt x="1315021" y="3307520"/>
                </a:moveTo>
                <a:cubicBezTo>
                  <a:pt x="1328398" y="3307564"/>
                  <a:pt x="1338316" y="3310305"/>
                  <a:pt x="1344777" y="3315745"/>
                </a:cubicBezTo>
                <a:cubicBezTo>
                  <a:pt x="1351239" y="3321184"/>
                  <a:pt x="1354452" y="3329060"/>
                  <a:pt x="1354417" y="3339372"/>
                </a:cubicBezTo>
                <a:lnTo>
                  <a:pt x="1354417" y="3409571"/>
                </a:lnTo>
                <a:cubicBezTo>
                  <a:pt x="1354373" y="3411081"/>
                  <a:pt x="1353832" y="3412356"/>
                  <a:pt x="1352793" y="3413395"/>
                </a:cubicBezTo>
                <a:cubicBezTo>
                  <a:pt x="1351754" y="3414434"/>
                  <a:pt x="1350479" y="3414976"/>
                  <a:pt x="1348968" y="3415019"/>
                </a:cubicBezTo>
                <a:lnTo>
                  <a:pt x="1343730" y="3415019"/>
                </a:lnTo>
                <a:cubicBezTo>
                  <a:pt x="1342219" y="3414976"/>
                  <a:pt x="1340945" y="3414434"/>
                  <a:pt x="1339905" y="3413395"/>
                </a:cubicBezTo>
                <a:cubicBezTo>
                  <a:pt x="1338866" y="3412356"/>
                  <a:pt x="1338325" y="3411081"/>
                  <a:pt x="1338281" y="3409571"/>
                </a:cubicBezTo>
                <a:lnTo>
                  <a:pt x="1338281" y="3406847"/>
                </a:lnTo>
                <a:cubicBezTo>
                  <a:pt x="1335535" y="3410235"/>
                  <a:pt x="1331545" y="3412889"/>
                  <a:pt x="1326311" y="3414810"/>
                </a:cubicBezTo>
                <a:cubicBezTo>
                  <a:pt x="1321077" y="3416730"/>
                  <a:pt x="1314729" y="3417708"/>
                  <a:pt x="1307268" y="3417743"/>
                </a:cubicBezTo>
                <a:cubicBezTo>
                  <a:pt x="1295572" y="3417839"/>
                  <a:pt x="1286588" y="3415552"/>
                  <a:pt x="1280315" y="3410880"/>
                </a:cubicBezTo>
                <a:cubicBezTo>
                  <a:pt x="1274041" y="3406209"/>
                  <a:pt x="1270872" y="3398578"/>
                  <a:pt x="1270806" y="3387987"/>
                </a:cubicBezTo>
                <a:cubicBezTo>
                  <a:pt x="1270531" y="3377021"/>
                  <a:pt x="1273753" y="3369145"/>
                  <a:pt x="1280472" y="3364360"/>
                </a:cubicBezTo>
                <a:cubicBezTo>
                  <a:pt x="1287191" y="3359576"/>
                  <a:pt x="1299056" y="3356415"/>
                  <a:pt x="1316069" y="3354878"/>
                </a:cubicBezTo>
                <a:cubicBezTo>
                  <a:pt x="1325089" y="3354097"/>
                  <a:pt x="1331200" y="3352988"/>
                  <a:pt x="1334405" y="3351552"/>
                </a:cubicBezTo>
                <a:cubicBezTo>
                  <a:pt x="1337609" y="3350115"/>
                  <a:pt x="1339111" y="3347383"/>
                  <a:pt x="1338910" y="3343353"/>
                </a:cubicBezTo>
                <a:lnTo>
                  <a:pt x="1338910" y="3339162"/>
                </a:lnTo>
                <a:cubicBezTo>
                  <a:pt x="1338975" y="3332731"/>
                  <a:pt x="1337116" y="3327781"/>
                  <a:pt x="1333331" y="3324310"/>
                </a:cubicBezTo>
                <a:cubicBezTo>
                  <a:pt x="1329546" y="3320839"/>
                  <a:pt x="1323443" y="3319085"/>
                  <a:pt x="1315021" y="3319045"/>
                </a:cubicBezTo>
                <a:cubicBezTo>
                  <a:pt x="1309687" y="3319156"/>
                  <a:pt x="1305082" y="3319935"/>
                  <a:pt x="1301207" y="3321381"/>
                </a:cubicBezTo>
                <a:cubicBezTo>
                  <a:pt x="1297331" y="3322827"/>
                  <a:pt x="1293921" y="3324274"/>
                  <a:pt x="1290977" y="3325720"/>
                </a:cubicBezTo>
                <a:cubicBezTo>
                  <a:pt x="1288033" y="3327166"/>
                  <a:pt x="1285291" y="3327944"/>
                  <a:pt x="1282751" y="3328056"/>
                </a:cubicBezTo>
                <a:cubicBezTo>
                  <a:pt x="1281031" y="3328043"/>
                  <a:pt x="1279599" y="3327493"/>
                  <a:pt x="1278455" y="3326406"/>
                </a:cubicBezTo>
                <a:cubicBezTo>
                  <a:pt x="1277311" y="3325318"/>
                  <a:pt x="1276717" y="3323773"/>
                  <a:pt x="1276674" y="3321769"/>
                </a:cubicBezTo>
                <a:cubicBezTo>
                  <a:pt x="1276883" y="3317600"/>
                  <a:pt x="1280498" y="3314204"/>
                  <a:pt x="1287518" y="3311580"/>
                </a:cubicBezTo>
                <a:cubicBezTo>
                  <a:pt x="1294538" y="3308956"/>
                  <a:pt x="1303706" y="3307603"/>
                  <a:pt x="1315021" y="3307520"/>
                </a:cubicBezTo>
                <a:close/>
                <a:moveTo>
                  <a:pt x="1224381" y="3307520"/>
                </a:moveTo>
                <a:cubicBezTo>
                  <a:pt x="1234427" y="3307642"/>
                  <a:pt x="1242259" y="3309022"/>
                  <a:pt x="1247877" y="3311659"/>
                </a:cubicBezTo>
                <a:cubicBezTo>
                  <a:pt x="1253496" y="3314295"/>
                  <a:pt x="1256351" y="3317456"/>
                  <a:pt x="1256443" y="3321141"/>
                </a:cubicBezTo>
                <a:cubicBezTo>
                  <a:pt x="1256408" y="3323062"/>
                  <a:pt x="1255797" y="3324616"/>
                  <a:pt x="1254609" y="3325803"/>
                </a:cubicBezTo>
                <a:cubicBezTo>
                  <a:pt x="1253422" y="3326991"/>
                  <a:pt x="1251867" y="3327602"/>
                  <a:pt x="1249947" y="3327637"/>
                </a:cubicBezTo>
                <a:cubicBezTo>
                  <a:pt x="1246493" y="3327296"/>
                  <a:pt x="1243027" y="3325934"/>
                  <a:pt x="1239548" y="3323551"/>
                </a:cubicBezTo>
                <a:cubicBezTo>
                  <a:pt x="1236068" y="3321167"/>
                  <a:pt x="1230663" y="3319805"/>
                  <a:pt x="1223334" y="3319464"/>
                </a:cubicBezTo>
                <a:cubicBezTo>
                  <a:pt x="1215734" y="3319622"/>
                  <a:pt x="1209489" y="3321844"/>
                  <a:pt x="1204598" y="3326131"/>
                </a:cubicBezTo>
                <a:cubicBezTo>
                  <a:pt x="1199707" y="3330418"/>
                  <a:pt x="1196086" y="3335822"/>
                  <a:pt x="1193733" y="3342344"/>
                </a:cubicBezTo>
                <a:cubicBezTo>
                  <a:pt x="1191380" y="3348866"/>
                  <a:pt x="1190211" y="3355559"/>
                  <a:pt x="1190225" y="3362422"/>
                </a:cubicBezTo>
                <a:cubicBezTo>
                  <a:pt x="1190487" y="3375964"/>
                  <a:pt x="1193735" y="3386546"/>
                  <a:pt x="1199969" y="3394169"/>
                </a:cubicBezTo>
                <a:cubicBezTo>
                  <a:pt x="1206203" y="3401791"/>
                  <a:pt x="1213851" y="3405668"/>
                  <a:pt x="1222915" y="3405799"/>
                </a:cubicBezTo>
                <a:cubicBezTo>
                  <a:pt x="1228477" y="3405688"/>
                  <a:pt x="1232906" y="3404909"/>
                  <a:pt x="1236202" y="3403463"/>
                </a:cubicBezTo>
                <a:cubicBezTo>
                  <a:pt x="1239497" y="3402017"/>
                  <a:pt x="1242235" y="3400571"/>
                  <a:pt x="1244413" y="3399124"/>
                </a:cubicBezTo>
                <a:cubicBezTo>
                  <a:pt x="1246591" y="3397678"/>
                  <a:pt x="1248785" y="3396900"/>
                  <a:pt x="1250994" y="3396788"/>
                </a:cubicBezTo>
                <a:cubicBezTo>
                  <a:pt x="1253007" y="3396810"/>
                  <a:pt x="1254587" y="3397395"/>
                  <a:pt x="1255735" y="3398543"/>
                </a:cubicBezTo>
                <a:cubicBezTo>
                  <a:pt x="1256883" y="3399691"/>
                  <a:pt x="1257469" y="3401272"/>
                  <a:pt x="1257490" y="3403284"/>
                </a:cubicBezTo>
                <a:cubicBezTo>
                  <a:pt x="1257329" y="3407004"/>
                  <a:pt x="1254194" y="3410304"/>
                  <a:pt x="1248087" y="3413186"/>
                </a:cubicBezTo>
                <a:cubicBezTo>
                  <a:pt x="1241979" y="3416067"/>
                  <a:pt x="1233868" y="3417586"/>
                  <a:pt x="1223753" y="3417743"/>
                </a:cubicBezTo>
                <a:cubicBezTo>
                  <a:pt x="1208591" y="3417595"/>
                  <a:pt x="1196638" y="3412705"/>
                  <a:pt x="1187893" y="3403075"/>
                </a:cubicBezTo>
                <a:cubicBezTo>
                  <a:pt x="1179149" y="3393444"/>
                  <a:pt x="1174687" y="3379963"/>
                  <a:pt x="1174509" y="3362632"/>
                </a:cubicBezTo>
                <a:cubicBezTo>
                  <a:pt x="1174714" y="3346400"/>
                  <a:pt x="1179280" y="3333233"/>
                  <a:pt x="1188208" y="3323131"/>
                </a:cubicBezTo>
                <a:cubicBezTo>
                  <a:pt x="1197135" y="3313029"/>
                  <a:pt x="1209193" y="3307826"/>
                  <a:pt x="1224381" y="3307520"/>
                </a:cubicBezTo>
                <a:close/>
                <a:moveTo>
                  <a:pt x="998296" y="3307520"/>
                </a:moveTo>
                <a:cubicBezTo>
                  <a:pt x="1005342" y="3307550"/>
                  <a:pt x="1011000" y="3308590"/>
                  <a:pt x="1015270" y="3310637"/>
                </a:cubicBezTo>
                <a:cubicBezTo>
                  <a:pt x="1019539" y="3312684"/>
                  <a:pt x="1022892" y="3315557"/>
                  <a:pt x="1025328" y="3319255"/>
                </a:cubicBezTo>
                <a:lnTo>
                  <a:pt x="1026166" y="3319255"/>
                </a:lnTo>
                <a:cubicBezTo>
                  <a:pt x="1029065" y="3315190"/>
                  <a:pt x="1032959" y="3312213"/>
                  <a:pt x="1037849" y="3310323"/>
                </a:cubicBezTo>
                <a:cubicBezTo>
                  <a:pt x="1042738" y="3308432"/>
                  <a:pt x="1048832" y="3307498"/>
                  <a:pt x="1056132" y="3307520"/>
                </a:cubicBezTo>
                <a:cubicBezTo>
                  <a:pt x="1069216" y="3307681"/>
                  <a:pt x="1078305" y="3310711"/>
                  <a:pt x="1083399" y="3316609"/>
                </a:cubicBezTo>
                <a:cubicBezTo>
                  <a:pt x="1088494" y="3322507"/>
                  <a:pt x="1090930" y="3330304"/>
                  <a:pt x="1090708" y="3340000"/>
                </a:cubicBezTo>
                <a:lnTo>
                  <a:pt x="1090708" y="3409571"/>
                </a:lnTo>
                <a:cubicBezTo>
                  <a:pt x="1090664" y="3411081"/>
                  <a:pt x="1090123" y="3412356"/>
                  <a:pt x="1089083" y="3413395"/>
                </a:cubicBezTo>
                <a:cubicBezTo>
                  <a:pt x="1088045" y="3414434"/>
                  <a:pt x="1086770" y="3414976"/>
                  <a:pt x="1085259" y="3415019"/>
                </a:cubicBezTo>
                <a:lnTo>
                  <a:pt x="1080021" y="3415019"/>
                </a:lnTo>
                <a:cubicBezTo>
                  <a:pt x="1078510" y="3414976"/>
                  <a:pt x="1077235" y="3414434"/>
                  <a:pt x="1076196" y="3413395"/>
                </a:cubicBezTo>
                <a:cubicBezTo>
                  <a:pt x="1075157" y="3412356"/>
                  <a:pt x="1074616" y="3411081"/>
                  <a:pt x="1074572" y="3409571"/>
                </a:cubicBezTo>
                <a:lnTo>
                  <a:pt x="1074572" y="3341886"/>
                </a:lnTo>
                <a:cubicBezTo>
                  <a:pt x="1074695" y="3334975"/>
                  <a:pt x="1073035" y="3329466"/>
                  <a:pt x="1069595" y="3325358"/>
                </a:cubicBezTo>
                <a:cubicBezTo>
                  <a:pt x="1066155" y="3321250"/>
                  <a:pt x="1060201" y="3319146"/>
                  <a:pt x="1051731" y="3319045"/>
                </a:cubicBezTo>
                <a:cubicBezTo>
                  <a:pt x="1044890" y="3319076"/>
                  <a:pt x="1039660" y="3320167"/>
                  <a:pt x="1036041" y="3322320"/>
                </a:cubicBezTo>
                <a:cubicBezTo>
                  <a:pt x="1032422" y="3324472"/>
                  <a:pt x="1030597" y="3327502"/>
                  <a:pt x="1030567" y="3331409"/>
                </a:cubicBezTo>
                <a:lnTo>
                  <a:pt x="1030567" y="3409571"/>
                </a:lnTo>
                <a:cubicBezTo>
                  <a:pt x="1030523" y="3411081"/>
                  <a:pt x="1029982" y="3412356"/>
                  <a:pt x="1028943" y="3413395"/>
                </a:cubicBezTo>
                <a:cubicBezTo>
                  <a:pt x="1027904" y="3414434"/>
                  <a:pt x="1026629" y="3414976"/>
                  <a:pt x="1025118" y="3415019"/>
                </a:cubicBezTo>
                <a:lnTo>
                  <a:pt x="1019880" y="3415019"/>
                </a:lnTo>
                <a:cubicBezTo>
                  <a:pt x="1018369" y="3414976"/>
                  <a:pt x="1017094" y="3414434"/>
                  <a:pt x="1016055" y="3413395"/>
                </a:cubicBezTo>
                <a:cubicBezTo>
                  <a:pt x="1015016" y="3412356"/>
                  <a:pt x="1014475" y="3411081"/>
                  <a:pt x="1014431" y="3409571"/>
                </a:cubicBezTo>
                <a:lnTo>
                  <a:pt x="1014431" y="3339581"/>
                </a:lnTo>
                <a:cubicBezTo>
                  <a:pt x="1014506" y="3332675"/>
                  <a:pt x="1012785" y="3327523"/>
                  <a:pt x="1009271" y="3324127"/>
                </a:cubicBezTo>
                <a:cubicBezTo>
                  <a:pt x="1005757" y="3320730"/>
                  <a:pt x="1000003" y="3319037"/>
                  <a:pt x="992009" y="3319045"/>
                </a:cubicBezTo>
                <a:cubicBezTo>
                  <a:pt x="984784" y="3319067"/>
                  <a:pt x="979380" y="3320123"/>
                  <a:pt x="975796" y="3322215"/>
                </a:cubicBezTo>
                <a:cubicBezTo>
                  <a:pt x="972211" y="3324306"/>
                  <a:pt x="970421" y="3327301"/>
                  <a:pt x="970426" y="3331199"/>
                </a:cubicBezTo>
                <a:lnTo>
                  <a:pt x="970426" y="3409571"/>
                </a:lnTo>
                <a:cubicBezTo>
                  <a:pt x="970382" y="3411081"/>
                  <a:pt x="969841" y="3412356"/>
                  <a:pt x="968802" y="3413395"/>
                </a:cubicBezTo>
                <a:cubicBezTo>
                  <a:pt x="967763" y="3414434"/>
                  <a:pt x="966488" y="3414976"/>
                  <a:pt x="964977" y="3415019"/>
                </a:cubicBezTo>
                <a:lnTo>
                  <a:pt x="959739" y="3415019"/>
                </a:lnTo>
                <a:cubicBezTo>
                  <a:pt x="958228" y="3414976"/>
                  <a:pt x="956954" y="3414434"/>
                  <a:pt x="955915" y="3413395"/>
                </a:cubicBezTo>
                <a:cubicBezTo>
                  <a:pt x="954875" y="3412356"/>
                  <a:pt x="954334" y="3411081"/>
                  <a:pt x="954291" y="3409571"/>
                </a:cubicBezTo>
                <a:lnTo>
                  <a:pt x="954291" y="3315692"/>
                </a:lnTo>
                <a:cubicBezTo>
                  <a:pt x="954334" y="3314182"/>
                  <a:pt x="954875" y="3312907"/>
                  <a:pt x="955915" y="3311868"/>
                </a:cubicBezTo>
                <a:cubicBezTo>
                  <a:pt x="956954" y="3310829"/>
                  <a:pt x="958228" y="3310288"/>
                  <a:pt x="959739" y="3310244"/>
                </a:cubicBezTo>
                <a:lnTo>
                  <a:pt x="964977" y="3310244"/>
                </a:lnTo>
                <a:cubicBezTo>
                  <a:pt x="966488" y="3310288"/>
                  <a:pt x="967763" y="3310829"/>
                  <a:pt x="968802" y="3311868"/>
                </a:cubicBezTo>
                <a:cubicBezTo>
                  <a:pt x="969841" y="3312907"/>
                  <a:pt x="970382" y="3314182"/>
                  <a:pt x="970426" y="3315692"/>
                </a:cubicBezTo>
                <a:lnTo>
                  <a:pt x="970426" y="3317578"/>
                </a:lnTo>
                <a:cubicBezTo>
                  <a:pt x="973630" y="3313676"/>
                  <a:pt x="977804" y="3311004"/>
                  <a:pt x="982947" y="3309563"/>
                </a:cubicBezTo>
                <a:cubicBezTo>
                  <a:pt x="988089" y="3308122"/>
                  <a:pt x="993206" y="3307441"/>
                  <a:pt x="998296" y="3307520"/>
                </a:cubicBezTo>
                <a:close/>
                <a:moveTo>
                  <a:pt x="879176" y="3307520"/>
                </a:moveTo>
                <a:cubicBezTo>
                  <a:pt x="888214" y="3307640"/>
                  <a:pt x="895913" y="3309891"/>
                  <a:pt x="902273" y="3314272"/>
                </a:cubicBezTo>
                <a:cubicBezTo>
                  <a:pt x="908634" y="3318653"/>
                  <a:pt x="913492" y="3324443"/>
                  <a:pt x="916849" y="3331642"/>
                </a:cubicBezTo>
                <a:cubicBezTo>
                  <a:pt x="920205" y="3338840"/>
                  <a:pt x="921897" y="3346725"/>
                  <a:pt x="921925" y="3355297"/>
                </a:cubicBezTo>
                <a:cubicBezTo>
                  <a:pt x="921968" y="3358563"/>
                  <a:pt x="921567" y="3360728"/>
                  <a:pt x="920720" y="3361793"/>
                </a:cubicBezTo>
                <a:cubicBezTo>
                  <a:pt x="919873" y="3362859"/>
                  <a:pt x="918319" y="3363348"/>
                  <a:pt x="916057" y="3363260"/>
                </a:cubicBezTo>
                <a:lnTo>
                  <a:pt x="847534" y="3363260"/>
                </a:lnTo>
                <a:cubicBezTo>
                  <a:pt x="847975" y="3377025"/>
                  <a:pt x="851389" y="3387476"/>
                  <a:pt x="857776" y="3394614"/>
                </a:cubicBezTo>
                <a:cubicBezTo>
                  <a:pt x="864163" y="3401752"/>
                  <a:pt x="872135" y="3405341"/>
                  <a:pt x="881691" y="3405380"/>
                </a:cubicBezTo>
                <a:cubicBezTo>
                  <a:pt x="887877" y="3405271"/>
                  <a:pt x="892805" y="3404510"/>
                  <a:pt x="896476" y="3403098"/>
                </a:cubicBezTo>
                <a:cubicBezTo>
                  <a:pt x="900147" y="3401686"/>
                  <a:pt x="903166" y="3400273"/>
                  <a:pt x="905533" y="3398861"/>
                </a:cubicBezTo>
                <a:cubicBezTo>
                  <a:pt x="907900" y="3397448"/>
                  <a:pt x="910221" y="3396687"/>
                  <a:pt x="912495" y="3396579"/>
                </a:cubicBezTo>
                <a:cubicBezTo>
                  <a:pt x="914407" y="3396605"/>
                  <a:pt x="915926" y="3397181"/>
                  <a:pt x="917053" y="3398308"/>
                </a:cubicBezTo>
                <a:cubicBezTo>
                  <a:pt x="918179" y="3399434"/>
                  <a:pt x="918755" y="3400953"/>
                  <a:pt x="918781" y="3402865"/>
                </a:cubicBezTo>
                <a:cubicBezTo>
                  <a:pt x="918668" y="3406694"/>
                  <a:pt x="915385" y="3410090"/>
                  <a:pt x="908933" y="3413055"/>
                </a:cubicBezTo>
                <a:cubicBezTo>
                  <a:pt x="902480" y="3416019"/>
                  <a:pt x="893539" y="3417582"/>
                  <a:pt x="882110" y="3417743"/>
                </a:cubicBezTo>
                <a:cubicBezTo>
                  <a:pt x="865979" y="3417411"/>
                  <a:pt x="853554" y="3412260"/>
                  <a:pt x="844836" y="3402289"/>
                </a:cubicBezTo>
                <a:cubicBezTo>
                  <a:pt x="836118" y="3392318"/>
                  <a:pt x="831709" y="3379518"/>
                  <a:pt x="831609" y="3363889"/>
                </a:cubicBezTo>
                <a:cubicBezTo>
                  <a:pt x="831914" y="3347422"/>
                  <a:pt x="836489" y="3333993"/>
                  <a:pt x="845334" y="3323603"/>
                </a:cubicBezTo>
                <a:cubicBezTo>
                  <a:pt x="854179" y="3313213"/>
                  <a:pt x="865460" y="3307852"/>
                  <a:pt x="879176" y="3307520"/>
                </a:cubicBezTo>
                <a:close/>
                <a:moveTo>
                  <a:pt x="662406" y="3307520"/>
                </a:moveTo>
                <a:cubicBezTo>
                  <a:pt x="672452" y="3307642"/>
                  <a:pt x="680284" y="3309022"/>
                  <a:pt x="685902" y="3311659"/>
                </a:cubicBezTo>
                <a:cubicBezTo>
                  <a:pt x="691521" y="3314295"/>
                  <a:pt x="694376" y="3317456"/>
                  <a:pt x="694467" y="3321141"/>
                </a:cubicBezTo>
                <a:cubicBezTo>
                  <a:pt x="694433" y="3323062"/>
                  <a:pt x="693821" y="3324616"/>
                  <a:pt x="692634" y="3325803"/>
                </a:cubicBezTo>
                <a:cubicBezTo>
                  <a:pt x="691447" y="3326991"/>
                  <a:pt x="689892" y="3327602"/>
                  <a:pt x="687971" y="3327637"/>
                </a:cubicBezTo>
                <a:cubicBezTo>
                  <a:pt x="684518" y="3327296"/>
                  <a:pt x="681052" y="3325934"/>
                  <a:pt x="677573" y="3323551"/>
                </a:cubicBezTo>
                <a:cubicBezTo>
                  <a:pt x="674093" y="3321167"/>
                  <a:pt x="668689" y="3319805"/>
                  <a:pt x="661359" y="3319464"/>
                </a:cubicBezTo>
                <a:cubicBezTo>
                  <a:pt x="653759" y="3319622"/>
                  <a:pt x="647514" y="3321844"/>
                  <a:pt x="642623" y="3326131"/>
                </a:cubicBezTo>
                <a:cubicBezTo>
                  <a:pt x="637733" y="3330418"/>
                  <a:pt x="634111" y="3335822"/>
                  <a:pt x="631758" y="3342344"/>
                </a:cubicBezTo>
                <a:cubicBezTo>
                  <a:pt x="629405" y="3348866"/>
                  <a:pt x="628235" y="3355559"/>
                  <a:pt x="628250" y="3362422"/>
                </a:cubicBezTo>
                <a:cubicBezTo>
                  <a:pt x="628512" y="3375964"/>
                  <a:pt x="631760" y="3386546"/>
                  <a:pt x="637994" y="3394169"/>
                </a:cubicBezTo>
                <a:cubicBezTo>
                  <a:pt x="644228" y="3401791"/>
                  <a:pt x="651877" y="3405668"/>
                  <a:pt x="660940" y="3405799"/>
                </a:cubicBezTo>
                <a:cubicBezTo>
                  <a:pt x="666502" y="3405688"/>
                  <a:pt x="670931" y="3404909"/>
                  <a:pt x="674227" y="3403463"/>
                </a:cubicBezTo>
                <a:cubicBezTo>
                  <a:pt x="677523" y="3402017"/>
                  <a:pt x="680259" y="3400571"/>
                  <a:pt x="682438" y="3399124"/>
                </a:cubicBezTo>
                <a:cubicBezTo>
                  <a:pt x="684616" y="3397678"/>
                  <a:pt x="686810" y="3396900"/>
                  <a:pt x="689019" y="3396788"/>
                </a:cubicBezTo>
                <a:cubicBezTo>
                  <a:pt x="691032" y="3396810"/>
                  <a:pt x="692612" y="3397395"/>
                  <a:pt x="693760" y="3398543"/>
                </a:cubicBezTo>
                <a:cubicBezTo>
                  <a:pt x="694909" y="3399691"/>
                  <a:pt x="695493" y="3401272"/>
                  <a:pt x="695515" y="3403284"/>
                </a:cubicBezTo>
                <a:cubicBezTo>
                  <a:pt x="695354" y="3407004"/>
                  <a:pt x="692219" y="3410304"/>
                  <a:pt x="686112" y="3413186"/>
                </a:cubicBezTo>
                <a:cubicBezTo>
                  <a:pt x="680004" y="3416067"/>
                  <a:pt x="671893" y="3417586"/>
                  <a:pt x="661778" y="3417743"/>
                </a:cubicBezTo>
                <a:cubicBezTo>
                  <a:pt x="646616" y="3417595"/>
                  <a:pt x="634663" y="3412705"/>
                  <a:pt x="625919" y="3403075"/>
                </a:cubicBezTo>
                <a:cubicBezTo>
                  <a:pt x="617174" y="3393444"/>
                  <a:pt x="612713" y="3379963"/>
                  <a:pt x="612533" y="3362632"/>
                </a:cubicBezTo>
                <a:cubicBezTo>
                  <a:pt x="612739" y="3346400"/>
                  <a:pt x="617305" y="3333233"/>
                  <a:pt x="626233" y="3323131"/>
                </a:cubicBezTo>
                <a:cubicBezTo>
                  <a:pt x="635161" y="3313029"/>
                  <a:pt x="647218" y="3307826"/>
                  <a:pt x="662406" y="3307520"/>
                </a:cubicBezTo>
                <a:close/>
                <a:moveTo>
                  <a:pt x="552297" y="3307520"/>
                </a:moveTo>
                <a:cubicBezTo>
                  <a:pt x="556161" y="3307546"/>
                  <a:pt x="559016" y="3308227"/>
                  <a:pt x="560863" y="3309563"/>
                </a:cubicBezTo>
                <a:cubicBezTo>
                  <a:pt x="562709" y="3310899"/>
                  <a:pt x="563626" y="3312733"/>
                  <a:pt x="563613" y="3315064"/>
                </a:cubicBezTo>
                <a:cubicBezTo>
                  <a:pt x="563617" y="3317295"/>
                  <a:pt x="562980" y="3319067"/>
                  <a:pt x="561701" y="3320381"/>
                </a:cubicBezTo>
                <a:cubicBezTo>
                  <a:pt x="560422" y="3321695"/>
                  <a:pt x="558475" y="3322368"/>
                  <a:pt x="555860" y="3322398"/>
                </a:cubicBezTo>
                <a:cubicBezTo>
                  <a:pt x="553677" y="3322311"/>
                  <a:pt x="550970" y="3321961"/>
                  <a:pt x="547740" y="3321350"/>
                </a:cubicBezTo>
                <a:cubicBezTo>
                  <a:pt x="544509" y="3320739"/>
                  <a:pt x="540650" y="3320390"/>
                  <a:pt x="536162" y="3320303"/>
                </a:cubicBezTo>
                <a:cubicBezTo>
                  <a:pt x="532211" y="3320307"/>
                  <a:pt x="529007" y="3321398"/>
                  <a:pt x="526549" y="3323577"/>
                </a:cubicBezTo>
                <a:cubicBezTo>
                  <a:pt x="524091" y="3325755"/>
                  <a:pt x="522825" y="3328994"/>
                  <a:pt x="522751" y="3333295"/>
                </a:cubicBezTo>
                <a:lnTo>
                  <a:pt x="522751" y="3409571"/>
                </a:lnTo>
                <a:cubicBezTo>
                  <a:pt x="522707" y="3411081"/>
                  <a:pt x="522166" y="3412356"/>
                  <a:pt x="521127" y="3413395"/>
                </a:cubicBezTo>
                <a:cubicBezTo>
                  <a:pt x="520088" y="3414434"/>
                  <a:pt x="518813" y="3414976"/>
                  <a:pt x="517303" y="3415019"/>
                </a:cubicBezTo>
                <a:lnTo>
                  <a:pt x="512064" y="3415019"/>
                </a:lnTo>
                <a:cubicBezTo>
                  <a:pt x="510553" y="3414976"/>
                  <a:pt x="509279" y="3414434"/>
                  <a:pt x="508240" y="3413395"/>
                </a:cubicBezTo>
                <a:cubicBezTo>
                  <a:pt x="507201" y="3412356"/>
                  <a:pt x="506659" y="3411081"/>
                  <a:pt x="506616" y="3409571"/>
                </a:cubicBezTo>
                <a:lnTo>
                  <a:pt x="506616" y="3315692"/>
                </a:lnTo>
                <a:cubicBezTo>
                  <a:pt x="506659" y="3314182"/>
                  <a:pt x="507201" y="3312907"/>
                  <a:pt x="508240" y="3311868"/>
                </a:cubicBezTo>
                <a:cubicBezTo>
                  <a:pt x="509279" y="3310829"/>
                  <a:pt x="510553" y="3310288"/>
                  <a:pt x="512064" y="3310244"/>
                </a:cubicBezTo>
                <a:lnTo>
                  <a:pt x="517303" y="3310244"/>
                </a:lnTo>
                <a:cubicBezTo>
                  <a:pt x="518813" y="3310288"/>
                  <a:pt x="520088" y="3310829"/>
                  <a:pt x="521127" y="3311868"/>
                </a:cubicBezTo>
                <a:cubicBezTo>
                  <a:pt x="522166" y="3312907"/>
                  <a:pt x="522707" y="3314182"/>
                  <a:pt x="522751" y="3315692"/>
                </a:cubicBezTo>
                <a:lnTo>
                  <a:pt x="522751" y="3317578"/>
                </a:lnTo>
                <a:cubicBezTo>
                  <a:pt x="526209" y="3314317"/>
                  <a:pt x="530399" y="3311829"/>
                  <a:pt x="535324" y="3310113"/>
                </a:cubicBezTo>
                <a:cubicBezTo>
                  <a:pt x="540248" y="3308397"/>
                  <a:pt x="545906" y="3307533"/>
                  <a:pt x="552297" y="3307520"/>
                </a:cubicBezTo>
                <a:close/>
                <a:moveTo>
                  <a:pt x="431501" y="3307520"/>
                </a:moveTo>
                <a:cubicBezTo>
                  <a:pt x="440539" y="3307640"/>
                  <a:pt x="448238" y="3309891"/>
                  <a:pt x="454598" y="3314272"/>
                </a:cubicBezTo>
                <a:cubicBezTo>
                  <a:pt x="460959" y="3318653"/>
                  <a:pt x="465817" y="3324443"/>
                  <a:pt x="469174" y="3331642"/>
                </a:cubicBezTo>
                <a:cubicBezTo>
                  <a:pt x="472530" y="3338840"/>
                  <a:pt x="474222" y="3346725"/>
                  <a:pt x="474250" y="3355297"/>
                </a:cubicBezTo>
                <a:cubicBezTo>
                  <a:pt x="474293" y="3358563"/>
                  <a:pt x="473892" y="3360728"/>
                  <a:pt x="473045" y="3361793"/>
                </a:cubicBezTo>
                <a:cubicBezTo>
                  <a:pt x="472198" y="3362859"/>
                  <a:pt x="470644" y="3363348"/>
                  <a:pt x="468382" y="3363260"/>
                </a:cubicBezTo>
                <a:lnTo>
                  <a:pt x="399859" y="3363260"/>
                </a:lnTo>
                <a:cubicBezTo>
                  <a:pt x="400300" y="3377025"/>
                  <a:pt x="403714" y="3387476"/>
                  <a:pt x="410101" y="3394614"/>
                </a:cubicBezTo>
                <a:cubicBezTo>
                  <a:pt x="416488" y="3401752"/>
                  <a:pt x="424460" y="3405341"/>
                  <a:pt x="434016" y="3405380"/>
                </a:cubicBezTo>
                <a:cubicBezTo>
                  <a:pt x="440202" y="3405271"/>
                  <a:pt x="445130" y="3404510"/>
                  <a:pt x="448801" y="3403098"/>
                </a:cubicBezTo>
                <a:cubicBezTo>
                  <a:pt x="452472" y="3401686"/>
                  <a:pt x="455491" y="3400273"/>
                  <a:pt x="457858" y="3398861"/>
                </a:cubicBezTo>
                <a:cubicBezTo>
                  <a:pt x="460225" y="3397448"/>
                  <a:pt x="462546" y="3396687"/>
                  <a:pt x="464820" y="3396579"/>
                </a:cubicBezTo>
                <a:cubicBezTo>
                  <a:pt x="466732" y="3396605"/>
                  <a:pt x="468251" y="3397181"/>
                  <a:pt x="469378" y="3398308"/>
                </a:cubicBezTo>
                <a:cubicBezTo>
                  <a:pt x="470504" y="3399434"/>
                  <a:pt x="471080" y="3400953"/>
                  <a:pt x="471106" y="3402865"/>
                </a:cubicBezTo>
                <a:cubicBezTo>
                  <a:pt x="470993" y="3406694"/>
                  <a:pt x="467710" y="3410090"/>
                  <a:pt x="461257" y="3413055"/>
                </a:cubicBezTo>
                <a:cubicBezTo>
                  <a:pt x="454805" y="3416019"/>
                  <a:pt x="445864" y="3417582"/>
                  <a:pt x="434435" y="3417743"/>
                </a:cubicBezTo>
                <a:cubicBezTo>
                  <a:pt x="418304" y="3417411"/>
                  <a:pt x="405880" y="3412260"/>
                  <a:pt x="397161" y="3402289"/>
                </a:cubicBezTo>
                <a:cubicBezTo>
                  <a:pt x="388443" y="3392318"/>
                  <a:pt x="384034" y="3379518"/>
                  <a:pt x="383934" y="3363889"/>
                </a:cubicBezTo>
                <a:cubicBezTo>
                  <a:pt x="384239" y="3347422"/>
                  <a:pt x="388814" y="3333993"/>
                  <a:pt x="397659" y="3323603"/>
                </a:cubicBezTo>
                <a:cubicBezTo>
                  <a:pt x="406504" y="3313213"/>
                  <a:pt x="417785" y="3307852"/>
                  <a:pt x="431501" y="3307520"/>
                </a:cubicBezTo>
                <a:close/>
                <a:moveTo>
                  <a:pt x="164801" y="3307520"/>
                </a:moveTo>
                <a:cubicBezTo>
                  <a:pt x="173839" y="3307640"/>
                  <a:pt x="181538" y="3309891"/>
                  <a:pt x="187898" y="3314272"/>
                </a:cubicBezTo>
                <a:cubicBezTo>
                  <a:pt x="194259" y="3318653"/>
                  <a:pt x="199117" y="3324443"/>
                  <a:pt x="202474" y="3331642"/>
                </a:cubicBezTo>
                <a:cubicBezTo>
                  <a:pt x="205830" y="3338840"/>
                  <a:pt x="207522" y="3346725"/>
                  <a:pt x="207550" y="3355297"/>
                </a:cubicBezTo>
                <a:cubicBezTo>
                  <a:pt x="207593" y="3358563"/>
                  <a:pt x="207192" y="3360728"/>
                  <a:pt x="206345" y="3361793"/>
                </a:cubicBezTo>
                <a:cubicBezTo>
                  <a:pt x="205498" y="3362859"/>
                  <a:pt x="203944" y="3363348"/>
                  <a:pt x="201682" y="3363260"/>
                </a:cubicBezTo>
                <a:lnTo>
                  <a:pt x="133159" y="3363260"/>
                </a:lnTo>
                <a:cubicBezTo>
                  <a:pt x="133600" y="3377025"/>
                  <a:pt x="137014" y="3387476"/>
                  <a:pt x="143401" y="3394614"/>
                </a:cubicBezTo>
                <a:cubicBezTo>
                  <a:pt x="149788" y="3401752"/>
                  <a:pt x="157760" y="3405341"/>
                  <a:pt x="167316" y="3405380"/>
                </a:cubicBezTo>
                <a:cubicBezTo>
                  <a:pt x="173502" y="3405271"/>
                  <a:pt x="178430" y="3404510"/>
                  <a:pt x="182101" y="3403098"/>
                </a:cubicBezTo>
                <a:cubicBezTo>
                  <a:pt x="185772" y="3401686"/>
                  <a:pt x="188791" y="3400273"/>
                  <a:pt x="191158" y="3398861"/>
                </a:cubicBezTo>
                <a:cubicBezTo>
                  <a:pt x="193525" y="3397448"/>
                  <a:pt x="195846" y="3396687"/>
                  <a:pt x="198120" y="3396579"/>
                </a:cubicBezTo>
                <a:cubicBezTo>
                  <a:pt x="200032" y="3396605"/>
                  <a:pt x="201551" y="3397181"/>
                  <a:pt x="202678" y="3398308"/>
                </a:cubicBezTo>
                <a:cubicBezTo>
                  <a:pt x="203804" y="3399434"/>
                  <a:pt x="204380" y="3400953"/>
                  <a:pt x="204406" y="3402865"/>
                </a:cubicBezTo>
                <a:cubicBezTo>
                  <a:pt x="204293" y="3406694"/>
                  <a:pt x="201010" y="3410090"/>
                  <a:pt x="194557" y="3413055"/>
                </a:cubicBezTo>
                <a:cubicBezTo>
                  <a:pt x="188105" y="3416019"/>
                  <a:pt x="179164" y="3417582"/>
                  <a:pt x="167735" y="3417743"/>
                </a:cubicBezTo>
                <a:cubicBezTo>
                  <a:pt x="151604" y="3417411"/>
                  <a:pt x="139180" y="3412260"/>
                  <a:pt x="130461" y="3402289"/>
                </a:cubicBezTo>
                <a:cubicBezTo>
                  <a:pt x="121743" y="3392318"/>
                  <a:pt x="117334" y="3379518"/>
                  <a:pt x="117234" y="3363889"/>
                </a:cubicBezTo>
                <a:cubicBezTo>
                  <a:pt x="117539" y="3347422"/>
                  <a:pt x="122114" y="3333993"/>
                  <a:pt x="130959" y="3323603"/>
                </a:cubicBezTo>
                <a:cubicBezTo>
                  <a:pt x="139804" y="3313213"/>
                  <a:pt x="151085" y="3307852"/>
                  <a:pt x="164801" y="3307520"/>
                </a:cubicBezTo>
                <a:close/>
                <a:moveTo>
                  <a:pt x="1388364" y="3269801"/>
                </a:moveTo>
                <a:lnTo>
                  <a:pt x="1393603" y="3269801"/>
                </a:lnTo>
                <a:cubicBezTo>
                  <a:pt x="1395113" y="3269845"/>
                  <a:pt x="1396388" y="3270386"/>
                  <a:pt x="1397427" y="3271425"/>
                </a:cubicBezTo>
                <a:cubicBezTo>
                  <a:pt x="1398466" y="3272464"/>
                  <a:pt x="1399007" y="3273739"/>
                  <a:pt x="1399051" y="3275249"/>
                </a:cubicBezTo>
                <a:lnTo>
                  <a:pt x="1399051" y="3409571"/>
                </a:lnTo>
                <a:cubicBezTo>
                  <a:pt x="1399007" y="3411081"/>
                  <a:pt x="1398466" y="3412356"/>
                  <a:pt x="1397427" y="3413395"/>
                </a:cubicBezTo>
                <a:cubicBezTo>
                  <a:pt x="1396388" y="3414434"/>
                  <a:pt x="1395113" y="3414976"/>
                  <a:pt x="1393603" y="3415019"/>
                </a:cubicBezTo>
                <a:lnTo>
                  <a:pt x="1388364" y="3415019"/>
                </a:lnTo>
                <a:cubicBezTo>
                  <a:pt x="1386853" y="3414976"/>
                  <a:pt x="1385579" y="3414434"/>
                  <a:pt x="1384539" y="3413395"/>
                </a:cubicBezTo>
                <a:cubicBezTo>
                  <a:pt x="1383501" y="3412356"/>
                  <a:pt x="1382959" y="3411081"/>
                  <a:pt x="1382915" y="3409571"/>
                </a:cubicBezTo>
                <a:lnTo>
                  <a:pt x="1382915" y="3275249"/>
                </a:lnTo>
                <a:cubicBezTo>
                  <a:pt x="1382959" y="3273739"/>
                  <a:pt x="1383501" y="3272464"/>
                  <a:pt x="1384539" y="3271425"/>
                </a:cubicBezTo>
                <a:cubicBezTo>
                  <a:pt x="1385579" y="3270386"/>
                  <a:pt x="1386853" y="3269845"/>
                  <a:pt x="1388364" y="3269801"/>
                </a:cubicBezTo>
                <a:close/>
                <a:moveTo>
                  <a:pt x="1133913" y="3269801"/>
                </a:moveTo>
                <a:cubicBezTo>
                  <a:pt x="1137126" y="3269879"/>
                  <a:pt x="1139763" y="3270980"/>
                  <a:pt x="1141823" y="3273101"/>
                </a:cubicBezTo>
                <a:cubicBezTo>
                  <a:pt x="1143884" y="3275223"/>
                  <a:pt x="1144949" y="3277895"/>
                  <a:pt x="1145019" y="3281117"/>
                </a:cubicBezTo>
                <a:cubicBezTo>
                  <a:pt x="1144949" y="3284338"/>
                  <a:pt x="1143884" y="3287010"/>
                  <a:pt x="1141823" y="3289132"/>
                </a:cubicBezTo>
                <a:cubicBezTo>
                  <a:pt x="1139763" y="3291254"/>
                  <a:pt x="1137126" y="3292354"/>
                  <a:pt x="1133913" y="3292432"/>
                </a:cubicBezTo>
                <a:cubicBezTo>
                  <a:pt x="1130691" y="3292354"/>
                  <a:pt x="1128019" y="3291254"/>
                  <a:pt x="1125898" y="3289132"/>
                </a:cubicBezTo>
                <a:cubicBezTo>
                  <a:pt x="1123776" y="3287010"/>
                  <a:pt x="1122676" y="3284338"/>
                  <a:pt x="1122597" y="3281117"/>
                </a:cubicBezTo>
                <a:cubicBezTo>
                  <a:pt x="1122676" y="3277895"/>
                  <a:pt x="1123776" y="3275223"/>
                  <a:pt x="1125898" y="3273101"/>
                </a:cubicBezTo>
                <a:cubicBezTo>
                  <a:pt x="1128019" y="3270980"/>
                  <a:pt x="1130691" y="3269879"/>
                  <a:pt x="1133913" y="3269801"/>
                </a:cubicBezTo>
                <a:close/>
                <a:moveTo>
                  <a:pt x="721614" y="3269801"/>
                </a:moveTo>
                <a:lnTo>
                  <a:pt x="726853" y="3269801"/>
                </a:lnTo>
                <a:cubicBezTo>
                  <a:pt x="728363" y="3269845"/>
                  <a:pt x="729638" y="3270386"/>
                  <a:pt x="730677" y="3271425"/>
                </a:cubicBezTo>
                <a:cubicBezTo>
                  <a:pt x="731716" y="3272464"/>
                  <a:pt x="732257" y="3273739"/>
                  <a:pt x="732301" y="3275249"/>
                </a:cubicBezTo>
                <a:lnTo>
                  <a:pt x="732301" y="3316531"/>
                </a:lnTo>
                <a:cubicBezTo>
                  <a:pt x="735335" y="3313863"/>
                  <a:pt x="739220" y="3311707"/>
                  <a:pt x="743957" y="3310061"/>
                </a:cubicBezTo>
                <a:cubicBezTo>
                  <a:pt x="748694" y="3308415"/>
                  <a:pt x="754308" y="3307568"/>
                  <a:pt x="760800" y="3307520"/>
                </a:cubicBezTo>
                <a:cubicBezTo>
                  <a:pt x="773805" y="3307629"/>
                  <a:pt x="783261" y="3310554"/>
                  <a:pt x="789167" y="3316295"/>
                </a:cubicBezTo>
                <a:cubicBezTo>
                  <a:pt x="795074" y="3322036"/>
                  <a:pt x="797982" y="3329937"/>
                  <a:pt x="797890" y="3340000"/>
                </a:cubicBezTo>
                <a:lnTo>
                  <a:pt x="797890" y="3409571"/>
                </a:lnTo>
                <a:cubicBezTo>
                  <a:pt x="797846" y="3411081"/>
                  <a:pt x="797305" y="3412356"/>
                  <a:pt x="796266" y="3413395"/>
                </a:cubicBezTo>
                <a:cubicBezTo>
                  <a:pt x="795227" y="3414434"/>
                  <a:pt x="793952" y="3414976"/>
                  <a:pt x="792442" y="3415019"/>
                </a:cubicBezTo>
                <a:lnTo>
                  <a:pt x="787203" y="3415019"/>
                </a:lnTo>
                <a:cubicBezTo>
                  <a:pt x="785692" y="3414976"/>
                  <a:pt x="784418" y="3414434"/>
                  <a:pt x="783379" y="3413395"/>
                </a:cubicBezTo>
                <a:cubicBezTo>
                  <a:pt x="782340" y="3412356"/>
                  <a:pt x="781798" y="3411081"/>
                  <a:pt x="781755" y="3409571"/>
                </a:cubicBezTo>
                <a:lnTo>
                  <a:pt x="781755" y="3342096"/>
                </a:lnTo>
                <a:cubicBezTo>
                  <a:pt x="781825" y="3334718"/>
                  <a:pt x="780008" y="3329042"/>
                  <a:pt x="776306" y="3325070"/>
                </a:cubicBezTo>
                <a:cubicBezTo>
                  <a:pt x="772604" y="3321097"/>
                  <a:pt x="766597" y="3319089"/>
                  <a:pt x="758285" y="3319045"/>
                </a:cubicBezTo>
                <a:cubicBezTo>
                  <a:pt x="749318" y="3319050"/>
                  <a:pt x="742735" y="3319984"/>
                  <a:pt x="738535" y="3321848"/>
                </a:cubicBezTo>
                <a:cubicBezTo>
                  <a:pt x="734335" y="3323712"/>
                  <a:pt x="732257" y="3326480"/>
                  <a:pt x="732301" y="3330151"/>
                </a:cubicBezTo>
                <a:lnTo>
                  <a:pt x="732301" y="3409571"/>
                </a:lnTo>
                <a:cubicBezTo>
                  <a:pt x="732257" y="3411081"/>
                  <a:pt x="731716" y="3412356"/>
                  <a:pt x="730677" y="3413395"/>
                </a:cubicBezTo>
                <a:cubicBezTo>
                  <a:pt x="729638" y="3414434"/>
                  <a:pt x="728363" y="3414976"/>
                  <a:pt x="726853" y="3415019"/>
                </a:cubicBezTo>
                <a:lnTo>
                  <a:pt x="721614" y="3415019"/>
                </a:lnTo>
                <a:cubicBezTo>
                  <a:pt x="720103" y="3414976"/>
                  <a:pt x="718829" y="3414434"/>
                  <a:pt x="717790" y="3413395"/>
                </a:cubicBezTo>
                <a:cubicBezTo>
                  <a:pt x="716750" y="3412356"/>
                  <a:pt x="716209" y="3411081"/>
                  <a:pt x="716166" y="3409571"/>
                </a:cubicBezTo>
                <a:lnTo>
                  <a:pt x="716166" y="3275249"/>
                </a:lnTo>
                <a:cubicBezTo>
                  <a:pt x="716209" y="3273739"/>
                  <a:pt x="716750" y="3272464"/>
                  <a:pt x="717790" y="3271425"/>
                </a:cubicBezTo>
                <a:cubicBezTo>
                  <a:pt x="718829" y="3270386"/>
                  <a:pt x="720103" y="3269845"/>
                  <a:pt x="721614" y="3269801"/>
                </a:cubicBezTo>
                <a:close/>
                <a:moveTo>
                  <a:pt x="22003" y="3269801"/>
                </a:moveTo>
                <a:lnTo>
                  <a:pt x="102051" y="3269801"/>
                </a:lnTo>
                <a:cubicBezTo>
                  <a:pt x="103561" y="3269845"/>
                  <a:pt x="104836" y="3270386"/>
                  <a:pt x="105875" y="3271425"/>
                </a:cubicBezTo>
                <a:cubicBezTo>
                  <a:pt x="106914" y="3272464"/>
                  <a:pt x="107455" y="3273739"/>
                  <a:pt x="107499" y="3275249"/>
                </a:cubicBezTo>
                <a:lnTo>
                  <a:pt x="107499" y="3276926"/>
                </a:lnTo>
                <a:cubicBezTo>
                  <a:pt x="107455" y="3278436"/>
                  <a:pt x="106914" y="3279711"/>
                  <a:pt x="105875" y="3280750"/>
                </a:cubicBezTo>
                <a:cubicBezTo>
                  <a:pt x="104836" y="3281789"/>
                  <a:pt x="103561" y="3282330"/>
                  <a:pt x="102051" y="3282374"/>
                </a:cubicBezTo>
                <a:lnTo>
                  <a:pt x="34576" y="3282374"/>
                </a:lnTo>
                <a:lnTo>
                  <a:pt x="34576" y="3333085"/>
                </a:lnTo>
                <a:lnTo>
                  <a:pt x="91573" y="3333085"/>
                </a:lnTo>
                <a:cubicBezTo>
                  <a:pt x="93084" y="3333129"/>
                  <a:pt x="94358" y="3333670"/>
                  <a:pt x="95397" y="3334709"/>
                </a:cubicBezTo>
                <a:cubicBezTo>
                  <a:pt x="96436" y="3335748"/>
                  <a:pt x="96978" y="3337023"/>
                  <a:pt x="97021" y="3338533"/>
                </a:cubicBezTo>
                <a:lnTo>
                  <a:pt x="97021" y="3340210"/>
                </a:lnTo>
                <a:cubicBezTo>
                  <a:pt x="96978" y="3341720"/>
                  <a:pt x="96436" y="3342995"/>
                  <a:pt x="95397" y="3344034"/>
                </a:cubicBezTo>
                <a:cubicBezTo>
                  <a:pt x="94358" y="3345073"/>
                  <a:pt x="93084" y="3345614"/>
                  <a:pt x="91573" y="3345658"/>
                </a:cubicBezTo>
                <a:lnTo>
                  <a:pt x="34576" y="3345658"/>
                </a:lnTo>
                <a:lnTo>
                  <a:pt x="34576" y="3409571"/>
                </a:lnTo>
                <a:cubicBezTo>
                  <a:pt x="34532" y="3411081"/>
                  <a:pt x="33991" y="3412356"/>
                  <a:pt x="32952" y="3413395"/>
                </a:cubicBezTo>
                <a:cubicBezTo>
                  <a:pt x="31913" y="3414434"/>
                  <a:pt x="30638" y="3414976"/>
                  <a:pt x="29127" y="3415019"/>
                </a:cubicBezTo>
                <a:lnTo>
                  <a:pt x="22003" y="3415019"/>
                </a:lnTo>
                <a:cubicBezTo>
                  <a:pt x="20492" y="3414976"/>
                  <a:pt x="19217" y="3414434"/>
                  <a:pt x="18178" y="3413395"/>
                </a:cubicBezTo>
                <a:cubicBezTo>
                  <a:pt x="17139" y="3412356"/>
                  <a:pt x="16598" y="3411081"/>
                  <a:pt x="16554" y="3409571"/>
                </a:cubicBezTo>
                <a:lnTo>
                  <a:pt x="16554" y="3275249"/>
                </a:lnTo>
                <a:cubicBezTo>
                  <a:pt x="16598" y="3273739"/>
                  <a:pt x="17139" y="3272464"/>
                  <a:pt x="18178" y="3271425"/>
                </a:cubicBezTo>
                <a:cubicBezTo>
                  <a:pt x="19217" y="3270386"/>
                  <a:pt x="20492" y="3269845"/>
                  <a:pt x="22003" y="3269801"/>
                </a:cubicBezTo>
                <a:close/>
                <a:moveTo>
                  <a:pt x="201206" y="3157101"/>
                </a:moveTo>
                <a:cubicBezTo>
                  <a:pt x="196727" y="3157918"/>
                  <a:pt x="193112" y="3160266"/>
                  <a:pt x="190362" y="3164147"/>
                </a:cubicBezTo>
                <a:cubicBezTo>
                  <a:pt x="187611" y="3168028"/>
                  <a:pt x="186197" y="3172315"/>
                  <a:pt x="186118" y="3177008"/>
                </a:cubicBezTo>
                <a:cubicBezTo>
                  <a:pt x="186337" y="3183622"/>
                  <a:pt x="189358" y="3188625"/>
                  <a:pt x="195181" y="3192017"/>
                </a:cubicBezTo>
                <a:cubicBezTo>
                  <a:pt x="201005" y="3195410"/>
                  <a:pt x="208322" y="3197112"/>
                  <a:pt x="217132" y="3197125"/>
                </a:cubicBezTo>
                <a:cubicBezTo>
                  <a:pt x="222359" y="3197152"/>
                  <a:pt x="227504" y="3196469"/>
                  <a:pt x="232569" y="3195076"/>
                </a:cubicBezTo>
                <a:cubicBezTo>
                  <a:pt x="237633" y="3193683"/>
                  <a:pt x="241847" y="3191417"/>
                  <a:pt x="245211" y="3188277"/>
                </a:cubicBezTo>
                <a:cubicBezTo>
                  <a:pt x="248576" y="3185138"/>
                  <a:pt x="250322" y="3180963"/>
                  <a:pt x="250450" y="3175751"/>
                </a:cubicBezTo>
                <a:cubicBezTo>
                  <a:pt x="250328" y="3170788"/>
                  <a:pt x="248739" y="3167146"/>
                  <a:pt x="245683" y="3164828"/>
                </a:cubicBezTo>
                <a:cubicBezTo>
                  <a:pt x="242627" y="3162510"/>
                  <a:pt x="238838" y="3161122"/>
                  <a:pt x="234315" y="3160663"/>
                </a:cubicBezTo>
                <a:close/>
                <a:moveTo>
                  <a:pt x="747312" y="3113096"/>
                </a:moveTo>
                <a:cubicBezTo>
                  <a:pt x="744331" y="3114615"/>
                  <a:pt x="741231" y="3115715"/>
                  <a:pt x="738014" y="3116396"/>
                </a:cubicBezTo>
                <a:cubicBezTo>
                  <a:pt x="734796" y="3117077"/>
                  <a:pt x="730491" y="3117653"/>
                  <a:pt x="725100" y="3118125"/>
                </a:cubicBezTo>
                <a:cubicBezTo>
                  <a:pt x="714561" y="3119028"/>
                  <a:pt x="707140" y="3121045"/>
                  <a:pt x="702835" y="3124176"/>
                </a:cubicBezTo>
                <a:cubicBezTo>
                  <a:pt x="698531" y="3127306"/>
                  <a:pt x="696453" y="3132414"/>
                  <a:pt x="696601" y="3139499"/>
                </a:cubicBezTo>
                <a:cubicBezTo>
                  <a:pt x="696571" y="3146803"/>
                  <a:pt x="698675" y="3151841"/>
                  <a:pt x="702914" y="3154613"/>
                </a:cubicBezTo>
                <a:cubicBezTo>
                  <a:pt x="707153" y="3157385"/>
                  <a:pt x="713710" y="3158703"/>
                  <a:pt x="722585" y="3158568"/>
                </a:cubicBezTo>
                <a:cubicBezTo>
                  <a:pt x="729693" y="3158590"/>
                  <a:pt x="735647" y="3157499"/>
                  <a:pt x="740450" y="3155294"/>
                </a:cubicBezTo>
                <a:cubicBezTo>
                  <a:pt x="745252" y="3153089"/>
                  <a:pt x="747749" y="3149640"/>
                  <a:pt x="747941" y="3144947"/>
                </a:cubicBezTo>
                <a:lnTo>
                  <a:pt x="747941" y="3113096"/>
                </a:lnTo>
                <a:close/>
                <a:moveTo>
                  <a:pt x="2482072" y="3089579"/>
                </a:moveTo>
                <a:cubicBezTo>
                  <a:pt x="2493541" y="3089616"/>
                  <a:pt x="2502952" y="3092663"/>
                  <a:pt x="2510304" y="3098718"/>
                </a:cubicBezTo>
                <a:cubicBezTo>
                  <a:pt x="2517656" y="3104773"/>
                  <a:pt x="2521457" y="3113610"/>
                  <a:pt x="2521705" y="3125230"/>
                </a:cubicBezTo>
                <a:cubicBezTo>
                  <a:pt x="2521415" y="3134523"/>
                  <a:pt x="2518342" y="3142756"/>
                  <a:pt x="2512484" y="3149928"/>
                </a:cubicBezTo>
                <a:cubicBezTo>
                  <a:pt x="2506627" y="3157100"/>
                  <a:pt x="2499724" y="3163647"/>
                  <a:pt x="2491777" y="3169569"/>
                </a:cubicBezTo>
                <a:cubicBezTo>
                  <a:pt x="2483829" y="3175492"/>
                  <a:pt x="2476576" y="3181224"/>
                  <a:pt x="2470017" y="3186768"/>
                </a:cubicBezTo>
                <a:cubicBezTo>
                  <a:pt x="2463458" y="3192311"/>
                  <a:pt x="2459333" y="3198100"/>
                  <a:pt x="2457641" y="3204135"/>
                </a:cubicBezTo>
                <a:lnTo>
                  <a:pt x="2515914" y="3204135"/>
                </a:lnTo>
                <a:cubicBezTo>
                  <a:pt x="2517219" y="3204173"/>
                  <a:pt x="2518320" y="3204641"/>
                  <a:pt x="2519217" y="3205538"/>
                </a:cubicBezTo>
                <a:cubicBezTo>
                  <a:pt x="2520115" y="3206436"/>
                  <a:pt x="2520582" y="3207536"/>
                  <a:pt x="2520620" y="3208841"/>
                </a:cubicBezTo>
                <a:lnTo>
                  <a:pt x="2520620" y="3210289"/>
                </a:lnTo>
                <a:cubicBezTo>
                  <a:pt x="2520582" y="3211593"/>
                  <a:pt x="2520115" y="3212694"/>
                  <a:pt x="2519217" y="3213592"/>
                </a:cubicBezTo>
                <a:cubicBezTo>
                  <a:pt x="2518320" y="3214489"/>
                  <a:pt x="2517219" y="3214956"/>
                  <a:pt x="2515914" y="3214994"/>
                </a:cubicBezTo>
                <a:lnTo>
                  <a:pt x="2446963" y="3214994"/>
                </a:lnTo>
                <a:cubicBezTo>
                  <a:pt x="2445658" y="3214956"/>
                  <a:pt x="2444557" y="3214489"/>
                  <a:pt x="2443660" y="3213592"/>
                </a:cubicBezTo>
                <a:cubicBezTo>
                  <a:pt x="2442763" y="3212694"/>
                  <a:pt x="2442295" y="3211593"/>
                  <a:pt x="2442257" y="3210289"/>
                </a:cubicBezTo>
                <a:cubicBezTo>
                  <a:pt x="2442430" y="3203278"/>
                  <a:pt x="2444669" y="3196871"/>
                  <a:pt x="2448977" y="3191069"/>
                </a:cubicBezTo>
                <a:cubicBezTo>
                  <a:pt x="2453284" y="3185267"/>
                  <a:pt x="2458625" y="3179787"/>
                  <a:pt x="2464999" y="3174629"/>
                </a:cubicBezTo>
                <a:cubicBezTo>
                  <a:pt x="2471374" y="3169472"/>
                  <a:pt x="2477749" y="3164354"/>
                  <a:pt x="2484123" y="3159275"/>
                </a:cubicBezTo>
                <a:cubicBezTo>
                  <a:pt x="2490498" y="3154197"/>
                  <a:pt x="2495839" y="3148877"/>
                  <a:pt x="2500146" y="3143314"/>
                </a:cubicBezTo>
                <a:cubicBezTo>
                  <a:pt x="2504453" y="3137750"/>
                  <a:pt x="2506693" y="3131662"/>
                  <a:pt x="2506865" y="3125050"/>
                </a:cubicBezTo>
                <a:cubicBezTo>
                  <a:pt x="2506726" y="3117675"/>
                  <a:pt x="2504335" y="3111703"/>
                  <a:pt x="2499694" y="3107133"/>
                </a:cubicBezTo>
                <a:cubicBezTo>
                  <a:pt x="2495053" y="3102563"/>
                  <a:pt x="2488998" y="3100211"/>
                  <a:pt x="2481529" y="3100075"/>
                </a:cubicBezTo>
                <a:cubicBezTo>
                  <a:pt x="2472265" y="3100249"/>
                  <a:pt x="2465501" y="3102888"/>
                  <a:pt x="2461237" y="3107993"/>
                </a:cubicBezTo>
                <a:cubicBezTo>
                  <a:pt x="2456973" y="3113098"/>
                  <a:pt x="2454869" y="3119628"/>
                  <a:pt x="2454926" y="3127583"/>
                </a:cubicBezTo>
                <a:cubicBezTo>
                  <a:pt x="2454861" y="3129864"/>
                  <a:pt x="2454130" y="3131636"/>
                  <a:pt x="2452731" y="3132899"/>
                </a:cubicBezTo>
                <a:cubicBezTo>
                  <a:pt x="2451333" y="3134162"/>
                  <a:pt x="2449651" y="3134803"/>
                  <a:pt x="2447687" y="3134822"/>
                </a:cubicBezTo>
                <a:cubicBezTo>
                  <a:pt x="2445564" y="3134830"/>
                  <a:pt x="2443837" y="3134181"/>
                  <a:pt x="2442506" y="3132877"/>
                </a:cubicBezTo>
                <a:cubicBezTo>
                  <a:pt x="2441175" y="3131572"/>
                  <a:pt x="2440489" y="3129566"/>
                  <a:pt x="2440447" y="3126859"/>
                </a:cubicBezTo>
                <a:cubicBezTo>
                  <a:pt x="2440667" y="3115251"/>
                  <a:pt x="2444572" y="3106164"/>
                  <a:pt x="2452166" y="3099600"/>
                </a:cubicBezTo>
                <a:cubicBezTo>
                  <a:pt x="2459759" y="3093036"/>
                  <a:pt x="2469728" y="3089695"/>
                  <a:pt x="2482072" y="3089579"/>
                </a:cubicBezTo>
                <a:close/>
                <a:moveTo>
                  <a:pt x="1975599" y="3071395"/>
                </a:moveTo>
                <a:cubicBezTo>
                  <a:pt x="1968406" y="3071510"/>
                  <a:pt x="1962419" y="3073585"/>
                  <a:pt x="1957640" y="3077620"/>
                </a:cubicBezTo>
                <a:cubicBezTo>
                  <a:pt x="1952860" y="3081654"/>
                  <a:pt x="1949280" y="3086957"/>
                  <a:pt x="1946899" y="3093530"/>
                </a:cubicBezTo>
                <a:cubicBezTo>
                  <a:pt x="1944517" y="3100102"/>
                  <a:pt x="1943327" y="3107253"/>
                  <a:pt x="1943329" y="3114982"/>
                </a:cubicBezTo>
                <a:cubicBezTo>
                  <a:pt x="1943327" y="3122711"/>
                  <a:pt x="1944517" y="3129861"/>
                  <a:pt x="1946899" y="3136433"/>
                </a:cubicBezTo>
                <a:cubicBezTo>
                  <a:pt x="1949280" y="3143006"/>
                  <a:pt x="1952860" y="3148309"/>
                  <a:pt x="1957640" y="3152344"/>
                </a:cubicBezTo>
                <a:cubicBezTo>
                  <a:pt x="1962419" y="3156378"/>
                  <a:pt x="1968406" y="3158453"/>
                  <a:pt x="1975599" y="3158568"/>
                </a:cubicBezTo>
                <a:cubicBezTo>
                  <a:pt x="1982792" y="3158453"/>
                  <a:pt x="1988779" y="3156378"/>
                  <a:pt x="1993558" y="3152344"/>
                </a:cubicBezTo>
                <a:cubicBezTo>
                  <a:pt x="1998338" y="3148309"/>
                  <a:pt x="2001918" y="3143006"/>
                  <a:pt x="2004300" y="3136433"/>
                </a:cubicBezTo>
                <a:cubicBezTo>
                  <a:pt x="2006681" y="3129861"/>
                  <a:pt x="2007871" y="3122711"/>
                  <a:pt x="2007870" y="3114982"/>
                </a:cubicBezTo>
                <a:cubicBezTo>
                  <a:pt x="2007871" y="3107253"/>
                  <a:pt x="2006681" y="3100102"/>
                  <a:pt x="2004300" y="3093530"/>
                </a:cubicBezTo>
                <a:cubicBezTo>
                  <a:pt x="2001918" y="3086957"/>
                  <a:pt x="1998338" y="3081654"/>
                  <a:pt x="1993558" y="3077620"/>
                </a:cubicBezTo>
                <a:cubicBezTo>
                  <a:pt x="1988779" y="3073585"/>
                  <a:pt x="1982792" y="3071510"/>
                  <a:pt x="1975599" y="3071395"/>
                </a:cubicBezTo>
                <a:close/>
                <a:moveTo>
                  <a:pt x="1699374" y="3071395"/>
                </a:moveTo>
                <a:cubicBezTo>
                  <a:pt x="1692181" y="3071510"/>
                  <a:pt x="1686195" y="3073585"/>
                  <a:pt x="1681415" y="3077620"/>
                </a:cubicBezTo>
                <a:cubicBezTo>
                  <a:pt x="1676635" y="3081654"/>
                  <a:pt x="1673055" y="3086957"/>
                  <a:pt x="1670673" y="3093530"/>
                </a:cubicBezTo>
                <a:cubicBezTo>
                  <a:pt x="1668292" y="3100102"/>
                  <a:pt x="1667102" y="3107253"/>
                  <a:pt x="1667103" y="3114982"/>
                </a:cubicBezTo>
                <a:cubicBezTo>
                  <a:pt x="1667102" y="3122711"/>
                  <a:pt x="1668292" y="3129861"/>
                  <a:pt x="1670673" y="3136433"/>
                </a:cubicBezTo>
                <a:cubicBezTo>
                  <a:pt x="1673055" y="3143006"/>
                  <a:pt x="1676635" y="3148309"/>
                  <a:pt x="1681415" y="3152344"/>
                </a:cubicBezTo>
                <a:cubicBezTo>
                  <a:pt x="1686195" y="3156378"/>
                  <a:pt x="1692181" y="3158453"/>
                  <a:pt x="1699374" y="3158568"/>
                </a:cubicBezTo>
                <a:cubicBezTo>
                  <a:pt x="1706567" y="3158453"/>
                  <a:pt x="1712554" y="3156378"/>
                  <a:pt x="1717333" y="3152344"/>
                </a:cubicBezTo>
                <a:cubicBezTo>
                  <a:pt x="1722113" y="3148309"/>
                  <a:pt x="1725693" y="3143006"/>
                  <a:pt x="1728075" y="3136433"/>
                </a:cubicBezTo>
                <a:cubicBezTo>
                  <a:pt x="1730456" y="3129861"/>
                  <a:pt x="1731646" y="3122711"/>
                  <a:pt x="1731645" y="3114982"/>
                </a:cubicBezTo>
                <a:cubicBezTo>
                  <a:pt x="1731646" y="3107253"/>
                  <a:pt x="1730456" y="3100102"/>
                  <a:pt x="1728075" y="3093530"/>
                </a:cubicBezTo>
                <a:cubicBezTo>
                  <a:pt x="1725693" y="3086957"/>
                  <a:pt x="1722113" y="3081654"/>
                  <a:pt x="1717333" y="3077620"/>
                </a:cubicBezTo>
                <a:cubicBezTo>
                  <a:pt x="1712554" y="3073585"/>
                  <a:pt x="1706567" y="3071510"/>
                  <a:pt x="1699374" y="3071395"/>
                </a:cubicBezTo>
                <a:close/>
                <a:moveTo>
                  <a:pt x="1252956" y="3071395"/>
                </a:moveTo>
                <a:cubicBezTo>
                  <a:pt x="1241108" y="3071740"/>
                  <a:pt x="1232534" y="3076080"/>
                  <a:pt x="1227234" y="3084413"/>
                </a:cubicBezTo>
                <a:cubicBezTo>
                  <a:pt x="1221934" y="3092748"/>
                  <a:pt x="1219332" y="3103007"/>
                  <a:pt x="1219429" y="3115191"/>
                </a:cubicBezTo>
                <a:cubicBezTo>
                  <a:pt x="1219376" y="3127542"/>
                  <a:pt x="1221943" y="3137783"/>
                  <a:pt x="1227129" y="3145916"/>
                </a:cubicBezTo>
                <a:cubicBezTo>
                  <a:pt x="1232316" y="3154050"/>
                  <a:pt x="1240436" y="3158267"/>
                  <a:pt x="1251490" y="3158568"/>
                </a:cubicBezTo>
                <a:cubicBezTo>
                  <a:pt x="1259252" y="3158489"/>
                  <a:pt x="1265783" y="3156761"/>
                  <a:pt x="1271083" y="3153382"/>
                </a:cubicBezTo>
                <a:cubicBezTo>
                  <a:pt x="1276382" y="3150003"/>
                  <a:pt x="1279141" y="3145445"/>
                  <a:pt x="1279360" y="3139709"/>
                </a:cubicBezTo>
                <a:lnTo>
                  <a:pt x="1279360" y="3084178"/>
                </a:lnTo>
                <a:cubicBezTo>
                  <a:pt x="1279150" y="3079886"/>
                  <a:pt x="1276531" y="3076682"/>
                  <a:pt x="1271502" y="3074565"/>
                </a:cubicBezTo>
                <a:cubicBezTo>
                  <a:pt x="1266472" y="3072447"/>
                  <a:pt x="1260291" y="3071391"/>
                  <a:pt x="1252956" y="3071395"/>
                </a:cubicBezTo>
                <a:close/>
                <a:moveTo>
                  <a:pt x="1135723" y="3071395"/>
                </a:moveTo>
                <a:cubicBezTo>
                  <a:pt x="1126834" y="3071718"/>
                  <a:pt x="1119727" y="3075158"/>
                  <a:pt x="1114401" y="3081716"/>
                </a:cubicBezTo>
                <a:cubicBezTo>
                  <a:pt x="1109075" y="3088273"/>
                  <a:pt x="1106054" y="3096009"/>
                  <a:pt x="1105338" y="3104923"/>
                </a:cubicBezTo>
                <a:lnTo>
                  <a:pt x="1162964" y="3104923"/>
                </a:lnTo>
                <a:cubicBezTo>
                  <a:pt x="1162811" y="3094450"/>
                  <a:pt x="1160236" y="3086269"/>
                  <a:pt x="1155237" y="3080380"/>
                </a:cubicBezTo>
                <a:cubicBezTo>
                  <a:pt x="1150239" y="3074490"/>
                  <a:pt x="1143734" y="3071496"/>
                  <a:pt x="1135723" y="3071395"/>
                </a:cubicBezTo>
                <a:close/>
                <a:moveTo>
                  <a:pt x="217551" y="3071186"/>
                </a:moveTo>
                <a:cubicBezTo>
                  <a:pt x="210531" y="3071312"/>
                  <a:pt x="204925" y="3073626"/>
                  <a:pt x="200734" y="3078127"/>
                </a:cubicBezTo>
                <a:cubicBezTo>
                  <a:pt x="196543" y="3082628"/>
                  <a:pt x="194396" y="3088556"/>
                  <a:pt x="194291" y="3095912"/>
                </a:cubicBezTo>
                <a:cubicBezTo>
                  <a:pt x="194365" y="3103050"/>
                  <a:pt x="196417" y="3108787"/>
                  <a:pt x="200446" y="3113122"/>
                </a:cubicBezTo>
                <a:cubicBezTo>
                  <a:pt x="204476" y="3117457"/>
                  <a:pt x="210038" y="3119683"/>
                  <a:pt x="217132" y="3119801"/>
                </a:cubicBezTo>
                <a:cubicBezTo>
                  <a:pt x="224152" y="3119688"/>
                  <a:pt x="229757" y="3117453"/>
                  <a:pt x="233948" y="3113096"/>
                </a:cubicBezTo>
                <a:cubicBezTo>
                  <a:pt x="238139" y="3108739"/>
                  <a:pt x="240287" y="3102941"/>
                  <a:pt x="240392" y="3095703"/>
                </a:cubicBezTo>
                <a:cubicBezTo>
                  <a:pt x="240304" y="3088539"/>
                  <a:pt x="238226" y="3082698"/>
                  <a:pt x="234158" y="3078180"/>
                </a:cubicBezTo>
                <a:cubicBezTo>
                  <a:pt x="230089" y="3073661"/>
                  <a:pt x="224553" y="3071330"/>
                  <a:pt x="217551" y="3071186"/>
                </a:cubicBezTo>
                <a:close/>
                <a:moveTo>
                  <a:pt x="1616964" y="3062594"/>
                </a:moveTo>
                <a:lnTo>
                  <a:pt x="1622203" y="3062594"/>
                </a:lnTo>
                <a:cubicBezTo>
                  <a:pt x="1623713" y="3062638"/>
                  <a:pt x="1624988" y="3063179"/>
                  <a:pt x="1626027" y="3064218"/>
                </a:cubicBezTo>
                <a:cubicBezTo>
                  <a:pt x="1627066" y="3065257"/>
                  <a:pt x="1627607" y="3066532"/>
                  <a:pt x="1627651" y="3068042"/>
                </a:cubicBezTo>
                <a:lnTo>
                  <a:pt x="1627651" y="3161921"/>
                </a:lnTo>
                <a:cubicBezTo>
                  <a:pt x="1627607" y="3163431"/>
                  <a:pt x="1627066" y="3164706"/>
                  <a:pt x="1626027" y="3165745"/>
                </a:cubicBezTo>
                <a:cubicBezTo>
                  <a:pt x="1624988" y="3166784"/>
                  <a:pt x="1623713" y="3167326"/>
                  <a:pt x="1622203" y="3167369"/>
                </a:cubicBezTo>
                <a:lnTo>
                  <a:pt x="1616964" y="3167369"/>
                </a:lnTo>
                <a:cubicBezTo>
                  <a:pt x="1615453" y="3167326"/>
                  <a:pt x="1614179" y="3166784"/>
                  <a:pt x="1613139" y="3165745"/>
                </a:cubicBezTo>
                <a:cubicBezTo>
                  <a:pt x="1612101" y="3164706"/>
                  <a:pt x="1611559" y="3163431"/>
                  <a:pt x="1611515" y="3161921"/>
                </a:cubicBezTo>
                <a:lnTo>
                  <a:pt x="1611515" y="3068042"/>
                </a:lnTo>
                <a:cubicBezTo>
                  <a:pt x="1611559" y="3066532"/>
                  <a:pt x="1612101" y="3065257"/>
                  <a:pt x="1613139" y="3064218"/>
                </a:cubicBezTo>
                <a:cubicBezTo>
                  <a:pt x="1614179" y="3063179"/>
                  <a:pt x="1615453" y="3062638"/>
                  <a:pt x="1616964" y="3062594"/>
                </a:cubicBezTo>
                <a:close/>
                <a:moveTo>
                  <a:pt x="1331214" y="3062594"/>
                </a:moveTo>
                <a:lnTo>
                  <a:pt x="1336453" y="3062594"/>
                </a:lnTo>
                <a:cubicBezTo>
                  <a:pt x="1337963" y="3062638"/>
                  <a:pt x="1339238" y="3063179"/>
                  <a:pt x="1340277" y="3064218"/>
                </a:cubicBezTo>
                <a:cubicBezTo>
                  <a:pt x="1341316" y="3065257"/>
                  <a:pt x="1341857" y="3066532"/>
                  <a:pt x="1341901" y="3068042"/>
                </a:cubicBezTo>
                <a:lnTo>
                  <a:pt x="1341901" y="3135518"/>
                </a:lnTo>
                <a:cubicBezTo>
                  <a:pt x="1341840" y="3142895"/>
                  <a:pt x="1343691" y="3148571"/>
                  <a:pt x="1347454" y="3152544"/>
                </a:cubicBezTo>
                <a:cubicBezTo>
                  <a:pt x="1351217" y="3156516"/>
                  <a:pt x="1357259" y="3158524"/>
                  <a:pt x="1365580" y="3158568"/>
                </a:cubicBezTo>
                <a:cubicBezTo>
                  <a:pt x="1374538" y="3158546"/>
                  <a:pt x="1381087" y="3157542"/>
                  <a:pt x="1385225" y="3155556"/>
                </a:cubicBezTo>
                <a:cubicBezTo>
                  <a:pt x="1389364" y="3153569"/>
                  <a:pt x="1391407" y="3150732"/>
                  <a:pt x="1391355" y="3147043"/>
                </a:cubicBezTo>
                <a:lnTo>
                  <a:pt x="1391355" y="3068042"/>
                </a:lnTo>
                <a:cubicBezTo>
                  <a:pt x="1391398" y="3066532"/>
                  <a:pt x="1391940" y="3065257"/>
                  <a:pt x="1392979" y="3064218"/>
                </a:cubicBezTo>
                <a:cubicBezTo>
                  <a:pt x="1394018" y="3063179"/>
                  <a:pt x="1395293" y="3062638"/>
                  <a:pt x="1396803" y="3062594"/>
                </a:cubicBezTo>
                <a:lnTo>
                  <a:pt x="1402042" y="3062594"/>
                </a:lnTo>
                <a:cubicBezTo>
                  <a:pt x="1403552" y="3062638"/>
                  <a:pt x="1404827" y="3063179"/>
                  <a:pt x="1405866" y="3064218"/>
                </a:cubicBezTo>
                <a:cubicBezTo>
                  <a:pt x="1406905" y="3065257"/>
                  <a:pt x="1407446" y="3066532"/>
                  <a:pt x="1407490" y="3068042"/>
                </a:cubicBezTo>
                <a:lnTo>
                  <a:pt x="1407490" y="3161921"/>
                </a:lnTo>
                <a:cubicBezTo>
                  <a:pt x="1407446" y="3163431"/>
                  <a:pt x="1406905" y="3164706"/>
                  <a:pt x="1405866" y="3165745"/>
                </a:cubicBezTo>
                <a:cubicBezTo>
                  <a:pt x="1404827" y="3166784"/>
                  <a:pt x="1403552" y="3167326"/>
                  <a:pt x="1402042" y="3167369"/>
                </a:cubicBezTo>
                <a:lnTo>
                  <a:pt x="1396803" y="3167369"/>
                </a:lnTo>
                <a:cubicBezTo>
                  <a:pt x="1395293" y="3167326"/>
                  <a:pt x="1394018" y="3166784"/>
                  <a:pt x="1392979" y="3165745"/>
                </a:cubicBezTo>
                <a:cubicBezTo>
                  <a:pt x="1391940" y="3164706"/>
                  <a:pt x="1391398" y="3163431"/>
                  <a:pt x="1391355" y="3161921"/>
                </a:cubicBezTo>
                <a:lnTo>
                  <a:pt x="1391355" y="3161083"/>
                </a:lnTo>
                <a:cubicBezTo>
                  <a:pt x="1388556" y="3163842"/>
                  <a:pt x="1384828" y="3166024"/>
                  <a:pt x="1380170" y="3167631"/>
                </a:cubicBezTo>
                <a:cubicBezTo>
                  <a:pt x="1375512" y="3169238"/>
                  <a:pt x="1369740" y="3170058"/>
                  <a:pt x="1362856" y="3170093"/>
                </a:cubicBezTo>
                <a:cubicBezTo>
                  <a:pt x="1349851" y="3169984"/>
                  <a:pt x="1340395" y="3167059"/>
                  <a:pt x="1334488" y="3161318"/>
                </a:cubicBezTo>
                <a:cubicBezTo>
                  <a:pt x="1328581" y="3155578"/>
                  <a:pt x="1325674" y="3147676"/>
                  <a:pt x="1325765" y="3137613"/>
                </a:cubicBezTo>
                <a:lnTo>
                  <a:pt x="1325765" y="3068042"/>
                </a:lnTo>
                <a:cubicBezTo>
                  <a:pt x="1325809" y="3066532"/>
                  <a:pt x="1326351" y="3065257"/>
                  <a:pt x="1327389" y="3064218"/>
                </a:cubicBezTo>
                <a:cubicBezTo>
                  <a:pt x="1328429" y="3063179"/>
                  <a:pt x="1329703" y="3062638"/>
                  <a:pt x="1331214" y="3062594"/>
                </a:cubicBezTo>
                <a:close/>
                <a:moveTo>
                  <a:pt x="550164" y="3062594"/>
                </a:moveTo>
                <a:lnTo>
                  <a:pt x="555403" y="3062594"/>
                </a:lnTo>
                <a:cubicBezTo>
                  <a:pt x="556913" y="3062638"/>
                  <a:pt x="558188" y="3063179"/>
                  <a:pt x="559227" y="3064218"/>
                </a:cubicBezTo>
                <a:cubicBezTo>
                  <a:pt x="560266" y="3065257"/>
                  <a:pt x="560807" y="3066532"/>
                  <a:pt x="560851" y="3068042"/>
                </a:cubicBezTo>
                <a:lnTo>
                  <a:pt x="560851" y="3161921"/>
                </a:lnTo>
                <a:cubicBezTo>
                  <a:pt x="560807" y="3163431"/>
                  <a:pt x="560266" y="3164706"/>
                  <a:pt x="559227" y="3165745"/>
                </a:cubicBezTo>
                <a:cubicBezTo>
                  <a:pt x="558188" y="3166784"/>
                  <a:pt x="556913" y="3167326"/>
                  <a:pt x="555403" y="3167369"/>
                </a:cubicBezTo>
                <a:lnTo>
                  <a:pt x="550164" y="3167369"/>
                </a:lnTo>
                <a:cubicBezTo>
                  <a:pt x="548653" y="3167326"/>
                  <a:pt x="547379" y="3166784"/>
                  <a:pt x="546340" y="3165745"/>
                </a:cubicBezTo>
                <a:cubicBezTo>
                  <a:pt x="545301" y="3164706"/>
                  <a:pt x="544759" y="3163431"/>
                  <a:pt x="544716" y="3161921"/>
                </a:cubicBezTo>
                <a:lnTo>
                  <a:pt x="544716" y="3068042"/>
                </a:lnTo>
                <a:cubicBezTo>
                  <a:pt x="544759" y="3066532"/>
                  <a:pt x="545301" y="3065257"/>
                  <a:pt x="546340" y="3064218"/>
                </a:cubicBezTo>
                <a:cubicBezTo>
                  <a:pt x="547379" y="3063179"/>
                  <a:pt x="548653" y="3062638"/>
                  <a:pt x="550164" y="3062594"/>
                </a:cubicBezTo>
                <a:close/>
                <a:moveTo>
                  <a:pt x="416814" y="3062594"/>
                </a:moveTo>
                <a:lnTo>
                  <a:pt x="422053" y="3062594"/>
                </a:lnTo>
                <a:cubicBezTo>
                  <a:pt x="423563" y="3062638"/>
                  <a:pt x="424838" y="3063179"/>
                  <a:pt x="425877" y="3064218"/>
                </a:cubicBezTo>
                <a:cubicBezTo>
                  <a:pt x="426916" y="3065257"/>
                  <a:pt x="427457" y="3066532"/>
                  <a:pt x="427501" y="3068042"/>
                </a:cubicBezTo>
                <a:lnTo>
                  <a:pt x="427501" y="3161921"/>
                </a:lnTo>
                <a:cubicBezTo>
                  <a:pt x="427457" y="3163431"/>
                  <a:pt x="426916" y="3164706"/>
                  <a:pt x="425877" y="3165745"/>
                </a:cubicBezTo>
                <a:cubicBezTo>
                  <a:pt x="424838" y="3166784"/>
                  <a:pt x="423563" y="3167326"/>
                  <a:pt x="422053" y="3167369"/>
                </a:cubicBezTo>
                <a:lnTo>
                  <a:pt x="416814" y="3167369"/>
                </a:lnTo>
                <a:cubicBezTo>
                  <a:pt x="415303" y="3167326"/>
                  <a:pt x="414029" y="3166784"/>
                  <a:pt x="412990" y="3165745"/>
                </a:cubicBezTo>
                <a:cubicBezTo>
                  <a:pt x="411951" y="3164706"/>
                  <a:pt x="411409" y="3163431"/>
                  <a:pt x="411366" y="3161921"/>
                </a:cubicBezTo>
                <a:lnTo>
                  <a:pt x="411366" y="3068042"/>
                </a:lnTo>
                <a:cubicBezTo>
                  <a:pt x="411409" y="3066532"/>
                  <a:pt x="411951" y="3065257"/>
                  <a:pt x="412990" y="3064218"/>
                </a:cubicBezTo>
                <a:cubicBezTo>
                  <a:pt x="414029" y="3063179"/>
                  <a:pt x="415303" y="3062638"/>
                  <a:pt x="416814" y="3062594"/>
                </a:cubicBezTo>
                <a:close/>
                <a:moveTo>
                  <a:pt x="131064" y="3062594"/>
                </a:moveTo>
                <a:lnTo>
                  <a:pt x="136303" y="3062594"/>
                </a:lnTo>
                <a:cubicBezTo>
                  <a:pt x="137813" y="3062638"/>
                  <a:pt x="139088" y="3063179"/>
                  <a:pt x="140127" y="3064218"/>
                </a:cubicBezTo>
                <a:cubicBezTo>
                  <a:pt x="141166" y="3065257"/>
                  <a:pt x="141707" y="3066532"/>
                  <a:pt x="141751" y="3068042"/>
                </a:cubicBezTo>
                <a:lnTo>
                  <a:pt x="141751" y="3161921"/>
                </a:lnTo>
                <a:cubicBezTo>
                  <a:pt x="141707" y="3163431"/>
                  <a:pt x="141166" y="3164706"/>
                  <a:pt x="140127" y="3165745"/>
                </a:cubicBezTo>
                <a:cubicBezTo>
                  <a:pt x="139088" y="3166784"/>
                  <a:pt x="137813" y="3167326"/>
                  <a:pt x="136303" y="3167369"/>
                </a:cubicBezTo>
                <a:lnTo>
                  <a:pt x="131064" y="3167369"/>
                </a:lnTo>
                <a:cubicBezTo>
                  <a:pt x="129553" y="3167326"/>
                  <a:pt x="128279" y="3166784"/>
                  <a:pt x="127240" y="3165745"/>
                </a:cubicBezTo>
                <a:cubicBezTo>
                  <a:pt x="126201" y="3164706"/>
                  <a:pt x="125659" y="3163431"/>
                  <a:pt x="125616" y="3161921"/>
                </a:cubicBezTo>
                <a:lnTo>
                  <a:pt x="125616" y="3068042"/>
                </a:lnTo>
                <a:cubicBezTo>
                  <a:pt x="125659" y="3066532"/>
                  <a:pt x="126201" y="3065257"/>
                  <a:pt x="127240" y="3064218"/>
                </a:cubicBezTo>
                <a:cubicBezTo>
                  <a:pt x="128279" y="3063179"/>
                  <a:pt x="129553" y="3062638"/>
                  <a:pt x="131064" y="3062594"/>
                </a:cubicBezTo>
                <a:close/>
                <a:moveTo>
                  <a:pt x="1975599" y="3059870"/>
                </a:moveTo>
                <a:cubicBezTo>
                  <a:pt x="1985635" y="3059992"/>
                  <a:pt x="1994294" y="3062519"/>
                  <a:pt x="2001575" y="3067453"/>
                </a:cubicBezTo>
                <a:cubicBezTo>
                  <a:pt x="2008857" y="3072386"/>
                  <a:pt x="2014473" y="3078996"/>
                  <a:pt x="2018425" y="3087282"/>
                </a:cubicBezTo>
                <a:cubicBezTo>
                  <a:pt x="2022377" y="3095569"/>
                  <a:pt x="2024377" y="3104802"/>
                  <a:pt x="2024424" y="3114982"/>
                </a:cubicBezTo>
                <a:cubicBezTo>
                  <a:pt x="2024377" y="3125162"/>
                  <a:pt x="2022377" y="3134395"/>
                  <a:pt x="2018425" y="3142681"/>
                </a:cubicBezTo>
                <a:cubicBezTo>
                  <a:pt x="2014473" y="3150967"/>
                  <a:pt x="2008857" y="3157577"/>
                  <a:pt x="2001575" y="3162511"/>
                </a:cubicBezTo>
                <a:cubicBezTo>
                  <a:pt x="1994294" y="3167444"/>
                  <a:pt x="1985635" y="3169972"/>
                  <a:pt x="1975599" y="3170093"/>
                </a:cubicBezTo>
                <a:cubicBezTo>
                  <a:pt x="1965565" y="3169972"/>
                  <a:pt x="1956925" y="3167444"/>
                  <a:pt x="1949677" y="3162511"/>
                </a:cubicBezTo>
                <a:cubicBezTo>
                  <a:pt x="1942429" y="3157577"/>
                  <a:pt x="1936847" y="3150967"/>
                  <a:pt x="1932929" y="3142681"/>
                </a:cubicBezTo>
                <a:cubicBezTo>
                  <a:pt x="1929011" y="3134395"/>
                  <a:pt x="1927029" y="3125162"/>
                  <a:pt x="1926983" y="3114982"/>
                </a:cubicBezTo>
                <a:cubicBezTo>
                  <a:pt x="1927029" y="3104802"/>
                  <a:pt x="1929011" y="3095569"/>
                  <a:pt x="1932929" y="3087282"/>
                </a:cubicBezTo>
                <a:cubicBezTo>
                  <a:pt x="1936847" y="3078996"/>
                  <a:pt x="1942429" y="3072386"/>
                  <a:pt x="1949677" y="3067453"/>
                </a:cubicBezTo>
                <a:cubicBezTo>
                  <a:pt x="1956925" y="3062519"/>
                  <a:pt x="1965565" y="3059992"/>
                  <a:pt x="1975599" y="3059870"/>
                </a:cubicBezTo>
                <a:close/>
                <a:moveTo>
                  <a:pt x="1818075" y="3059870"/>
                </a:moveTo>
                <a:cubicBezTo>
                  <a:pt x="1831080" y="3060014"/>
                  <a:pt x="1840536" y="3063079"/>
                  <a:pt x="1846442" y="3069064"/>
                </a:cubicBezTo>
                <a:cubicBezTo>
                  <a:pt x="1852349" y="3075049"/>
                  <a:pt x="1855257" y="3083091"/>
                  <a:pt x="1855165" y="3093188"/>
                </a:cubicBezTo>
                <a:lnTo>
                  <a:pt x="1855165" y="3161921"/>
                </a:lnTo>
                <a:cubicBezTo>
                  <a:pt x="1855121" y="3163431"/>
                  <a:pt x="1854580" y="3164706"/>
                  <a:pt x="1853541" y="3165745"/>
                </a:cubicBezTo>
                <a:cubicBezTo>
                  <a:pt x="1852502" y="3166784"/>
                  <a:pt x="1851227" y="3167326"/>
                  <a:pt x="1849717" y="3167369"/>
                </a:cubicBezTo>
                <a:lnTo>
                  <a:pt x="1844478" y="3167369"/>
                </a:lnTo>
                <a:cubicBezTo>
                  <a:pt x="1842967" y="3167326"/>
                  <a:pt x="1841693" y="3166784"/>
                  <a:pt x="1840654" y="3165745"/>
                </a:cubicBezTo>
                <a:cubicBezTo>
                  <a:pt x="1839615" y="3164706"/>
                  <a:pt x="1839073" y="3163431"/>
                  <a:pt x="1839030" y="3161921"/>
                </a:cubicBezTo>
                <a:lnTo>
                  <a:pt x="1839030" y="3095284"/>
                </a:lnTo>
                <a:cubicBezTo>
                  <a:pt x="1839082" y="3087871"/>
                  <a:pt x="1837196" y="3082056"/>
                  <a:pt x="1833372" y="3077839"/>
                </a:cubicBezTo>
                <a:cubicBezTo>
                  <a:pt x="1829547" y="3073622"/>
                  <a:pt x="1823471" y="3071474"/>
                  <a:pt x="1815141" y="3071395"/>
                </a:cubicBezTo>
                <a:cubicBezTo>
                  <a:pt x="1806191" y="3071400"/>
                  <a:pt x="1799678" y="3072334"/>
                  <a:pt x="1795601" y="3074198"/>
                </a:cubicBezTo>
                <a:cubicBezTo>
                  <a:pt x="1791523" y="3076062"/>
                  <a:pt x="1789515" y="3078830"/>
                  <a:pt x="1789576" y="3082501"/>
                </a:cubicBezTo>
                <a:lnTo>
                  <a:pt x="1789576" y="3161921"/>
                </a:lnTo>
                <a:cubicBezTo>
                  <a:pt x="1789532" y="3163431"/>
                  <a:pt x="1788991" y="3164706"/>
                  <a:pt x="1787952" y="3165745"/>
                </a:cubicBezTo>
                <a:cubicBezTo>
                  <a:pt x="1786913" y="3166784"/>
                  <a:pt x="1785638" y="3167326"/>
                  <a:pt x="1784128" y="3167369"/>
                </a:cubicBezTo>
                <a:lnTo>
                  <a:pt x="1778889" y="3167369"/>
                </a:lnTo>
                <a:cubicBezTo>
                  <a:pt x="1777378" y="3167326"/>
                  <a:pt x="1776103" y="3166784"/>
                  <a:pt x="1775065" y="3165745"/>
                </a:cubicBezTo>
                <a:cubicBezTo>
                  <a:pt x="1774026" y="3164706"/>
                  <a:pt x="1773484" y="3163431"/>
                  <a:pt x="1773441" y="3161921"/>
                </a:cubicBezTo>
                <a:lnTo>
                  <a:pt x="1773441" y="3068042"/>
                </a:lnTo>
                <a:cubicBezTo>
                  <a:pt x="1773484" y="3066532"/>
                  <a:pt x="1774026" y="3065257"/>
                  <a:pt x="1775065" y="3064218"/>
                </a:cubicBezTo>
                <a:cubicBezTo>
                  <a:pt x="1776103" y="3063179"/>
                  <a:pt x="1777378" y="3062638"/>
                  <a:pt x="1778889" y="3062594"/>
                </a:cubicBezTo>
                <a:lnTo>
                  <a:pt x="1784128" y="3062594"/>
                </a:lnTo>
                <a:cubicBezTo>
                  <a:pt x="1785638" y="3062638"/>
                  <a:pt x="1786913" y="3063179"/>
                  <a:pt x="1787952" y="3064218"/>
                </a:cubicBezTo>
                <a:cubicBezTo>
                  <a:pt x="1788991" y="3065257"/>
                  <a:pt x="1789532" y="3066532"/>
                  <a:pt x="1789576" y="3068042"/>
                </a:cubicBezTo>
                <a:lnTo>
                  <a:pt x="1789576" y="3068881"/>
                </a:lnTo>
                <a:cubicBezTo>
                  <a:pt x="1792374" y="3066122"/>
                  <a:pt x="1796102" y="3063939"/>
                  <a:pt x="1800761" y="3062332"/>
                </a:cubicBezTo>
                <a:cubicBezTo>
                  <a:pt x="1805419" y="3060726"/>
                  <a:pt x="1811190" y="3059905"/>
                  <a:pt x="1818075" y="3059870"/>
                </a:cubicBezTo>
                <a:close/>
                <a:moveTo>
                  <a:pt x="1699374" y="3059870"/>
                </a:moveTo>
                <a:cubicBezTo>
                  <a:pt x="1709411" y="3059992"/>
                  <a:pt x="1718069" y="3062519"/>
                  <a:pt x="1725351" y="3067453"/>
                </a:cubicBezTo>
                <a:cubicBezTo>
                  <a:pt x="1732632" y="3072386"/>
                  <a:pt x="1738248" y="3078996"/>
                  <a:pt x="1742200" y="3087282"/>
                </a:cubicBezTo>
                <a:cubicBezTo>
                  <a:pt x="1746152" y="3095569"/>
                  <a:pt x="1748151" y="3104802"/>
                  <a:pt x="1748199" y="3114982"/>
                </a:cubicBezTo>
                <a:cubicBezTo>
                  <a:pt x="1748151" y="3125162"/>
                  <a:pt x="1746152" y="3134395"/>
                  <a:pt x="1742200" y="3142681"/>
                </a:cubicBezTo>
                <a:cubicBezTo>
                  <a:pt x="1738248" y="3150967"/>
                  <a:pt x="1732632" y="3157577"/>
                  <a:pt x="1725351" y="3162511"/>
                </a:cubicBezTo>
                <a:cubicBezTo>
                  <a:pt x="1718069" y="3167444"/>
                  <a:pt x="1709411" y="3169972"/>
                  <a:pt x="1699374" y="3170093"/>
                </a:cubicBezTo>
                <a:cubicBezTo>
                  <a:pt x="1689340" y="3169972"/>
                  <a:pt x="1680700" y="3167444"/>
                  <a:pt x="1673452" y="3162511"/>
                </a:cubicBezTo>
                <a:cubicBezTo>
                  <a:pt x="1666204" y="3157577"/>
                  <a:pt x="1660621" y="3150967"/>
                  <a:pt x="1656703" y="3142681"/>
                </a:cubicBezTo>
                <a:cubicBezTo>
                  <a:pt x="1652785" y="3134395"/>
                  <a:pt x="1650804" y="3125162"/>
                  <a:pt x="1650758" y="3114982"/>
                </a:cubicBezTo>
                <a:cubicBezTo>
                  <a:pt x="1650804" y="3104802"/>
                  <a:pt x="1652785" y="3095569"/>
                  <a:pt x="1656703" y="3087282"/>
                </a:cubicBezTo>
                <a:cubicBezTo>
                  <a:pt x="1660621" y="3078996"/>
                  <a:pt x="1666204" y="3072386"/>
                  <a:pt x="1673452" y="3067453"/>
                </a:cubicBezTo>
                <a:cubicBezTo>
                  <a:pt x="1680700" y="3062519"/>
                  <a:pt x="1689340" y="3059992"/>
                  <a:pt x="1699374" y="3059870"/>
                </a:cubicBezTo>
                <a:close/>
                <a:moveTo>
                  <a:pt x="1491081" y="3059870"/>
                </a:moveTo>
                <a:cubicBezTo>
                  <a:pt x="1501127" y="3059992"/>
                  <a:pt x="1508959" y="3061372"/>
                  <a:pt x="1514577" y="3064009"/>
                </a:cubicBezTo>
                <a:cubicBezTo>
                  <a:pt x="1520196" y="3066645"/>
                  <a:pt x="1523051" y="3069806"/>
                  <a:pt x="1523143" y="3073491"/>
                </a:cubicBezTo>
                <a:cubicBezTo>
                  <a:pt x="1523108" y="3075412"/>
                  <a:pt x="1522497" y="3076966"/>
                  <a:pt x="1521309" y="3078153"/>
                </a:cubicBezTo>
                <a:cubicBezTo>
                  <a:pt x="1520121" y="3079341"/>
                  <a:pt x="1518567" y="3079952"/>
                  <a:pt x="1516647" y="3079987"/>
                </a:cubicBezTo>
                <a:cubicBezTo>
                  <a:pt x="1513193" y="3079646"/>
                  <a:pt x="1509727" y="3078284"/>
                  <a:pt x="1506248" y="3075901"/>
                </a:cubicBezTo>
                <a:cubicBezTo>
                  <a:pt x="1502768" y="3073517"/>
                  <a:pt x="1497363" y="3072155"/>
                  <a:pt x="1490034" y="3071814"/>
                </a:cubicBezTo>
                <a:cubicBezTo>
                  <a:pt x="1482434" y="3071972"/>
                  <a:pt x="1476189" y="3074194"/>
                  <a:pt x="1471298" y="3078481"/>
                </a:cubicBezTo>
                <a:cubicBezTo>
                  <a:pt x="1466408" y="3082768"/>
                  <a:pt x="1462786" y="3088172"/>
                  <a:pt x="1460433" y="3094694"/>
                </a:cubicBezTo>
                <a:cubicBezTo>
                  <a:pt x="1458080" y="3101216"/>
                  <a:pt x="1456911" y="3107909"/>
                  <a:pt x="1456925" y="3114772"/>
                </a:cubicBezTo>
                <a:cubicBezTo>
                  <a:pt x="1457187" y="3128314"/>
                  <a:pt x="1460435" y="3138896"/>
                  <a:pt x="1466669" y="3146519"/>
                </a:cubicBezTo>
                <a:cubicBezTo>
                  <a:pt x="1472903" y="3154141"/>
                  <a:pt x="1480551" y="3158018"/>
                  <a:pt x="1489615" y="3158149"/>
                </a:cubicBezTo>
                <a:cubicBezTo>
                  <a:pt x="1495177" y="3158038"/>
                  <a:pt x="1499606" y="3157259"/>
                  <a:pt x="1502902" y="3155813"/>
                </a:cubicBezTo>
                <a:cubicBezTo>
                  <a:pt x="1506197" y="3154367"/>
                  <a:pt x="1508935" y="3152921"/>
                  <a:pt x="1511113" y="3151474"/>
                </a:cubicBezTo>
                <a:cubicBezTo>
                  <a:pt x="1513291" y="3150028"/>
                  <a:pt x="1515485" y="3149250"/>
                  <a:pt x="1517694" y="3149138"/>
                </a:cubicBezTo>
                <a:cubicBezTo>
                  <a:pt x="1519707" y="3149160"/>
                  <a:pt x="1521287" y="3149745"/>
                  <a:pt x="1522435" y="3150893"/>
                </a:cubicBezTo>
                <a:cubicBezTo>
                  <a:pt x="1523583" y="3152041"/>
                  <a:pt x="1524169" y="3153622"/>
                  <a:pt x="1524190" y="3155634"/>
                </a:cubicBezTo>
                <a:cubicBezTo>
                  <a:pt x="1524029" y="3159354"/>
                  <a:pt x="1520894" y="3162654"/>
                  <a:pt x="1514787" y="3165536"/>
                </a:cubicBezTo>
                <a:cubicBezTo>
                  <a:pt x="1508679" y="3168417"/>
                  <a:pt x="1500568" y="3169936"/>
                  <a:pt x="1490453" y="3170093"/>
                </a:cubicBezTo>
                <a:cubicBezTo>
                  <a:pt x="1475291" y="3169945"/>
                  <a:pt x="1463338" y="3165055"/>
                  <a:pt x="1454593" y="3155425"/>
                </a:cubicBezTo>
                <a:cubicBezTo>
                  <a:pt x="1445849" y="3145794"/>
                  <a:pt x="1441387" y="3132313"/>
                  <a:pt x="1441208" y="3114982"/>
                </a:cubicBezTo>
                <a:cubicBezTo>
                  <a:pt x="1441414" y="3098750"/>
                  <a:pt x="1445980" y="3085583"/>
                  <a:pt x="1454908" y="3075481"/>
                </a:cubicBezTo>
                <a:cubicBezTo>
                  <a:pt x="1463835" y="3065379"/>
                  <a:pt x="1475893" y="3060176"/>
                  <a:pt x="1491081" y="3059870"/>
                </a:cubicBezTo>
                <a:close/>
                <a:moveTo>
                  <a:pt x="1136351" y="3059870"/>
                </a:moveTo>
                <a:cubicBezTo>
                  <a:pt x="1145389" y="3059990"/>
                  <a:pt x="1153088" y="3062241"/>
                  <a:pt x="1159449" y="3066622"/>
                </a:cubicBezTo>
                <a:cubicBezTo>
                  <a:pt x="1165809" y="3071003"/>
                  <a:pt x="1170667" y="3076793"/>
                  <a:pt x="1174024" y="3083992"/>
                </a:cubicBezTo>
                <a:cubicBezTo>
                  <a:pt x="1177380" y="3091190"/>
                  <a:pt x="1179073" y="3099075"/>
                  <a:pt x="1179099" y="3107647"/>
                </a:cubicBezTo>
                <a:cubicBezTo>
                  <a:pt x="1179143" y="3110913"/>
                  <a:pt x="1178742" y="3113078"/>
                  <a:pt x="1177895" y="3114143"/>
                </a:cubicBezTo>
                <a:cubicBezTo>
                  <a:pt x="1177048" y="3115209"/>
                  <a:pt x="1175493" y="3115698"/>
                  <a:pt x="1173232" y="3115610"/>
                </a:cubicBezTo>
                <a:lnTo>
                  <a:pt x="1104709" y="3115610"/>
                </a:lnTo>
                <a:cubicBezTo>
                  <a:pt x="1105150" y="3129375"/>
                  <a:pt x="1108564" y="3139826"/>
                  <a:pt x="1114951" y="3146964"/>
                </a:cubicBezTo>
                <a:cubicBezTo>
                  <a:pt x="1121338" y="3154102"/>
                  <a:pt x="1129310" y="3157691"/>
                  <a:pt x="1138866" y="3157730"/>
                </a:cubicBezTo>
                <a:cubicBezTo>
                  <a:pt x="1145052" y="3157621"/>
                  <a:pt x="1149980" y="3156860"/>
                  <a:pt x="1153651" y="3155448"/>
                </a:cubicBezTo>
                <a:cubicBezTo>
                  <a:pt x="1157322" y="3154036"/>
                  <a:pt x="1160341" y="3152623"/>
                  <a:pt x="1162708" y="3151211"/>
                </a:cubicBezTo>
                <a:cubicBezTo>
                  <a:pt x="1165075" y="3149798"/>
                  <a:pt x="1167396" y="3149037"/>
                  <a:pt x="1169670" y="3148929"/>
                </a:cubicBezTo>
                <a:cubicBezTo>
                  <a:pt x="1171582" y="3148955"/>
                  <a:pt x="1173101" y="3149531"/>
                  <a:pt x="1174228" y="3150658"/>
                </a:cubicBezTo>
                <a:cubicBezTo>
                  <a:pt x="1175354" y="3151784"/>
                  <a:pt x="1175930" y="3153303"/>
                  <a:pt x="1175956" y="3155215"/>
                </a:cubicBezTo>
                <a:cubicBezTo>
                  <a:pt x="1175843" y="3159044"/>
                  <a:pt x="1172560" y="3162440"/>
                  <a:pt x="1166107" y="3165405"/>
                </a:cubicBezTo>
                <a:cubicBezTo>
                  <a:pt x="1159655" y="3168369"/>
                  <a:pt x="1150714" y="3169932"/>
                  <a:pt x="1139285" y="3170093"/>
                </a:cubicBezTo>
                <a:cubicBezTo>
                  <a:pt x="1123154" y="3169761"/>
                  <a:pt x="1110729" y="3164610"/>
                  <a:pt x="1102011" y="3154639"/>
                </a:cubicBezTo>
                <a:cubicBezTo>
                  <a:pt x="1093293" y="3144668"/>
                  <a:pt x="1088884" y="3131868"/>
                  <a:pt x="1088783" y="3116239"/>
                </a:cubicBezTo>
                <a:cubicBezTo>
                  <a:pt x="1089089" y="3099772"/>
                  <a:pt x="1093664" y="3086343"/>
                  <a:pt x="1102509" y="3075953"/>
                </a:cubicBezTo>
                <a:cubicBezTo>
                  <a:pt x="1111354" y="3065563"/>
                  <a:pt x="1122635" y="3060202"/>
                  <a:pt x="1136351" y="3059870"/>
                </a:cubicBezTo>
                <a:close/>
                <a:moveTo>
                  <a:pt x="1076172" y="3059870"/>
                </a:moveTo>
                <a:cubicBezTo>
                  <a:pt x="1080036" y="3059896"/>
                  <a:pt x="1082891" y="3060577"/>
                  <a:pt x="1084738" y="3061913"/>
                </a:cubicBezTo>
                <a:cubicBezTo>
                  <a:pt x="1086584" y="3063249"/>
                  <a:pt x="1087501" y="3065083"/>
                  <a:pt x="1087488" y="3067414"/>
                </a:cubicBezTo>
                <a:cubicBezTo>
                  <a:pt x="1087493" y="3069645"/>
                  <a:pt x="1086855" y="3071417"/>
                  <a:pt x="1085576" y="3072731"/>
                </a:cubicBezTo>
                <a:cubicBezTo>
                  <a:pt x="1084297" y="3074045"/>
                  <a:pt x="1082350" y="3074718"/>
                  <a:pt x="1079735" y="3074748"/>
                </a:cubicBezTo>
                <a:cubicBezTo>
                  <a:pt x="1077552" y="3074661"/>
                  <a:pt x="1074845" y="3074311"/>
                  <a:pt x="1071615" y="3073700"/>
                </a:cubicBezTo>
                <a:cubicBezTo>
                  <a:pt x="1068384" y="3073089"/>
                  <a:pt x="1064525" y="3072740"/>
                  <a:pt x="1060037" y="3072653"/>
                </a:cubicBezTo>
                <a:cubicBezTo>
                  <a:pt x="1056086" y="3072657"/>
                  <a:pt x="1052882" y="3073748"/>
                  <a:pt x="1050424" y="3075927"/>
                </a:cubicBezTo>
                <a:cubicBezTo>
                  <a:pt x="1047966" y="3078105"/>
                  <a:pt x="1046700" y="3081344"/>
                  <a:pt x="1046626" y="3085645"/>
                </a:cubicBezTo>
                <a:lnTo>
                  <a:pt x="1046626" y="3161921"/>
                </a:lnTo>
                <a:cubicBezTo>
                  <a:pt x="1046582" y="3163431"/>
                  <a:pt x="1046041" y="3164706"/>
                  <a:pt x="1045002" y="3165745"/>
                </a:cubicBezTo>
                <a:cubicBezTo>
                  <a:pt x="1043963" y="3166784"/>
                  <a:pt x="1042688" y="3167326"/>
                  <a:pt x="1041177" y="3167369"/>
                </a:cubicBezTo>
                <a:lnTo>
                  <a:pt x="1035939" y="3167369"/>
                </a:lnTo>
                <a:cubicBezTo>
                  <a:pt x="1034428" y="3167326"/>
                  <a:pt x="1033153" y="3166784"/>
                  <a:pt x="1032115" y="3165745"/>
                </a:cubicBezTo>
                <a:cubicBezTo>
                  <a:pt x="1031075" y="3164706"/>
                  <a:pt x="1030534" y="3163431"/>
                  <a:pt x="1030491" y="3161921"/>
                </a:cubicBezTo>
                <a:lnTo>
                  <a:pt x="1030491" y="3068042"/>
                </a:lnTo>
                <a:cubicBezTo>
                  <a:pt x="1030534" y="3066532"/>
                  <a:pt x="1031075" y="3065257"/>
                  <a:pt x="1032115" y="3064218"/>
                </a:cubicBezTo>
                <a:cubicBezTo>
                  <a:pt x="1033153" y="3063179"/>
                  <a:pt x="1034428" y="3062638"/>
                  <a:pt x="1035939" y="3062594"/>
                </a:cubicBezTo>
                <a:lnTo>
                  <a:pt x="1041177" y="3062594"/>
                </a:lnTo>
                <a:cubicBezTo>
                  <a:pt x="1042688" y="3062638"/>
                  <a:pt x="1043963" y="3063179"/>
                  <a:pt x="1045002" y="3064218"/>
                </a:cubicBezTo>
                <a:cubicBezTo>
                  <a:pt x="1046041" y="3065257"/>
                  <a:pt x="1046582" y="3066532"/>
                  <a:pt x="1046626" y="3068042"/>
                </a:cubicBezTo>
                <a:lnTo>
                  <a:pt x="1046626" y="3069928"/>
                </a:lnTo>
                <a:cubicBezTo>
                  <a:pt x="1050083" y="3066667"/>
                  <a:pt x="1054275" y="3064179"/>
                  <a:pt x="1059199" y="3062463"/>
                </a:cubicBezTo>
                <a:cubicBezTo>
                  <a:pt x="1064123" y="3060747"/>
                  <a:pt x="1069781" y="3059883"/>
                  <a:pt x="1076172" y="3059870"/>
                </a:cubicBezTo>
                <a:close/>
                <a:moveTo>
                  <a:pt x="846525" y="3059870"/>
                </a:moveTo>
                <a:cubicBezTo>
                  <a:pt x="859530" y="3060014"/>
                  <a:pt x="868986" y="3063079"/>
                  <a:pt x="874893" y="3069064"/>
                </a:cubicBezTo>
                <a:cubicBezTo>
                  <a:pt x="880799" y="3075049"/>
                  <a:pt x="883707" y="3083091"/>
                  <a:pt x="883615" y="3093188"/>
                </a:cubicBezTo>
                <a:lnTo>
                  <a:pt x="883615" y="3161921"/>
                </a:lnTo>
                <a:cubicBezTo>
                  <a:pt x="883571" y="3163431"/>
                  <a:pt x="883030" y="3164706"/>
                  <a:pt x="881991" y="3165745"/>
                </a:cubicBezTo>
                <a:cubicBezTo>
                  <a:pt x="880952" y="3166784"/>
                  <a:pt x="879677" y="3167326"/>
                  <a:pt x="878167" y="3167369"/>
                </a:cubicBezTo>
                <a:lnTo>
                  <a:pt x="872928" y="3167369"/>
                </a:lnTo>
                <a:cubicBezTo>
                  <a:pt x="871418" y="3167326"/>
                  <a:pt x="870143" y="3166784"/>
                  <a:pt x="869104" y="3165745"/>
                </a:cubicBezTo>
                <a:cubicBezTo>
                  <a:pt x="868065" y="3164706"/>
                  <a:pt x="867523" y="3163431"/>
                  <a:pt x="867480" y="3161921"/>
                </a:cubicBezTo>
                <a:lnTo>
                  <a:pt x="867480" y="3095284"/>
                </a:lnTo>
                <a:cubicBezTo>
                  <a:pt x="867532" y="3087871"/>
                  <a:pt x="865646" y="3082056"/>
                  <a:pt x="861822" y="3077839"/>
                </a:cubicBezTo>
                <a:cubicBezTo>
                  <a:pt x="857998" y="3073622"/>
                  <a:pt x="851921" y="3071474"/>
                  <a:pt x="843591" y="3071395"/>
                </a:cubicBezTo>
                <a:cubicBezTo>
                  <a:pt x="834641" y="3071400"/>
                  <a:pt x="828128" y="3072334"/>
                  <a:pt x="824051" y="3074198"/>
                </a:cubicBezTo>
                <a:cubicBezTo>
                  <a:pt x="819973" y="3076062"/>
                  <a:pt x="817965" y="3078830"/>
                  <a:pt x="818026" y="3082501"/>
                </a:cubicBezTo>
                <a:lnTo>
                  <a:pt x="818026" y="3161921"/>
                </a:lnTo>
                <a:cubicBezTo>
                  <a:pt x="817982" y="3163431"/>
                  <a:pt x="817441" y="3164706"/>
                  <a:pt x="816402" y="3165745"/>
                </a:cubicBezTo>
                <a:cubicBezTo>
                  <a:pt x="815363" y="3166784"/>
                  <a:pt x="814088" y="3167326"/>
                  <a:pt x="812578" y="3167369"/>
                </a:cubicBezTo>
                <a:lnTo>
                  <a:pt x="807339" y="3167369"/>
                </a:lnTo>
                <a:cubicBezTo>
                  <a:pt x="805828" y="3167326"/>
                  <a:pt x="804553" y="3166784"/>
                  <a:pt x="803515" y="3165745"/>
                </a:cubicBezTo>
                <a:cubicBezTo>
                  <a:pt x="802475" y="3164706"/>
                  <a:pt x="801934" y="3163431"/>
                  <a:pt x="801891" y="3161921"/>
                </a:cubicBezTo>
                <a:lnTo>
                  <a:pt x="801891" y="3068042"/>
                </a:lnTo>
                <a:cubicBezTo>
                  <a:pt x="801934" y="3066532"/>
                  <a:pt x="802475" y="3065257"/>
                  <a:pt x="803515" y="3064218"/>
                </a:cubicBezTo>
                <a:cubicBezTo>
                  <a:pt x="804553" y="3063179"/>
                  <a:pt x="805828" y="3062638"/>
                  <a:pt x="807339" y="3062594"/>
                </a:cubicBezTo>
                <a:lnTo>
                  <a:pt x="812578" y="3062594"/>
                </a:lnTo>
                <a:cubicBezTo>
                  <a:pt x="814088" y="3062638"/>
                  <a:pt x="815363" y="3063179"/>
                  <a:pt x="816402" y="3064218"/>
                </a:cubicBezTo>
                <a:cubicBezTo>
                  <a:pt x="817441" y="3065257"/>
                  <a:pt x="817982" y="3066532"/>
                  <a:pt x="818026" y="3068042"/>
                </a:cubicBezTo>
                <a:lnTo>
                  <a:pt x="818026" y="3068881"/>
                </a:lnTo>
                <a:cubicBezTo>
                  <a:pt x="820824" y="3066122"/>
                  <a:pt x="824552" y="3063939"/>
                  <a:pt x="829211" y="3062332"/>
                </a:cubicBezTo>
                <a:cubicBezTo>
                  <a:pt x="833869" y="3060726"/>
                  <a:pt x="839640" y="3059905"/>
                  <a:pt x="846525" y="3059870"/>
                </a:cubicBezTo>
                <a:close/>
                <a:moveTo>
                  <a:pt x="724471" y="3059870"/>
                </a:moveTo>
                <a:cubicBezTo>
                  <a:pt x="737848" y="3059914"/>
                  <a:pt x="747766" y="3062655"/>
                  <a:pt x="754227" y="3068095"/>
                </a:cubicBezTo>
                <a:cubicBezTo>
                  <a:pt x="760689" y="3073534"/>
                  <a:pt x="763902" y="3081410"/>
                  <a:pt x="763867" y="3091722"/>
                </a:cubicBezTo>
                <a:lnTo>
                  <a:pt x="763867" y="3161921"/>
                </a:lnTo>
                <a:cubicBezTo>
                  <a:pt x="763823" y="3163431"/>
                  <a:pt x="763282" y="3164706"/>
                  <a:pt x="762243" y="3165745"/>
                </a:cubicBezTo>
                <a:cubicBezTo>
                  <a:pt x="761204" y="3166784"/>
                  <a:pt x="759929" y="3167326"/>
                  <a:pt x="758419" y="3167369"/>
                </a:cubicBezTo>
                <a:lnTo>
                  <a:pt x="753180" y="3167369"/>
                </a:lnTo>
                <a:cubicBezTo>
                  <a:pt x="751669" y="3167326"/>
                  <a:pt x="750394" y="3166784"/>
                  <a:pt x="749355" y="3165745"/>
                </a:cubicBezTo>
                <a:cubicBezTo>
                  <a:pt x="748316" y="3164706"/>
                  <a:pt x="747775" y="3163431"/>
                  <a:pt x="747731" y="3161921"/>
                </a:cubicBezTo>
                <a:lnTo>
                  <a:pt x="747731" y="3159197"/>
                </a:lnTo>
                <a:cubicBezTo>
                  <a:pt x="744985" y="3162585"/>
                  <a:pt x="740995" y="3165239"/>
                  <a:pt x="735761" y="3167160"/>
                </a:cubicBezTo>
                <a:cubicBezTo>
                  <a:pt x="730527" y="3169080"/>
                  <a:pt x="724179" y="3170058"/>
                  <a:pt x="716718" y="3170093"/>
                </a:cubicBezTo>
                <a:cubicBezTo>
                  <a:pt x="705022" y="3170189"/>
                  <a:pt x="696038" y="3167902"/>
                  <a:pt x="689765" y="3163230"/>
                </a:cubicBezTo>
                <a:cubicBezTo>
                  <a:pt x="683491" y="3158559"/>
                  <a:pt x="680322" y="3150928"/>
                  <a:pt x="680256" y="3140337"/>
                </a:cubicBezTo>
                <a:cubicBezTo>
                  <a:pt x="679981" y="3129371"/>
                  <a:pt x="683203" y="3121495"/>
                  <a:pt x="689922" y="3116710"/>
                </a:cubicBezTo>
                <a:cubicBezTo>
                  <a:pt x="696640" y="3111926"/>
                  <a:pt x="708506" y="3108765"/>
                  <a:pt x="725519" y="3107228"/>
                </a:cubicBezTo>
                <a:cubicBezTo>
                  <a:pt x="734539" y="3106447"/>
                  <a:pt x="740650" y="3105338"/>
                  <a:pt x="743855" y="3103902"/>
                </a:cubicBezTo>
                <a:cubicBezTo>
                  <a:pt x="747059" y="3102466"/>
                  <a:pt x="748561" y="3099733"/>
                  <a:pt x="748360" y="3095703"/>
                </a:cubicBezTo>
                <a:lnTo>
                  <a:pt x="748360" y="3091512"/>
                </a:lnTo>
                <a:cubicBezTo>
                  <a:pt x="748426" y="3085081"/>
                  <a:pt x="746566" y="3080131"/>
                  <a:pt x="742781" y="3076660"/>
                </a:cubicBezTo>
                <a:cubicBezTo>
                  <a:pt x="738996" y="3073189"/>
                  <a:pt x="732893" y="3071435"/>
                  <a:pt x="724471" y="3071395"/>
                </a:cubicBezTo>
                <a:cubicBezTo>
                  <a:pt x="719137" y="3071506"/>
                  <a:pt x="714532" y="3072285"/>
                  <a:pt x="710657" y="3073731"/>
                </a:cubicBezTo>
                <a:cubicBezTo>
                  <a:pt x="706781" y="3075177"/>
                  <a:pt x="703371" y="3076624"/>
                  <a:pt x="700427" y="3078070"/>
                </a:cubicBezTo>
                <a:cubicBezTo>
                  <a:pt x="697483" y="3079516"/>
                  <a:pt x="694741" y="3080294"/>
                  <a:pt x="692201" y="3080406"/>
                </a:cubicBezTo>
                <a:cubicBezTo>
                  <a:pt x="690481" y="3080393"/>
                  <a:pt x="689049" y="3079843"/>
                  <a:pt x="687905" y="3078756"/>
                </a:cubicBezTo>
                <a:cubicBezTo>
                  <a:pt x="686761" y="3077668"/>
                  <a:pt x="686167" y="3076123"/>
                  <a:pt x="686124" y="3074119"/>
                </a:cubicBezTo>
                <a:cubicBezTo>
                  <a:pt x="686333" y="3069950"/>
                  <a:pt x="689948" y="3066554"/>
                  <a:pt x="696968" y="3063930"/>
                </a:cubicBezTo>
                <a:cubicBezTo>
                  <a:pt x="703988" y="3061306"/>
                  <a:pt x="713156" y="3059953"/>
                  <a:pt x="724471" y="3059870"/>
                </a:cubicBezTo>
                <a:close/>
                <a:moveTo>
                  <a:pt x="633831" y="3059870"/>
                </a:moveTo>
                <a:cubicBezTo>
                  <a:pt x="643877" y="3059992"/>
                  <a:pt x="651709" y="3061372"/>
                  <a:pt x="657327" y="3064009"/>
                </a:cubicBezTo>
                <a:cubicBezTo>
                  <a:pt x="662946" y="3066645"/>
                  <a:pt x="665801" y="3069806"/>
                  <a:pt x="665893" y="3073491"/>
                </a:cubicBezTo>
                <a:cubicBezTo>
                  <a:pt x="665858" y="3075412"/>
                  <a:pt x="665247" y="3076966"/>
                  <a:pt x="664059" y="3078153"/>
                </a:cubicBezTo>
                <a:cubicBezTo>
                  <a:pt x="662872" y="3079341"/>
                  <a:pt x="661317" y="3079952"/>
                  <a:pt x="659397" y="3079987"/>
                </a:cubicBezTo>
                <a:cubicBezTo>
                  <a:pt x="655943" y="3079646"/>
                  <a:pt x="652477" y="3078284"/>
                  <a:pt x="648998" y="3075901"/>
                </a:cubicBezTo>
                <a:cubicBezTo>
                  <a:pt x="645518" y="3073517"/>
                  <a:pt x="640114" y="3072155"/>
                  <a:pt x="632784" y="3071814"/>
                </a:cubicBezTo>
                <a:cubicBezTo>
                  <a:pt x="625184" y="3071972"/>
                  <a:pt x="618939" y="3074194"/>
                  <a:pt x="614048" y="3078481"/>
                </a:cubicBezTo>
                <a:cubicBezTo>
                  <a:pt x="609158" y="3082768"/>
                  <a:pt x="605536" y="3088172"/>
                  <a:pt x="603183" y="3094694"/>
                </a:cubicBezTo>
                <a:cubicBezTo>
                  <a:pt x="600830" y="3101216"/>
                  <a:pt x="599661" y="3107909"/>
                  <a:pt x="599675" y="3114772"/>
                </a:cubicBezTo>
                <a:cubicBezTo>
                  <a:pt x="599937" y="3128314"/>
                  <a:pt x="603185" y="3138896"/>
                  <a:pt x="609419" y="3146519"/>
                </a:cubicBezTo>
                <a:cubicBezTo>
                  <a:pt x="615653" y="3154141"/>
                  <a:pt x="623301" y="3158018"/>
                  <a:pt x="632365" y="3158149"/>
                </a:cubicBezTo>
                <a:cubicBezTo>
                  <a:pt x="637927" y="3158038"/>
                  <a:pt x="642356" y="3157259"/>
                  <a:pt x="645652" y="3155813"/>
                </a:cubicBezTo>
                <a:cubicBezTo>
                  <a:pt x="648948" y="3154367"/>
                  <a:pt x="651685" y="3152921"/>
                  <a:pt x="653863" y="3151474"/>
                </a:cubicBezTo>
                <a:cubicBezTo>
                  <a:pt x="656041" y="3150028"/>
                  <a:pt x="658235" y="3149250"/>
                  <a:pt x="660444" y="3149138"/>
                </a:cubicBezTo>
                <a:cubicBezTo>
                  <a:pt x="662457" y="3149160"/>
                  <a:pt x="664037" y="3149745"/>
                  <a:pt x="665185" y="3150893"/>
                </a:cubicBezTo>
                <a:cubicBezTo>
                  <a:pt x="666334" y="3152041"/>
                  <a:pt x="666918" y="3153622"/>
                  <a:pt x="666940" y="3155634"/>
                </a:cubicBezTo>
                <a:cubicBezTo>
                  <a:pt x="666779" y="3159354"/>
                  <a:pt x="663644" y="3162654"/>
                  <a:pt x="657537" y="3165536"/>
                </a:cubicBezTo>
                <a:cubicBezTo>
                  <a:pt x="651429" y="3168417"/>
                  <a:pt x="643318" y="3169936"/>
                  <a:pt x="633203" y="3170093"/>
                </a:cubicBezTo>
                <a:cubicBezTo>
                  <a:pt x="618041" y="3169945"/>
                  <a:pt x="606088" y="3165055"/>
                  <a:pt x="597344" y="3155425"/>
                </a:cubicBezTo>
                <a:cubicBezTo>
                  <a:pt x="588599" y="3145794"/>
                  <a:pt x="584138" y="3132313"/>
                  <a:pt x="583959" y="3114982"/>
                </a:cubicBezTo>
                <a:cubicBezTo>
                  <a:pt x="584164" y="3098750"/>
                  <a:pt x="588730" y="3085583"/>
                  <a:pt x="597658" y="3075481"/>
                </a:cubicBezTo>
                <a:cubicBezTo>
                  <a:pt x="606586" y="3065379"/>
                  <a:pt x="618643" y="3060176"/>
                  <a:pt x="633831" y="3059870"/>
                </a:cubicBezTo>
                <a:close/>
                <a:moveTo>
                  <a:pt x="332175" y="3059870"/>
                </a:moveTo>
                <a:cubicBezTo>
                  <a:pt x="345180" y="3060014"/>
                  <a:pt x="354636" y="3063079"/>
                  <a:pt x="360543" y="3069064"/>
                </a:cubicBezTo>
                <a:cubicBezTo>
                  <a:pt x="366449" y="3075049"/>
                  <a:pt x="369357" y="3083091"/>
                  <a:pt x="369265" y="3093188"/>
                </a:cubicBezTo>
                <a:lnTo>
                  <a:pt x="369265" y="3161921"/>
                </a:lnTo>
                <a:cubicBezTo>
                  <a:pt x="369221" y="3163431"/>
                  <a:pt x="368680" y="3164706"/>
                  <a:pt x="367641" y="3165745"/>
                </a:cubicBezTo>
                <a:cubicBezTo>
                  <a:pt x="366602" y="3166784"/>
                  <a:pt x="365327" y="3167326"/>
                  <a:pt x="363817" y="3167369"/>
                </a:cubicBezTo>
                <a:lnTo>
                  <a:pt x="358578" y="3167369"/>
                </a:lnTo>
                <a:cubicBezTo>
                  <a:pt x="357067" y="3167326"/>
                  <a:pt x="355793" y="3166784"/>
                  <a:pt x="354754" y="3165745"/>
                </a:cubicBezTo>
                <a:cubicBezTo>
                  <a:pt x="353715" y="3164706"/>
                  <a:pt x="353173" y="3163431"/>
                  <a:pt x="353130" y="3161921"/>
                </a:cubicBezTo>
                <a:lnTo>
                  <a:pt x="353130" y="3095284"/>
                </a:lnTo>
                <a:cubicBezTo>
                  <a:pt x="353182" y="3087871"/>
                  <a:pt x="351296" y="3082056"/>
                  <a:pt x="347472" y="3077839"/>
                </a:cubicBezTo>
                <a:cubicBezTo>
                  <a:pt x="343648" y="3073622"/>
                  <a:pt x="337571" y="3071474"/>
                  <a:pt x="329241" y="3071395"/>
                </a:cubicBezTo>
                <a:cubicBezTo>
                  <a:pt x="320291" y="3071400"/>
                  <a:pt x="313778" y="3072334"/>
                  <a:pt x="309700" y="3074198"/>
                </a:cubicBezTo>
                <a:cubicBezTo>
                  <a:pt x="305623" y="3076062"/>
                  <a:pt x="303615" y="3078830"/>
                  <a:pt x="303676" y="3082501"/>
                </a:cubicBezTo>
                <a:lnTo>
                  <a:pt x="303676" y="3161921"/>
                </a:lnTo>
                <a:cubicBezTo>
                  <a:pt x="303632" y="3163431"/>
                  <a:pt x="303091" y="3164706"/>
                  <a:pt x="302052" y="3165745"/>
                </a:cubicBezTo>
                <a:cubicBezTo>
                  <a:pt x="301013" y="3166784"/>
                  <a:pt x="299738" y="3167326"/>
                  <a:pt x="298228" y="3167369"/>
                </a:cubicBezTo>
                <a:lnTo>
                  <a:pt x="292989" y="3167369"/>
                </a:lnTo>
                <a:cubicBezTo>
                  <a:pt x="291478" y="3167326"/>
                  <a:pt x="290204" y="3166784"/>
                  <a:pt x="289165" y="3165745"/>
                </a:cubicBezTo>
                <a:cubicBezTo>
                  <a:pt x="288126" y="3164706"/>
                  <a:pt x="287584" y="3163431"/>
                  <a:pt x="287541" y="3161921"/>
                </a:cubicBezTo>
                <a:lnTo>
                  <a:pt x="287541" y="3068042"/>
                </a:lnTo>
                <a:cubicBezTo>
                  <a:pt x="287584" y="3066532"/>
                  <a:pt x="288126" y="3065257"/>
                  <a:pt x="289165" y="3064218"/>
                </a:cubicBezTo>
                <a:cubicBezTo>
                  <a:pt x="290204" y="3063179"/>
                  <a:pt x="291478" y="3062638"/>
                  <a:pt x="292989" y="3062594"/>
                </a:cubicBezTo>
                <a:lnTo>
                  <a:pt x="298228" y="3062594"/>
                </a:lnTo>
                <a:cubicBezTo>
                  <a:pt x="299738" y="3062638"/>
                  <a:pt x="301013" y="3063179"/>
                  <a:pt x="302052" y="3064218"/>
                </a:cubicBezTo>
                <a:cubicBezTo>
                  <a:pt x="303091" y="3065257"/>
                  <a:pt x="303632" y="3066532"/>
                  <a:pt x="303676" y="3068042"/>
                </a:cubicBezTo>
                <a:lnTo>
                  <a:pt x="303676" y="3068881"/>
                </a:lnTo>
                <a:cubicBezTo>
                  <a:pt x="306474" y="3066122"/>
                  <a:pt x="310203" y="3063939"/>
                  <a:pt x="314861" y="3062332"/>
                </a:cubicBezTo>
                <a:cubicBezTo>
                  <a:pt x="319519" y="3060726"/>
                  <a:pt x="325290" y="3059905"/>
                  <a:pt x="332175" y="3059870"/>
                </a:cubicBezTo>
                <a:close/>
                <a:moveTo>
                  <a:pt x="263023" y="3050231"/>
                </a:moveTo>
                <a:cubicBezTo>
                  <a:pt x="266149" y="3050266"/>
                  <a:pt x="268437" y="3050981"/>
                  <a:pt x="269886" y="3052378"/>
                </a:cubicBezTo>
                <a:cubicBezTo>
                  <a:pt x="271335" y="3053775"/>
                  <a:pt x="272051" y="3055644"/>
                  <a:pt x="272034" y="3057984"/>
                </a:cubicBezTo>
                <a:cubicBezTo>
                  <a:pt x="272051" y="3059940"/>
                  <a:pt x="271335" y="3061634"/>
                  <a:pt x="269886" y="3063066"/>
                </a:cubicBezTo>
                <a:cubicBezTo>
                  <a:pt x="268437" y="3064497"/>
                  <a:pt x="266149" y="3065248"/>
                  <a:pt x="263023" y="3065318"/>
                </a:cubicBezTo>
                <a:cubicBezTo>
                  <a:pt x="257907" y="3065301"/>
                  <a:pt x="254257" y="3065912"/>
                  <a:pt x="252074" y="3067152"/>
                </a:cubicBezTo>
                <a:cubicBezTo>
                  <a:pt x="249891" y="3068392"/>
                  <a:pt x="248442" y="3070365"/>
                  <a:pt x="247726" y="3073072"/>
                </a:cubicBezTo>
                <a:cubicBezTo>
                  <a:pt x="250166" y="3076132"/>
                  <a:pt x="252096" y="3079598"/>
                  <a:pt x="253515" y="3083470"/>
                </a:cubicBezTo>
                <a:cubicBezTo>
                  <a:pt x="254934" y="3087343"/>
                  <a:pt x="255658" y="3091490"/>
                  <a:pt x="255689" y="3095912"/>
                </a:cubicBezTo>
                <a:cubicBezTo>
                  <a:pt x="255392" y="3106237"/>
                  <a:pt x="251585" y="3114506"/>
                  <a:pt x="244268" y="3120718"/>
                </a:cubicBezTo>
                <a:cubicBezTo>
                  <a:pt x="236952" y="3126930"/>
                  <a:pt x="227906" y="3130117"/>
                  <a:pt x="217132" y="3130279"/>
                </a:cubicBezTo>
                <a:cubicBezTo>
                  <a:pt x="213945" y="3130279"/>
                  <a:pt x="210732" y="3129964"/>
                  <a:pt x="207492" y="3129336"/>
                </a:cubicBezTo>
                <a:cubicBezTo>
                  <a:pt x="204253" y="3128707"/>
                  <a:pt x="201250" y="3127764"/>
                  <a:pt x="198482" y="3126507"/>
                </a:cubicBezTo>
                <a:cubicBezTo>
                  <a:pt x="196487" y="3127694"/>
                  <a:pt x="194976" y="3129091"/>
                  <a:pt x="193950" y="3130698"/>
                </a:cubicBezTo>
                <a:cubicBezTo>
                  <a:pt x="192924" y="3132304"/>
                  <a:pt x="192409" y="3133911"/>
                  <a:pt x="192405" y="3135518"/>
                </a:cubicBezTo>
                <a:cubicBezTo>
                  <a:pt x="192387" y="3137438"/>
                  <a:pt x="193156" y="3139097"/>
                  <a:pt x="194710" y="3140494"/>
                </a:cubicBezTo>
                <a:cubicBezTo>
                  <a:pt x="196264" y="3141891"/>
                  <a:pt x="198709" y="3142817"/>
                  <a:pt x="202044" y="3143271"/>
                </a:cubicBezTo>
                <a:lnTo>
                  <a:pt x="233477" y="3146624"/>
                </a:lnTo>
                <a:cubicBezTo>
                  <a:pt x="243081" y="3147549"/>
                  <a:pt x="250852" y="3150099"/>
                  <a:pt x="256789" y="3154272"/>
                </a:cubicBezTo>
                <a:cubicBezTo>
                  <a:pt x="262726" y="3158446"/>
                  <a:pt x="265782" y="3164977"/>
                  <a:pt x="265957" y="3173865"/>
                </a:cubicBezTo>
                <a:cubicBezTo>
                  <a:pt x="265737" y="3182262"/>
                  <a:pt x="263010" y="3188915"/>
                  <a:pt x="257777" y="3193827"/>
                </a:cubicBezTo>
                <a:cubicBezTo>
                  <a:pt x="252543" y="3198738"/>
                  <a:pt x="246122" y="3202241"/>
                  <a:pt x="238514" y="3204335"/>
                </a:cubicBezTo>
                <a:cubicBezTo>
                  <a:pt x="230905" y="3206430"/>
                  <a:pt x="223429" y="3207449"/>
                  <a:pt x="216084" y="3207393"/>
                </a:cubicBezTo>
                <a:cubicBezTo>
                  <a:pt x="209527" y="3207458"/>
                  <a:pt x="202827" y="3206607"/>
                  <a:pt x="195983" y="3204840"/>
                </a:cubicBezTo>
                <a:cubicBezTo>
                  <a:pt x="189139" y="3203073"/>
                  <a:pt x="183354" y="3200002"/>
                  <a:pt x="178629" y="3195627"/>
                </a:cubicBezTo>
                <a:cubicBezTo>
                  <a:pt x="173904" y="3191253"/>
                  <a:pt x="171441" y="3185186"/>
                  <a:pt x="171240" y="3177428"/>
                </a:cubicBezTo>
                <a:cubicBezTo>
                  <a:pt x="171345" y="3171709"/>
                  <a:pt x="172969" y="3166906"/>
                  <a:pt x="176112" y="3163021"/>
                </a:cubicBezTo>
                <a:cubicBezTo>
                  <a:pt x="179256" y="3159136"/>
                  <a:pt x="183289" y="3155905"/>
                  <a:pt x="188214" y="3153329"/>
                </a:cubicBezTo>
                <a:lnTo>
                  <a:pt x="188214" y="3153120"/>
                </a:lnTo>
                <a:cubicBezTo>
                  <a:pt x="185420" y="3151779"/>
                  <a:pt x="183097" y="3149745"/>
                  <a:pt x="181246" y="3147017"/>
                </a:cubicBezTo>
                <a:cubicBezTo>
                  <a:pt x="179395" y="3144288"/>
                  <a:pt x="178435" y="3141363"/>
                  <a:pt x="178365" y="3138242"/>
                </a:cubicBezTo>
                <a:cubicBezTo>
                  <a:pt x="178387" y="3134714"/>
                  <a:pt x="179391" y="3131396"/>
                  <a:pt x="181377" y="3128288"/>
                </a:cubicBezTo>
                <a:cubicBezTo>
                  <a:pt x="183364" y="3125180"/>
                  <a:pt x="186201" y="3122700"/>
                  <a:pt x="189890" y="3120849"/>
                </a:cubicBezTo>
                <a:cubicBezTo>
                  <a:pt x="186594" y="3117763"/>
                  <a:pt x="183966" y="3114034"/>
                  <a:pt x="182006" y="3109664"/>
                </a:cubicBezTo>
                <a:cubicBezTo>
                  <a:pt x="180046" y="3105294"/>
                  <a:pt x="179042" y="3100571"/>
                  <a:pt x="178994" y="3095494"/>
                </a:cubicBezTo>
                <a:cubicBezTo>
                  <a:pt x="179308" y="3085208"/>
                  <a:pt x="183132" y="3076756"/>
                  <a:pt x="190467" y="3070138"/>
                </a:cubicBezTo>
                <a:cubicBezTo>
                  <a:pt x="197801" y="3063520"/>
                  <a:pt x="206759" y="3060097"/>
                  <a:pt x="217341" y="3059870"/>
                </a:cubicBezTo>
                <a:cubicBezTo>
                  <a:pt x="221550" y="3059914"/>
                  <a:pt x="225549" y="3060507"/>
                  <a:pt x="229338" y="3061651"/>
                </a:cubicBezTo>
                <a:cubicBezTo>
                  <a:pt x="233127" y="3062795"/>
                  <a:pt x="236602" y="3064227"/>
                  <a:pt x="239763" y="3065947"/>
                </a:cubicBezTo>
                <a:cubicBezTo>
                  <a:pt x="242356" y="3061167"/>
                  <a:pt x="245552" y="3057369"/>
                  <a:pt x="249350" y="3054553"/>
                </a:cubicBezTo>
                <a:cubicBezTo>
                  <a:pt x="253148" y="3051737"/>
                  <a:pt x="257706" y="3050296"/>
                  <a:pt x="263023" y="3050231"/>
                </a:cubicBezTo>
                <a:close/>
                <a:moveTo>
                  <a:pt x="2355361" y="3032209"/>
                </a:moveTo>
                <a:cubicBezTo>
                  <a:pt x="2345717" y="3032380"/>
                  <a:pt x="2337647" y="3035368"/>
                  <a:pt x="2331154" y="3041173"/>
                </a:cubicBezTo>
                <a:cubicBezTo>
                  <a:pt x="2324661" y="3046979"/>
                  <a:pt x="2319773" y="3054577"/>
                  <a:pt x="2316493" y="3063968"/>
                </a:cubicBezTo>
                <a:cubicBezTo>
                  <a:pt x="2313213" y="3073359"/>
                  <a:pt x="2311570" y="3083518"/>
                  <a:pt x="2311565" y="3094446"/>
                </a:cubicBezTo>
                <a:cubicBezTo>
                  <a:pt x="2311570" y="3105378"/>
                  <a:pt x="2313213" y="3115574"/>
                  <a:pt x="2316493" y="3125032"/>
                </a:cubicBezTo>
                <a:cubicBezTo>
                  <a:pt x="2319773" y="3134491"/>
                  <a:pt x="2324661" y="3142156"/>
                  <a:pt x="2331154" y="3148028"/>
                </a:cubicBezTo>
                <a:cubicBezTo>
                  <a:pt x="2337647" y="3153901"/>
                  <a:pt x="2345717" y="3156925"/>
                  <a:pt x="2355361" y="3157101"/>
                </a:cubicBezTo>
                <a:cubicBezTo>
                  <a:pt x="2365005" y="3156925"/>
                  <a:pt x="2373074" y="3153901"/>
                  <a:pt x="2379568" y="3148028"/>
                </a:cubicBezTo>
                <a:cubicBezTo>
                  <a:pt x="2386061" y="3142156"/>
                  <a:pt x="2390948" y="3134491"/>
                  <a:pt x="2394229" y="3125032"/>
                </a:cubicBezTo>
                <a:cubicBezTo>
                  <a:pt x="2397509" y="3115574"/>
                  <a:pt x="2399152" y="3105378"/>
                  <a:pt x="2399157" y="3094446"/>
                </a:cubicBezTo>
                <a:cubicBezTo>
                  <a:pt x="2399152" y="3083518"/>
                  <a:pt x="2397509" y="3073359"/>
                  <a:pt x="2394229" y="3063968"/>
                </a:cubicBezTo>
                <a:cubicBezTo>
                  <a:pt x="2390948" y="3054577"/>
                  <a:pt x="2386061" y="3046979"/>
                  <a:pt x="2379568" y="3041173"/>
                </a:cubicBezTo>
                <a:cubicBezTo>
                  <a:pt x="2373074" y="3035368"/>
                  <a:pt x="2365005" y="3032380"/>
                  <a:pt x="2355361" y="3032209"/>
                </a:cubicBezTo>
                <a:close/>
                <a:moveTo>
                  <a:pt x="1554480" y="3032209"/>
                </a:moveTo>
                <a:lnTo>
                  <a:pt x="1559719" y="3032209"/>
                </a:lnTo>
                <a:cubicBezTo>
                  <a:pt x="1561229" y="3032253"/>
                  <a:pt x="1562504" y="3032794"/>
                  <a:pt x="1563543" y="3033833"/>
                </a:cubicBezTo>
                <a:cubicBezTo>
                  <a:pt x="1564582" y="3034872"/>
                  <a:pt x="1565123" y="3036147"/>
                  <a:pt x="1565167" y="3037658"/>
                </a:cubicBezTo>
                <a:lnTo>
                  <a:pt x="1565167" y="3062594"/>
                </a:lnTo>
                <a:lnTo>
                  <a:pt x="1589684" y="3062594"/>
                </a:lnTo>
                <a:cubicBezTo>
                  <a:pt x="1591195" y="3062638"/>
                  <a:pt x="1592469" y="3063179"/>
                  <a:pt x="1593508" y="3064218"/>
                </a:cubicBezTo>
                <a:cubicBezTo>
                  <a:pt x="1594547" y="3065257"/>
                  <a:pt x="1595089" y="3066532"/>
                  <a:pt x="1595133" y="3068042"/>
                </a:cubicBezTo>
                <a:lnTo>
                  <a:pt x="1595133" y="3068881"/>
                </a:lnTo>
                <a:cubicBezTo>
                  <a:pt x="1595089" y="3070391"/>
                  <a:pt x="1594547" y="3071666"/>
                  <a:pt x="1593508" y="3072705"/>
                </a:cubicBezTo>
                <a:cubicBezTo>
                  <a:pt x="1592469" y="3073744"/>
                  <a:pt x="1591195" y="3074285"/>
                  <a:pt x="1589684" y="3074329"/>
                </a:cubicBezTo>
                <a:lnTo>
                  <a:pt x="1565167" y="3074329"/>
                </a:lnTo>
                <a:lnTo>
                  <a:pt x="1565167" y="3142223"/>
                </a:lnTo>
                <a:cubicBezTo>
                  <a:pt x="1565079" y="3146685"/>
                  <a:pt x="1566145" y="3150230"/>
                  <a:pt x="1568362" y="3152858"/>
                </a:cubicBezTo>
                <a:cubicBezTo>
                  <a:pt x="1570580" y="3155486"/>
                  <a:pt x="1574474" y="3156831"/>
                  <a:pt x="1580045" y="3156892"/>
                </a:cubicBezTo>
                <a:cubicBezTo>
                  <a:pt x="1582660" y="3156848"/>
                  <a:pt x="1584659" y="3156673"/>
                  <a:pt x="1586043" y="3156368"/>
                </a:cubicBezTo>
                <a:cubicBezTo>
                  <a:pt x="1587427" y="3156062"/>
                  <a:pt x="1588850" y="3155888"/>
                  <a:pt x="1590313" y="3155844"/>
                </a:cubicBezTo>
                <a:cubicBezTo>
                  <a:pt x="1591431" y="3155805"/>
                  <a:pt x="1592496" y="3156197"/>
                  <a:pt x="1593508" y="3157023"/>
                </a:cubicBezTo>
                <a:cubicBezTo>
                  <a:pt x="1594521" y="3157848"/>
                  <a:pt x="1595063" y="3159341"/>
                  <a:pt x="1595133" y="3161502"/>
                </a:cubicBezTo>
                <a:lnTo>
                  <a:pt x="1595133" y="3162130"/>
                </a:lnTo>
                <a:cubicBezTo>
                  <a:pt x="1595023" y="3164291"/>
                  <a:pt x="1594351" y="3165837"/>
                  <a:pt x="1593116" y="3166767"/>
                </a:cubicBezTo>
                <a:cubicBezTo>
                  <a:pt x="1591880" y="3167696"/>
                  <a:pt x="1590736" y="3168247"/>
                  <a:pt x="1589684" y="3168417"/>
                </a:cubicBezTo>
                <a:cubicBezTo>
                  <a:pt x="1588025" y="3168727"/>
                  <a:pt x="1586314" y="3168945"/>
                  <a:pt x="1584550" y="3169072"/>
                </a:cubicBezTo>
                <a:cubicBezTo>
                  <a:pt x="1582787" y="3169198"/>
                  <a:pt x="1580866" y="3169259"/>
                  <a:pt x="1578787" y="3169255"/>
                </a:cubicBezTo>
                <a:cubicBezTo>
                  <a:pt x="1569388" y="3169465"/>
                  <a:pt x="1562098" y="3167369"/>
                  <a:pt x="1556916" y="3162969"/>
                </a:cubicBezTo>
                <a:cubicBezTo>
                  <a:pt x="1551734" y="3158568"/>
                  <a:pt x="1549106" y="3150605"/>
                  <a:pt x="1549031" y="3139080"/>
                </a:cubicBezTo>
                <a:lnTo>
                  <a:pt x="1549031" y="3074329"/>
                </a:lnTo>
                <a:lnTo>
                  <a:pt x="1534992" y="3074329"/>
                </a:lnTo>
                <a:cubicBezTo>
                  <a:pt x="1533481" y="3074285"/>
                  <a:pt x="1532206" y="3073744"/>
                  <a:pt x="1531167" y="3072705"/>
                </a:cubicBezTo>
                <a:cubicBezTo>
                  <a:pt x="1530128" y="3071666"/>
                  <a:pt x="1529587" y="3070391"/>
                  <a:pt x="1529543" y="3068881"/>
                </a:cubicBezTo>
                <a:lnTo>
                  <a:pt x="1529543" y="3068042"/>
                </a:lnTo>
                <a:cubicBezTo>
                  <a:pt x="1529587" y="3066532"/>
                  <a:pt x="1530128" y="3065257"/>
                  <a:pt x="1531167" y="3064218"/>
                </a:cubicBezTo>
                <a:cubicBezTo>
                  <a:pt x="1532206" y="3063179"/>
                  <a:pt x="1533481" y="3062638"/>
                  <a:pt x="1534992" y="3062594"/>
                </a:cubicBezTo>
                <a:lnTo>
                  <a:pt x="1549031" y="3062594"/>
                </a:lnTo>
                <a:lnTo>
                  <a:pt x="1549031" y="3037658"/>
                </a:lnTo>
                <a:cubicBezTo>
                  <a:pt x="1549075" y="3036147"/>
                  <a:pt x="1549617" y="3034872"/>
                  <a:pt x="1550655" y="3033833"/>
                </a:cubicBezTo>
                <a:cubicBezTo>
                  <a:pt x="1551695" y="3032794"/>
                  <a:pt x="1552969" y="3032253"/>
                  <a:pt x="1554480" y="3032209"/>
                </a:cubicBezTo>
                <a:close/>
                <a:moveTo>
                  <a:pt x="925830" y="3032209"/>
                </a:moveTo>
                <a:lnTo>
                  <a:pt x="931069" y="3032209"/>
                </a:lnTo>
                <a:cubicBezTo>
                  <a:pt x="932579" y="3032253"/>
                  <a:pt x="933854" y="3032794"/>
                  <a:pt x="934893" y="3033833"/>
                </a:cubicBezTo>
                <a:cubicBezTo>
                  <a:pt x="935932" y="3034872"/>
                  <a:pt x="936473" y="3036147"/>
                  <a:pt x="936517" y="3037658"/>
                </a:cubicBezTo>
                <a:lnTo>
                  <a:pt x="936517" y="3062594"/>
                </a:lnTo>
                <a:lnTo>
                  <a:pt x="961034" y="3062594"/>
                </a:lnTo>
                <a:cubicBezTo>
                  <a:pt x="962545" y="3062638"/>
                  <a:pt x="963820" y="3063179"/>
                  <a:pt x="964859" y="3064218"/>
                </a:cubicBezTo>
                <a:cubicBezTo>
                  <a:pt x="965897" y="3065257"/>
                  <a:pt x="966439" y="3066532"/>
                  <a:pt x="966483" y="3068042"/>
                </a:cubicBezTo>
                <a:lnTo>
                  <a:pt x="966483" y="3068881"/>
                </a:lnTo>
                <a:cubicBezTo>
                  <a:pt x="966439" y="3070391"/>
                  <a:pt x="965897" y="3071666"/>
                  <a:pt x="964859" y="3072705"/>
                </a:cubicBezTo>
                <a:cubicBezTo>
                  <a:pt x="963820" y="3073744"/>
                  <a:pt x="962545" y="3074285"/>
                  <a:pt x="961034" y="3074329"/>
                </a:cubicBezTo>
                <a:lnTo>
                  <a:pt x="936517" y="3074329"/>
                </a:lnTo>
                <a:lnTo>
                  <a:pt x="936517" y="3142223"/>
                </a:lnTo>
                <a:cubicBezTo>
                  <a:pt x="936430" y="3146685"/>
                  <a:pt x="937495" y="3150230"/>
                  <a:pt x="939712" y="3152858"/>
                </a:cubicBezTo>
                <a:cubicBezTo>
                  <a:pt x="941930" y="3155486"/>
                  <a:pt x="945824" y="3156831"/>
                  <a:pt x="951395" y="3156892"/>
                </a:cubicBezTo>
                <a:cubicBezTo>
                  <a:pt x="954010" y="3156848"/>
                  <a:pt x="956009" y="3156673"/>
                  <a:pt x="957393" y="3156368"/>
                </a:cubicBezTo>
                <a:cubicBezTo>
                  <a:pt x="958777" y="3156062"/>
                  <a:pt x="960200" y="3155888"/>
                  <a:pt x="961663" y="3155844"/>
                </a:cubicBezTo>
                <a:cubicBezTo>
                  <a:pt x="962781" y="3155805"/>
                  <a:pt x="963846" y="3156197"/>
                  <a:pt x="964859" y="3157023"/>
                </a:cubicBezTo>
                <a:cubicBezTo>
                  <a:pt x="965871" y="3157848"/>
                  <a:pt x="966413" y="3159341"/>
                  <a:pt x="966483" y="3161502"/>
                </a:cubicBezTo>
                <a:lnTo>
                  <a:pt x="966483" y="3162130"/>
                </a:lnTo>
                <a:cubicBezTo>
                  <a:pt x="966373" y="3164291"/>
                  <a:pt x="965701" y="3165837"/>
                  <a:pt x="964466" y="3166767"/>
                </a:cubicBezTo>
                <a:cubicBezTo>
                  <a:pt x="963230" y="3167696"/>
                  <a:pt x="962086" y="3168247"/>
                  <a:pt x="961034" y="3168417"/>
                </a:cubicBezTo>
                <a:cubicBezTo>
                  <a:pt x="959375" y="3168727"/>
                  <a:pt x="957664" y="3168945"/>
                  <a:pt x="955900" y="3169072"/>
                </a:cubicBezTo>
                <a:cubicBezTo>
                  <a:pt x="954137" y="3169198"/>
                  <a:pt x="952216" y="3169259"/>
                  <a:pt x="950138" y="3169255"/>
                </a:cubicBezTo>
                <a:cubicBezTo>
                  <a:pt x="940738" y="3169465"/>
                  <a:pt x="933448" y="3167369"/>
                  <a:pt x="928266" y="3162969"/>
                </a:cubicBezTo>
                <a:cubicBezTo>
                  <a:pt x="923084" y="3158568"/>
                  <a:pt x="920456" y="3150605"/>
                  <a:pt x="920381" y="3139080"/>
                </a:cubicBezTo>
                <a:lnTo>
                  <a:pt x="920381" y="3074329"/>
                </a:lnTo>
                <a:lnTo>
                  <a:pt x="906342" y="3074329"/>
                </a:lnTo>
                <a:cubicBezTo>
                  <a:pt x="904831" y="3074285"/>
                  <a:pt x="903556" y="3073744"/>
                  <a:pt x="902517" y="3072705"/>
                </a:cubicBezTo>
                <a:cubicBezTo>
                  <a:pt x="901478" y="3071666"/>
                  <a:pt x="900937" y="3070391"/>
                  <a:pt x="900893" y="3068881"/>
                </a:cubicBezTo>
                <a:lnTo>
                  <a:pt x="900893" y="3068042"/>
                </a:lnTo>
                <a:cubicBezTo>
                  <a:pt x="900937" y="3066532"/>
                  <a:pt x="901478" y="3065257"/>
                  <a:pt x="902517" y="3064218"/>
                </a:cubicBezTo>
                <a:cubicBezTo>
                  <a:pt x="903556" y="3063179"/>
                  <a:pt x="904831" y="3062638"/>
                  <a:pt x="906342" y="3062594"/>
                </a:cubicBezTo>
                <a:lnTo>
                  <a:pt x="920381" y="3062594"/>
                </a:lnTo>
                <a:lnTo>
                  <a:pt x="920381" y="3037658"/>
                </a:lnTo>
                <a:cubicBezTo>
                  <a:pt x="920425" y="3036147"/>
                  <a:pt x="920967" y="3034872"/>
                  <a:pt x="922006" y="3033833"/>
                </a:cubicBezTo>
                <a:cubicBezTo>
                  <a:pt x="923045" y="3032794"/>
                  <a:pt x="924319" y="3032253"/>
                  <a:pt x="925830" y="3032209"/>
                </a:cubicBezTo>
                <a:close/>
                <a:moveTo>
                  <a:pt x="1619688" y="3022151"/>
                </a:moveTo>
                <a:cubicBezTo>
                  <a:pt x="1622901" y="3022229"/>
                  <a:pt x="1625538" y="3023330"/>
                  <a:pt x="1627599" y="3025451"/>
                </a:cubicBezTo>
                <a:cubicBezTo>
                  <a:pt x="1629659" y="3027573"/>
                  <a:pt x="1630724" y="3030245"/>
                  <a:pt x="1630794" y="3033467"/>
                </a:cubicBezTo>
                <a:cubicBezTo>
                  <a:pt x="1630724" y="3036688"/>
                  <a:pt x="1629659" y="3039360"/>
                  <a:pt x="1627599" y="3041482"/>
                </a:cubicBezTo>
                <a:cubicBezTo>
                  <a:pt x="1625538" y="3043604"/>
                  <a:pt x="1622901" y="3044704"/>
                  <a:pt x="1619688" y="3044782"/>
                </a:cubicBezTo>
                <a:cubicBezTo>
                  <a:pt x="1616466" y="3044704"/>
                  <a:pt x="1613794" y="3043604"/>
                  <a:pt x="1611673" y="3041482"/>
                </a:cubicBezTo>
                <a:cubicBezTo>
                  <a:pt x="1609551" y="3039360"/>
                  <a:pt x="1608451" y="3036688"/>
                  <a:pt x="1608372" y="3033467"/>
                </a:cubicBezTo>
                <a:cubicBezTo>
                  <a:pt x="1608451" y="3030245"/>
                  <a:pt x="1609551" y="3027573"/>
                  <a:pt x="1611673" y="3025451"/>
                </a:cubicBezTo>
                <a:cubicBezTo>
                  <a:pt x="1613794" y="3023330"/>
                  <a:pt x="1616466" y="3022229"/>
                  <a:pt x="1619688" y="3022151"/>
                </a:cubicBezTo>
                <a:close/>
                <a:moveTo>
                  <a:pt x="1284808" y="3022151"/>
                </a:moveTo>
                <a:lnTo>
                  <a:pt x="1290047" y="3022151"/>
                </a:lnTo>
                <a:cubicBezTo>
                  <a:pt x="1291557" y="3022195"/>
                  <a:pt x="1292832" y="3022736"/>
                  <a:pt x="1293871" y="3023775"/>
                </a:cubicBezTo>
                <a:cubicBezTo>
                  <a:pt x="1294910" y="3024814"/>
                  <a:pt x="1295451" y="3026089"/>
                  <a:pt x="1295495" y="3027599"/>
                </a:cubicBezTo>
                <a:lnTo>
                  <a:pt x="1295495" y="3161921"/>
                </a:lnTo>
                <a:cubicBezTo>
                  <a:pt x="1295451" y="3163431"/>
                  <a:pt x="1294910" y="3164706"/>
                  <a:pt x="1293871" y="3165745"/>
                </a:cubicBezTo>
                <a:cubicBezTo>
                  <a:pt x="1292832" y="3166784"/>
                  <a:pt x="1291557" y="3167326"/>
                  <a:pt x="1290047" y="3167369"/>
                </a:cubicBezTo>
                <a:lnTo>
                  <a:pt x="1284808" y="3167369"/>
                </a:lnTo>
                <a:cubicBezTo>
                  <a:pt x="1283297" y="3167326"/>
                  <a:pt x="1282023" y="3166784"/>
                  <a:pt x="1280984" y="3165745"/>
                </a:cubicBezTo>
                <a:cubicBezTo>
                  <a:pt x="1279945" y="3164706"/>
                  <a:pt x="1279403" y="3163431"/>
                  <a:pt x="1279360" y="3161921"/>
                </a:cubicBezTo>
                <a:lnTo>
                  <a:pt x="1279360" y="3159197"/>
                </a:lnTo>
                <a:cubicBezTo>
                  <a:pt x="1276527" y="3162676"/>
                  <a:pt x="1272501" y="3165356"/>
                  <a:pt x="1267284" y="3167238"/>
                </a:cubicBezTo>
                <a:cubicBezTo>
                  <a:pt x="1262067" y="3169120"/>
                  <a:pt x="1256314" y="3170072"/>
                  <a:pt x="1250023" y="3170093"/>
                </a:cubicBezTo>
                <a:cubicBezTo>
                  <a:pt x="1234957" y="3169901"/>
                  <a:pt x="1223388" y="3164994"/>
                  <a:pt x="1215316" y="3155372"/>
                </a:cubicBezTo>
                <a:cubicBezTo>
                  <a:pt x="1207244" y="3145751"/>
                  <a:pt x="1203167" y="3132566"/>
                  <a:pt x="1203083" y="3115820"/>
                </a:cubicBezTo>
                <a:cubicBezTo>
                  <a:pt x="1203193" y="3099095"/>
                  <a:pt x="1207585" y="3085658"/>
                  <a:pt x="1216259" y="3075508"/>
                </a:cubicBezTo>
                <a:cubicBezTo>
                  <a:pt x="1224933" y="3065358"/>
                  <a:pt x="1237236" y="3060145"/>
                  <a:pt x="1253166" y="3059870"/>
                </a:cubicBezTo>
                <a:cubicBezTo>
                  <a:pt x="1258977" y="3059922"/>
                  <a:pt x="1264119" y="3060656"/>
                  <a:pt x="1268594" y="3062070"/>
                </a:cubicBezTo>
                <a:cubicBezTo>
                  <a:pt x="1273069" y="3063485"/>
                  <a:pt x="1276587" y="3065266"/>
                  <a:pt x="1279150" y="3067414"/>
                </a:cubicBezTo>
                <a:lnTo>
                  <a:pt x="1279360" y="3067414"/>
                </a:lnTo>
                <a:lnTo>
                  <a:pt x="1279360" y="3027599"/>
                </a:lnTo>
                <a:cubicBezTo>
                  <a:pt x="1279403" y="3026089"/>
                  <a:pt x="1279945" y="3024814"/>
                  <a:pt x="1280984" y="3023775"/>
                </a:cubicBezTo>
                <a:cubicBezTo>
                  <a:pt x="1282023" y="3022736"/>
                  <a:pt x="1283297" y="3022195"/>
                  <a:pt x="1284808" y="3022151"/>
                </a:cubicBezTo>
                <a:close/>
                <a:moveTo>
                  <a:pt x="552888" y="3022151"/>
                </a:moveTo>
                <a:cubicBezTo>
                  <a:pt x="556101" y="3022229"/>
                  <a:pt x="558738" y="3023330"/>
                  <a:pt x="560799" y="3025451"/>
                </a:cubicBezTo>
                <a:cubicBezTo>
                  <a:pt x="562859" y="3027573"/>
                  <a:pt x="563924" y="3030245"/>
                  <a:pt x="563994" y="3033467"/>
                </a:cubicBezTo>
                <a:cubicBezTo>
                  <a:pt x="563924" y="3036688"/>
                  <a:pt x="562859" y="3039360"/>
                  <a:pt x="560799" y="3041482"/>
                </a:cubicBezTo>
                <a:cubicBezTo>
                  <a:pt x="558738" y="3043604"/>
                  <a:pt x="556101" y="3044704"/>
                  <a:pt x="552888" y="3044782"/>
                </a:cubicBezTo>
                <a:cubicBezTo>
                  <a:pt x="549666" y="3044704"/>
                  <a:pt x="546994" y="3043604"/>
                  <a:pt x="544873" y="3041482"/>
                </a:cubicBezTo>
                <a:cubicBezTo>
                  <a:pt x="542751" y="3039360"/>
                  <a:pt x="541651" y="3036688"/>
                  <a:pt x="541572" y="3033467"/>
                </a:cubicBezTo>
                <a:cubicBezTo>
                  <a:pt x="541651" y="3030245"/>
                  <a:pt x="542751" y="3027573"/>
                  <a:pt x="544873" y="3025451"/>
                </a:cubicBezTo>
                <a:cubicBezTo>
                  <a:pt x="546994" y="3023330"/>
                  <a:pt x="549666" y="3022229"/>
                  <a:pt x="552888" y="3022151"/>
                </a:cubicBezTo>
                <a:close/>
                <a:moveTo>
                  <a:pt x="419538" y="3022151"/>
                </a:moveTo>
                <a:cubicBezTo>
                  <a:pt x="422751" y="3022229"/>
                  <a:pt x="425388" y="3023330"/>
                  <a:pt x="427449" y="3025451"/>
                </a:cubicBezTo>
                <a:cubicBezTo>
                  <a:pt x="429509" y="3027573"/>
                  <a:pt x="430574" y="3030245"/>
                  <a:pt x="430644" y="3033467"/>
                </a:cubicBezTo>
                <a:cubicBezTo>
                  <a:pt x="430574" y="3036688"/>
                  <a:pt x="429509" y="3039360"/>
                  <a:pt x="427449" y="3041482"/>
                </a:cubicBezTo>
                <a:cubicBezTo>
                  <a:pt x="425388" y="3043604"/>
                  <a:pt x="422751" y="3044704"/>
                  <a:pt x="419538" y="3044782"/>
                </a:cubicBezTo>
                <a:cubicBezTo>
                  <a:pt x="416316" y="3044704"/>
                  <a:pt x="413644" y="3043604"/>
                  <a:pt x="411523" y="3041482"/>
                </a:cubicBezTo>
                <a:cubicBezTo>
                  <a:pt x="409401" y="3039360"/>
                  <a:pt x="408301" y="3036688"/>
                  <a:pt x="408222" y="3033467"/>
                </a:cubicBezTo>
                <a:cubicBezTo>
                  <a:pt x="408301" y="3030245"/>
                  <a:pt x="409401" y="3027573"/>
                  <a:pt x="411523" y="3025451"/>
                </a:cubicBezTo>
                <a:cubicBezTo>
                  <a:pt x="413644" y="3023330"/>
                  <a:pt x="416316" y="3022229"/>
                  <a:pt x="419538" y="3022151"/>
                </a:cubicBezTo>
                <a:close/>
                <a:moveTo>
                  <a:pt x="133788" y="3022151"/>
                </a:moveTo>
                <a:cubicBezTo>
                  <a:pt x="137001" y="3022229"/>
                  <a:pt x="139638" y="3023330"/>
                  <a:pt x="141699" y="3025451"/>
                </a:cubicBezTo>
                <a:cubicBezTo>
                  <a:pt x="143759" y="3027573"/>
                  <a:pt x="144824" y="3030245"/>
                  <a:pt x="144894" y="3033467"/>
                </a:cubicBezTo>
                <a:cubicBezTo>
                  <a:pt x="144824" y="3036688"/>
                  <a:pt x="143759" y="3039360"/>
                  <a:pt x="141699" y="3041482"/>
                </a:cubicBezTo>
                <a:cubicBezTo>
                  <a:pt x="139638" y="3043604"/>
                  <a:pt x="137001" y="3044704"/>
                  <a:pt x="133788" y="3044782"/>
                </a:cubicBezTo>
                <a:cubicBezTo>
                  <a:pt x="130566" y="3044704"/>
                  <a:pt x="127894" y="3043604"/>
                  <a:pt x="125773" y="3041482"/>
                </a:cubicBezTo>
                <a:cubicBezTo>
                  <a:pt x="123651" y="3039360"/>
                  <a:pt x="122551" y="3036688"/>
                  <a:pt x="122472" y="3033467"/>
                </a:cubicBezTo>
                <a:cubicBezTo>
                  <a:pt x="122551" y="3030245"/>
                  <a:pt x="123651" y="3027573"/>
                  <a:pt x="125773" y="3025451"/>
                </a:cubicBezTo>
                <a:cubicBezTo>
                  <a:pt x="127894" y="3023330"/>
                  <a:pt x="130566" y="3022229"/>
                  <a:pt x="133788" y="3022151"/>
                </a:cubicBezTo>
                <a:close/>
                <a:moveTo>
                  <a:pt x="2355361" y="3019427"/>
                </a:moveTo>
                <a:cubicBezTo>
                  <a:pt x="2368400" y="3019589"/>
                  <a:pt x="2379552" y="3023014"/>
                  <a:pt x="2388819" y="3029703"/>
                </a:cubicBezTo>
                <a:cubicBezTo>
                  <a:pt x="2398086" y="3036391"/>
                  <a:pt x="2405187" y="3045373"/>
                  <a:pt x="2410123" y="3056649"/>
                </a:cubicBezTo>
                <a:cubicBezTo>
                  <a:pt x="2415059" y="3067925"/>
                  <a:pt x="2417551" y="3080524"/>
                  <a:pt x="2417597" y="3094446"/>
                </a:cubicBezTo>
                <a:cubicBezTo>
                  <a:pt x="2417551" y="3108376"/>
                  <a:pt x="2415059" y="3121029"/>
                  <a:pt x="2410123" y="3132405"/>
                </a:cubicBezTo>
                <a:cubicBezTo>
                  <a:pt x="2405187" y="3143782"/>
                  <a:pt x="2398086" y="3152865"/>
                  <a:pt x="2388819" y="3159654"/>
                </a:cubicBezTo>
                <a:cubicBezTo>
                  <a:pt x="2379552" y="3166444"/>
                  <a:pt x="2368400" y="3169924"/>
                  <a:pt x="2355361" y="3170093"/>
                </a:cubicBezTo>
                <a:cubicBezTo>
                  <a:pt x="2342322" y="3169924"/>
                  <a:pt x="2331169" y="3166444"/>
                  <a:pt x="2321903" y="3159654"/>
                </a:cubicBezTo>
                <a:cubicBezTo>
                  <a:pt x="2312636" y="3152865"/>
                  <a:pt x="2305535" y="3143782"/>
                  <a:pt x="2300599" y="3132405"/>
                </a:cubicBezTo>
                <a:cubicBezTo>
                  <a:pt x="2295662" y="3121029"/>
                  <a:pt x="2293171" y="3108376"/>
                  <a:pt x="2293125" y="3094446"/>
                </a:cubicBezTo>
                <a:cubicBezTo>
                  <a:pt x="2293171" y="3080524"/>
                  <a:pt x="2295662" y="3067925"/>
                  <a:pt x="2300599" y="3056649"/>
                </a:cubicBezTo>
                <a:cubicBezTo>
                  <a:pt x="2305535" y="3045373"/>
                  <a:pt x="2312636" y="3036391"/>
                  <a:pt x="2321903" y="3029703"/>
                </a:cubicBezTo>
                <a:cubicBezTo>
                  <a:pt x="2331169" y="3023014"/>
                  <a:pt x="2342322" y="3019589"/>
                  <a:pt x="2355361" y="3019427"/>
                </a:cubicBezTo>
                <a:close/>
                <a:moveTo>
                  <a:pt x="2227878" y="3019427"/>
                </a:moveTo>
                <a:cubicBezTo>
                  <a:pt x="2240669" y="3019593"/>
                  <a:pt x="2250972" y="3021357"/>
                  <a:pt x="2258787" y="3024718"/>
                </a:cubicBezTo>
                <a:cubicBezTo>
                  <a:pt x="2266601" y="3028079"/>
                  <a:pt x="2270618" y="3032043"/>
                  <a:pt x="2270836" y="3036610"/>
                </a:cubicBezTo>
                <a:cubicBezTo>
                  <a:pt x="2270814" y="3038858"/>
                  <a:pt x="2270177" y="3040700"/>
                  <a:pt x="2268924" y="3042137"/>
                </a:cubicBezTo>
                <a:cubicBezTo>
                  <a:pt x="2267671" y="3043573"/>
                  <a:pt x="2265933" y="3044315"/>
                  <a:pt x="2263711" y="3044363"/>
                </a:cubicBezTo>
                <a:cubicBezTo>
                  <a:pt x="2260729" y="3044216"/>
                  <a:pt x="2257683" y="3043184"/>
                  <a:pt x="2254577" y="3041267"/>
                </a:cubicBezTo>
                <a:cubicBezTo>
                  <a:pt x="2251469" y="3039350"/>
                  <a:pt x="2247757" y="3037433"/>
                  <a:pt x="2243439" y="3035516"/>
                </a:cubicBezTo>
                <a:cubicBezTo>
                  <a:pt x="2239122" y="3033599"/>
                  <a:pt x="2233655" y="3032566"/>
                  <a:pt x="2227040" y="3032419"/>
                </a:cubicBezTo>
                <a:cubicBezTo>
                  <a:pt x="2216278" y="3032626"/>
                  <a:pt x="2207278" y="3035751"/>
                  <a:pt x="2200039" y="3041794"/>
                </a:cubicBezTo>
                <a:cubicBezTo>
                  <a:pt x="2192801" y="3047838"/>
                  <a:pt x="2187355" y="3055557"/>
                  <a:pt x="2183702" y="3064954"/>
                </a:cubicBezTo>
                <a:cubicBezTo>
                  <a:pt x="2180049" y="3074350"/>
                  <a:pt x="2178220" y="3084180"/>
                  <a:pt x="2178215" y="3094446"/>
                </a:cubicBezTo>
                <a:cubicBezTo>
                  <a:pt x="2178250" y="3105110"/>
                  <a:pt x="2180229" y="3115145"/>
                  <a:pt x="2184152" y="3124551"/>
                </a:cubicBezTo>
                <a:cubicBezTo>
                  <a:pt x="2188075" y="3133958"/>
                  <a:pt x="2193733" y="3141618"/>
                  <a:pt x="2201126" y="3147532"/>
                </a:cubicBezTo>
                <a:cubicBezTo>
                  <a:pt x="2208518" y="3153446"/>
                  <a:pt x="2217435" y="3156496"/>
                  <a:pt x="2227878" y="3156682"/>
                </a:cubicBezTo>
                <a:cubicBezTo>
                  <a:pt x="2234895" y="3156514"/>
                  <a:pt x="2240559" y="3155337"/>
                  <a:pt x="2244867" y="3153151"/>
                </a:cubicBezTo>
                <a:cubicBezTo>
                  <a:pt x="2249176" y="3150965"/>
                  <a:pt x="2252775" y="3148779"/>
                  <a:pt x="2255663" y="3146592"/>
                </a:cubicBezTo>
                <a:cubicBezTo>
                  <a:pt x="2258551" y="3144407"/>
                  <a:pt x="2261374" y="3143230"/>
                  <a:pt x="2264131" y="3143061"/>
                </a:cubicBezTo>
                <a:cubicBezTo>
                  <a:pt x="2266645" y="3143114"/>
                  <a:pt x="2268531" y="3143847"/>
                  <a:pt x="2269788" y="3145261"/>
                </a:cubicBezTo>
                <a:cubicBezTo>
                  <a:pt x="2271045" y="3146676"/>
                  <a:pt x="2271674" y="3148457"/>
                  <a:pt x="2271674" y="3150605"/>
                </a:cubicBezTo>
                <a:cubicBezTo>
                  <a:pt x="2271513" y="3155268"/>
                  <a:pt x="2267540" y="3159616"/>
                  <a:pt x="2259756" y="3163650"/>
                </a:cubicBezTo>
                <a:cubicBezTo>
                  <a:pt x="2251972" y="3167683"/>
                  <a:pt x="2241346" y="3169831"/>
                  <a:pt x="2227878" y="3170093"/>
                </a:cubicBezTo>
                <a:cubicBezTo>
                  <a:pt x="2213250" y="3169927"/>
                  <a:pt x="2200876" y="3166465"/>
                  <a:pt x="2190757" y="3159709"/>
                </a:cubicBezTo>
                <a:cubicBezTo>
                  <a:pt x="2180638" y="3152953"/>
                  <a:pt x="2172952" y="3143903"/>
                  <a:pt x="2167699" y="3132560"/>
                </a:cubicBezTo>
                <a:cubicBezTo>
                  <a:pt x="2162446" y="3121218"/>
                  <a:pt x="2159804" y="3108583"/>
                  <a:pt x="2159775" y="3094655"/>
                </a:cubicBezTo>
                <a:cubicBezTo>
                  <a:pt x="2159816" y="3080731"/>
                  <a:pt x="2162504" y="3068114"/>
                  <a:pt x="2167838" y="3056804"/>
                </a:cubicBezTo>
                <a:cubicBezTo>
                  <a:pt x="2173173" y="3045495"/>
                  <a:pt x="2180905" y="3036479"/>
                  <a:pt x="2191036" y="3029757"/>
                </a:cubicBezTo>
                <a:cubicBezTo>
                  <a:pt x="2201167" y="3023034"/>
                  <a:pt x="2213448" y="3019591"/>
                  <a:pt x="2227878" y="3019427"/>
                </a:cubicBezTo>
                <a:close/>
                <a:moveTo>
                  <a:pt x="2084870" y="3019427"/>
                </a:moveTo>
                <a:cubicBezTo>
                  <a:pt x="2087018" y="3019427"/>
                  <a:pt x="2089218" y="3019532"/>
                  <a:pt x="2091471" y="3019741"/>
                </a:cubicBezTo>
                <a:cubicBezTo>
                  <a:pt x="2093723" y="3019951"/>
                  <a:pt x="2095714" y="3020265"/>
                  <a:pt x="2097443" y="3020684"/>
                </a:cubicBezTo>
                <a:cubicBezTo>
                  <a:pt x="2099137" y="3021073"/>
                  <a:pt x="2100464" y="3021710"/>
                  <a:pt x="2101424" y="3022596"/>
                </a:cubicBezTo>
                <a:cubicBezTo>
                  <a:pt x="2102385" y="3023483"/>
                  <a:pt x="2102874" y="3024801"/>
                  <a:pt x="2102891" y="3026552"/>
                </a:cubicBezTo>
                <a:lnTo>
                  <a:pt x="2102891" y="3027809"/>
                </a:lnTo>
                <a:cubicBezTo>
                  <a:pt x="2102830" y="3029869"/>
                  <a:pt x="2102324" y="3031301"/>
                  <a:pt x="2101372" y="3032105"/>
                </a:cubicBezTo>
                <a:cubicBezTo>
                  <a:pt x="2100420" y="3032908"/>
                  <a:pt x="2099390" y="3033292"/>
                  <a:pt x="2098281" y="3033257"/>
                </a:cubicBezTo>
                <a:cubicBezTo>
                  <a:pt x="2096173" y="3033178"/>
                  <a:pt x="2093946" y="3032864"/>
                  <a:pt x="2091602" y="3032314"/>
                </a:cubicBezTo>
                <a:cubicBezTo>
                  <a:pt x="2089257" y="3031764"/>
                  <a:pt x="2086874" y="3031450"/>
                  <a:pt x="2084451" y="3031371"/>
                </a:cubicBezTo>
                <a:cubicBezTo>
                  <a:pt x="2078898" y="3031424"/>
                  <a:pt x="2075073" y="3032733"/>
                  <a:pt x="2072978" y="3035300"/>
                </a:cubicBezTo>
                <a:cubicBezTo>
                  <a:pt x="2070882" y="3037867"/>
                  <a:pt x="2069887" y="3041377"/>
                  <a:pt x="2069992" y="3045830"/>
                </a:cubicBezTo>
                <a:lnTo>
                  <a:pt x="2069992" y="3062594"/>
                </a:lnTo>
                <a:lnTo>
                  <a:pt x="2094509" y="3062594"/>
                </a:lnTo>
                <a:cubicBezTo>
                  <a:pt x="2096020" y="3062638"/>
                  <a:pt x="2097295" y="3063179"/>
                  <a:pt x="2098333" y="3064218"/>
                </a:cubicBezTo>
                <a:cubicBezTo>
                  <a:pt x="2099373" y="3065257"/>
                  <a:pt x="2099914" y="3066532"/>
                  <a:pt x="2099957" y="3068042"/>
                </a:cubicBezTo>
                <a:lnTo>
                  <a:pt x="2099957" y="3068881"/>
                </a:lnTo>
                <a:cubicBezTo>
                  <a:pt x="2099914" y="3070391"/>
                  <a:pt x="2099373" y="3071666"/>
                  <a:pt x="2098333" y="3072705"/>
                </a:cubicBezTo>
                <a:cubicBezTo>
                  <a:pt x="2097295" y="3073744"/>
                  <a:pt x="2096020" y="3074285"/>
                  <a:pt x="2094509" y="3074329"/>
                </a:cubicBezTo>
                <a:lnTo>
                  <a:pt x="2069992" y="3074329"/>
                </a:lnTo>
                <a:lnTo>
                  <a:pt x="2069992" y="3161921"/>
                </a:lnTo>
                <a:cubicBezTo>
                  <a:pt x="2069948" y="3163431"/>
                  <a:pt x="2069407" y="3164706"/>
                  <a:pt x="2068368" y="3165745"/>
                </a:cubicBezTo>
                <a:cubicBezTo>
                  <a:pt x="2067329" y="3166784"/>
                  <a:pt x="2066054" y="3167326"/>
                  <a:pt x="2064543" y="3167369"/>
                </a:cubicBezTo>
                <a:lnTo>
                  <a:pt x="2059305" y="3167369"/>
                </a:lnTo>
                <a:cubicBezTo>
                  <a:pt x="2057794" y="3167326"/>
                  <a:pt x="2056519" y="3166784"/>
                  <a:pt x="2055481" y="3165745"/>
                </a:cubicBezTo>
                <a:cubicBezTo>
                  <a:pt x="2054441" y="3164706"/>
                  <a:pt x="2053900" y="3163431"/>
                  <a:pt x="2053857" y="3161921"/>
                </a:cubicBezTo>
                <a:lnTo>
                  <a:pt x="2053857" y="3074329"/>
                </a:lnTo>
                <a:lnTo>
                  <a:pt x="2039817" y="3074329"/>
                </a:lnTo>
                <a:cubicBezTo>
                  <a:pt x="2038306" y="3074285"/>
                  <a:pt x="2037031" y="3073744"/>
                  <a:pt x="2035992" y="3072705"/>
                </a:cubicBezTo>
                <a:cubicBezTo>
                  <a:pt x="2034953" y="3071666"/>
                  <a:pt x="2034412" y="3070391"/>
                  <a:pt x="2034368" y="3068881"/>
                </a:cubicBezTo>
                <a:lnTo>
                  <a:pt x="2034368" y="3068042"/>
                </a:lnTo>
                <a:cubicBezTo>
                  <a:pt x="2034412" y="3066532"/>
                  <a:pt x="2034953" y="3065257"/>
                  <a:pt x="2035992" y="3064218"/>
                </a:cubicBezTo>
                <a:cubicBezTo>
                  <a:pt x="2037031" y="3063179"/>
                  <a:pt x="2038306" y="3062638"/>
                  <a:pt x="2039817" y="3062594"/>
                </a:cubicBezTo>
                <a:lnTo>
                  <a:pt x="2053857" y="3062594"/>
                </a:lnTo>
                <a:lnTo>
                  <a:pt x="2053857" y="3049602"/>
                </a:lnTo>
                <a:cubicBezTo>
                  <a:pt x="2053983" y="3038077"/>
                  <a:pt x="2056821" y="3030114"/>
                  <a:pt x="2062369" y="3025713"/>
                </a:cubicBezTo>
                <a:cubicBezTo>
                  <a:pt x="2067918" y="3021313"/>
                  <a:pt x="2075418" y="3019217"/>
                  <a:pt x="2084870" y="3019427"/>
                </a:cubicBezTo>
                <a:close/>
                <a:moveTo>
                  <a:pt x="503720" y="3019427"/>
                </a:moveTo>
                <a:cubicBezTo>
                  <a:pt x="505868" y="3019427"/>
                  <a:pt x="508068" y="3019532"/>
                  <a:pt x="510321" y="3019741"/>
                </a:cubicBezTo>
                <a:cubicBezTo>
                  <a:pt x="512573" y="3019951"/>
                  <a:pt x="514564" y="3020265"/>
                  <a:pt x="516293" y="3020684"/>
                </a:cubicBezTo>
                <a:cubicBezTo>
                  <a:pt x="517987" y="3021073"/>
                  <a:pt x="519314" y="3021710"/>
                  <a:pt x="520274" y="3022596"/>
                </a:cubicBezTo>
                <a:cubicBezTo>
                  <a:pt x="521235" y="3023483"/>
                  <a:pt x="521724" y="3024801"/>
                  <a:pt x="521741" y="3026552"/>
                </a:cubicBezTo>
                <a:lnTo>
                  <a:pt x="521741" y="3027809"/>
                </a:lnTo>
                <a:cubicBezTo>
                  <a:pt x="521680" y="3029869"/>
                  <a:pt x="521174" y="3031301"/>
                  <a:pt x="520222" y="3032105"/>
                </a:cubicBezTo>
                <a:cubicBezTo>
                  <a:pt x="519270" y="3032908"/>
                  <a:pt x="518240" y="3033292"/>
                  <a:pt x="517131" y="3033257"/>
                </a:cubicBezTo>
                <a:cubicBezTo>
                  <a:pt x="515023" y="3033178"/>
                  <a:pt x="512796" y="3032864"/>
                  <a:pt x="510452" y="3032314"/>
                </a:cubicBezTo>
                <a:cubicBezTo>
                  <a:pt x="508107" y="3031764"/>
                  <a:pt x="505724" y="3031450"/>
                  <a:pt x="503301" y="3031371"/>
                </a:cubicBezTo>
                <a:cubicBezTo>
                  <a:pt x="497748" y="3031424"/>
                  <a:pt x="493923" y="3032733"/>
                  <a:pt x="491828" y="3035300"/>
                </a:cubicBezTo>
                <a:cubicBezTo>
                  <a:pt x="489732" y="3037867"/>
                  <a:pt x="488737" y="3041377"/>
                  <a:pt x="488842" y="3045830"/>
                </a:cubicBezTo>
                <a:lnTo>
                  <a:pt x="488842" y="3062594"/>
                </a:lnTo>
                <a:lnTo>
                  <a:pt x="513359" y="3062594"/>
                </a:lnTo>
                <a:cubicBezTo>
                  <a:pt x="514870" y="3062638"/>
                  <a:pt x="516145" y="3063179"/>
                  <a:pt x="517183" y="3064218"/>
                </a:cubicBezTo>
                <a:cubicBezTo>
                  <a:pt x="518223" y="3065257"/>
                  <a:pt x="518764" y="3066532"/>
                  <a:pt x="518807" y="3068042"/>
                </a:cubicBezTo>
                <a:lnTo>
                  <a:pt x="518807" y="3068881"/>
                </a:lnTo>
                <a:cubicBezTo>
                  <a:pt x="518764" y="3070391"/>
                  <a:pt x="518223" y="3071666"/>
                  <a:pt x="517183" y="3072705"/>
                </a:cubicBezTo>
                <a:cubicBezTo>
                  <a:pt x="516145" y="3073744"/>
                  <a:pt x="514870" y="3074285"/>
                  <a:pt x="513359" y="3074329"/>
                </a:cubicBezTo>
                <a:lnTo>
                  <a:pt x="488842" y="3074329"/>
                </a:lnTo>
                <a:lnTo>
                  <a:pt x="488842" y="3161921"/>
                </a:lnTo>
                <a:cubicBezTo>
                  <a:pt x="488798" y="3163431"/>
                  <a:pt x="488257" y="3164706"/>
                  <a:pt x="487218" y="3165745"/>
                </a:cubicBezTo>
                <a:cubicBezTo>
                  <a:pt x="486179" y="3166784"/>
                  <a:pt x="484904" y="3167326"/>
                  <a:pt x="483394" y="3167369"/>
                </a:cubicBezTo>
                <a:lnTo>
                  <a:pt x="478155" y="3167369"/>
                </a:lnTo>
                <a:cubicBezTo>
                  <a:pt x="476644" y="3167326"/>
                  <a:pt x="475370" y="3166784"/>
                  <a:pt x="474331" y="3165745"/>
                </a:cubicBezTo>
                <a:cubicBezTo>
                  <a:pt x="473292" y="3164706"/>
                  <a:pt x="472750" y="3163431"/>
                  <a:pt x="472707" y="3161921"/>
                </a:cubicBezTo>
                <a:lnTo>
                  <a:pt x="472707" y="3074329"/>
                </a:lnTo>
                <a:lnTo>
                  <a:pt x="458667" y="3074329"/>
                </a:lnTo>
                <a:cubicBezTo>
                  <a:pt x="457156" y="3074285"/>
                  <a:pt x="455881" y="3073744"/>
                  <a:pt x="454842" y="3072705"/>
                </a:cubicBezTo>
                <a:cubicBezTo>
                  <a:pt x="453803" y="3071666"/>
                  <a:pt x="453262" y="3070391"/>
                  <a:pt x="453218" y="3068881"/>
                </a:cubicBezTo>
                <a:lnTo>
                  <a:pt x="453218" y="3068042"/>
                </a:lnTo>
                <a:cubicBezTo>
                  <a:pt x="453262" y="3066532"/>
                  <a:pt x="453803" y="3065257"/>
                  <a:pt x="454842" y="3064218"/>
                </a:cubicBezTo>
                <a:cubicBezTo>
                  <a:pt x="455881" y="3063179"/>
                  <a:pt x="457156" y="3062638"/>
                  <a:pt x="458667" y="3062594"/>
                </a:cubicBezTo>
                <a:lnTo>
                  <a:pt x="472707" y="3062594"/>
                </a:lnTo>
                <a:lnTo>
                  <a:pt x="472707" y="3049602"/>
                </a:lnTo>
                <a:cubicBezTo>
                  <a:pt x="472833" y="3038077"/>
                  <a:pt x="475671" y="3030114"/>
                  <a:pt x="481219" y="3025713"/>
                </a:cubicBezTo>
                <a:cubicBezTo>
                  <a:pt x="486768" y="3021313"/>
                  <a:pt x="494268" y="3019217"/>
                  <a:pt x="503720" y="3019427"/>
                </a:cubicBezTo>
                <a:close/>
                <a:moveTo>
                  <a:pt x="53226" y="3019427"/>
                </a:moveTo>
                <a:cubicBezTo>
                  <a:pt x="61589" y="3019449"/>
                  <a:pt x="69309" y="3020173"/>
                  <a:pt x="76385" y="3021600"/>
                </a:cubicBezTo>
                <a:cubicBezTo>
                  <a:pt x="83460" y="3023027"/>
                  <a:pt x="89162" y="3025024"/>
                  <a:pt x="93490" y="3027592"/>
                </a:cubicBezTo>
                <a:cubicBezTo>
                  <a:pt x="97818" y="3030159"/>
                  <a:pt x="100043" y="3033165"/>
                  <a:pt x="100165" y="3036610"/>
                </a:cubicBezTo>
                <a:cubicBezTo>
                  <a:pt x="100147" y="3038675"/>
                  <a:pt x="99501" y="3040465"/>
                  <a:pt x="98226" y="3041980"/>
                </a:cubicBezTo>
                <a:cubicBezTo>
                  <a:pt x="96952" y="3043494"/>
                  <a:pt x="95153" y="3044289"/>
                  <a:pt x="92831" y="3044363"/>
                </a:cubicBezTo>
                <a:cubicBezTo>
                  <a:pt x="89654" y="3044213"/>
                  <a:pt x="86368" y="3043163"/>
                  <a:pt x="82974" y="3041212"/>
                </a:cubicBezTo>
                <a:cubicBezTo>
                  <a:pt x="79580" y="3039262"/>
                  <a:pt x="75440" y="3037311"/>
                  <a:pt x="70556" y="3035360"/>
                </a:cubicBezTo>
                <a:cubicBezTo>
                  <a:pt x="65672" y="3033410"/>
                  <a:pt x="59406" y="3032359"/>
                  <a:pt x="51759" y="3032209"/>
                </a:cubicBezTo>
                <a:cubicBezTo>
                  <a:pt x="41849" y="3032397"/>
                  <a:pt x="34218" y="3034850"/>
                  <a:pt x="28865" y="3039570"/>
                </a:cubicBezTo>
                <a:cubicBezTo>
                  <a:pt x="23513" y="3044289"/>
                  <a:pt x="20806" y="3050148"/>
                  <a:pt x="20745" y="3057146"/>
                </a:cubicBezTo>
                <a:cubicBezTo>
                  <a:pt x="20969" y="3064718"/>
                  <a:pt x="23882" y="3070403"/>
                  <a:pt x="29484" y="3074200"/>
                </a:cubicBezTo>
                <a:cubicBezTo>
                  <a:pt x="35086" y="3077997"/>
                  <a:pt x="42033" y="3080993"/>
                  <a:pt x="50324" y="3083187"/>
                </a:cubicBezTo>
                <a:cubicBezTo>
                  <a:pt x="58615" y="3085381"/>
                  <a:pt x="66905" y="3087861"/>
                  <a:pt x="75196" y="3090625"/>
                </a:cubicBezTo>
                <a:cubicBezTo>
                  <a:pt x="83487" y="3093390"/>
                  <a:pt x="90434" y="3097525"/>
                  <a:pt x="96036" y="3103032"/>
                </a:cubicBezTo>
                <a:cubicBezTo>
                  <a:pt x="101638" y="3108539"/>
                  <a:pt x="104551" y="3116504"/>
                  <a:pt x="104775" y="3126926"/>
                </a:cubicBezTo>
                <a:cubicBezTo>
                  <a:pt x="104836" y="3139084"/>
                  <a:pt x="100418" y="3149239"/>
                  <a:pt x="91521" y="3157389"/>
                </a:cubicBezTo>
                <a:cubicBezTo>
                  <a:pt x="82624" y="3165540"/>
                  <a:pt x="68881" y="3169775"/>
                  <a:pt x="50292" y="3170093"/>
                </a:cubicBezTo>
                <a:cubicBezTo>
                  <a:pt x="35820" y="3169958"/>
                  <a:pt x="23902" y="3168028"/>
                  <a:pt x="14537" y="3164304"/>
                </a:cubicBezTo>
                <a:cubicBezTo>
                  <a:pt x="5173" y="3160581"/>
                  <a:pt x="327" y="3155874"/>
                  <a:pt x="0" y="3150186"/>
                </a:cubicBezTo>
                <a:cubicBezTo>
                  <a:pt x="22" y="3147864"/>
                  <a:pt x="711" y="3146065"/>
                  <a:pt x="2069" y="3144790"/>
                </a:cubicBezTo>
                <a:cubicBezTo>
                  <a:pt x="3427" y="3143515"/>
                  <a:pt x="5322" y="3142869"/>
                  <a:pt x="7753" y="3142852"/>
                </a:cubicBezTo>
                <a:cubicBezTo>
                  <a:pt x="10992" y="3143028"/>
                  <a:pt x="14410" y="3144259"/>
                  <a:pt x="18006" y="3146546"/>
                </a:cubicBezTo>
                <a:cubicBezTo>
                  <a:pt x="21602" y="3148833"/>
                  <a:pt x="26059" y="3151120"/>
                  <a:pt x="31378" y="3153407"/>
                </a:cubicBezTo>
                <a:cubicBezTo>
                  <a:pt x="36697" y="3155694"/>
                  <a:pt x="43560" y="3156925"/>
                  <a:pt x="51968" y="3157101"/>
                </a:cubicBezTo>
                <a:cubicBezTo>
                  <a:pt x="63720" y="3156831"/>
                  <a:pt x="72591" y="3153914"/>
                  <a:pt x="78581" y="3148353"/>
                </a:cubicBezTo>
                <a:cubicBezTo>
                  <a:pt x="84571" y="3142791"/>
                  <a:pt x="87574" y="3136207"/>
                  <a:pt x="87592" y="3128602"/>
                </a:cubicBezTo>
                <a:cubicBezTo>
                  <a:pt x="87367" y="3120903"/>
                  <a:pt x="84447" y="3115120"/>
                  <a:pt x="78831" y="3111253"/>
                </a:cubicBezTo>
                <a:cubicBezTo>
                  <a:pt x="73215" y="3107386"/>
                  <a:pt x="66251" y="3104356"/>
                  <a:pt x="57940" y="3102162"/>
                </a:cubicBezTo>
                <a:cubicBezTo>
                  <a:pt x="49628" y="3099968"/>
                  <a:pt x="41316" y="3097532"/>
                  <a:pt x="33005" y="3094851"/>
                </a:cubicBezTo>
                <a:cubicBezTo>
                  <a:pt x="24693" y="3092171"/>
                  <a:pt x="17729" y="3088169"/>
                  <a:pt x="12114" y="3082843"/>
                </a:cubicBezTo>
                <a:cubicBezTo>
                  <a:pt x="6498" y="3077518"/>
                  <a:pt x="3577" y="3069790"/>
                  <a:pt x="3353" y="3059660"/>
                </a:cubicBezTo>
                <a:cubicBezTo>
                  <a:pt x="3414" y="3047899"/>
                  <a:pt x="7692" y="3038312"/>
                  <a:pt x="16188" y="3030900"/>
                </a:cubicBezTo>
                <a:cubicBezTo>
                  <a:pt x="24683" y="3023487"/>
                  <a:pt x="37029" y="3019662"/>
                  <a:pt x="53226" y="3019427"/>
                </a:cubicBezTo>
                <a:close/>
                <a:moveTo>
                  <a:pt x="1710690" y="2871103"/>
                </a:moveTo>
                <a:cubicBezTo>
                  <a:pt x="1708381" y="2872426"/>
                  <a:pt x="1705979" y="2873343"/>
                  <a:pt x="1703487" y="2873854"/>
                </a:cubicBezTo>
                <a:cubicBezTo>
                  <a:pt x="1700994" y="2874365"/>
                  <a:pt x="1698435" y="2874705"/>
                  <a:pt x="1695812" y="2874875"/>
                </a:cubicBezTo>
                <a:cubicBezTo>
                  <a:pt x="1691162" y="2874998"/>
                  <a:pt x="1687207" y="2875906"/>
                  <a:pt x="1683946" y="2877600"/>
                </a:cubicBezTo>
                <a:cubicBezTo>
                  <a:pt x="1680685" y="2879293"/>
                  <a:pt x="1678982" y="2882926"/>
                  <a:pt x="1678838" y="2888496"/>
                </a:cubicBezTo>
                <a:cubicBezTo>
                  <a:pt x="1678817" y="2893145"/>
                  <a:pt x="1680117" y="2896420"/>
                  <a:pt x="1682741" y="2898319"/>
                </a:cubicBezTo>
                <a:cubicBezTo>
                  <a:pt x="1685365" y="2900218"/>
                  <a:pt x="1689442" y="2901135"/>
                  <a:pt x="1694974" y="2901069"/>
                </a:cubicBezTo>
                <a:cubicBezTo>
                  <a:pt x="1701330" y="2900951"/>
                  <a:pt x="1705643" y="2900139"/>
                  <a:pt x="1707913" y="2898633"/>
                </a:cubicBezTo>
                <a:cubicBezTo>
                  <a:pt x="1710183" y="2897127"/>
                  <a:pt x="1711249" y="2895634"/>
                  <a:pt x="1711109" y="2894154"/>
                </a:cubicBezTo>
                <a:lnTo>
                  <a:pt x="1711109" y="2871103"/>
                </a:lnTo>
                <a:close/>
                <a:moveTo>
                  <a:pt x="43167" y="2854759"/>
                </a:moveTo>
                <a:lnTo>
                  <a:pt x="43167" y="2897088"/>
                </a:lnTo>
                <a:lnTo>
                  <a:pt x="61398" y="2897088"/>
                </a:lnTo>
                <a:cubicBezTo>
                  <a:pt x="70169" y="2896931"/>
                  <a:pt x="76307" y="2894783"/>
                  <a:pt x="79812" y="2890644"/>
                </a:cubicBezTo>
                <a:cubicBezTo>
                  <a:pt x="83318" y="2886505"/>
                  <a:pt x="85003" y="2881319"/>
                  <a:pt x="84868" y="2875085"/>
                </a:cubicBezTo>
                <a:cubicBezTo>
                  <a:pt x="84999" y="2869563"/>
                  <a:pt x="83270" y="2864839"/>
                  <a:pt x="79681" y="2860914"/>
                </a:cubicBezTo>
                <a:cubicBezTo>
                  <a:pt x="76093" y="2856990"/>
                  <a:pt x="69859" y="2854938"/>
                  <a:pt x="60979" y="2854759"/>
                </a:cubicBezTo>
                <a:close/>
                <a:moveTo>
                  <a:pt x="1517771" y="2831918"/>
                </a:moveTo>
                <a:cubicBezTo>
                  <a:pt x="1513885" y="2831909"/>
                  <a:pt x="1510602" y="2832398"/>
                  <a:pt x="1507922" y="2833385"/>
                </a:cubicBezTo>
                <a:cubicBezTo>
                  <a:pt x="1505241" y="2834371"/>
                  <a:pt x="1503844" y="2835908"/>
                  <a:pt x="1503731" y="2837995"/>
                </a:cubicBezTo>
                <a:lnTo>
                  <a:pt x="1503731" y="2895621"/>
                </a:lnTo>
                <a:cubicBezTo>
                  <a:pt x="1503927" y="2897131"/>
                  <a:pt x="1505630" y="2898406"/>
                  <a:pt x="1508839" y="2899445"/>
                </a:cubicBezTo>
                <a:cubicBezTo>
                  <a:pt x="1512047" y="2900484"/>
                  <a:pt x="1515583" y="2901025"/>
                  <a:pt x="1519447" y="2901069"/>
                </a:cubicBezTo>
                <a:cubicBezTo>
                  <a:pt x="1526978" y="2901152"/>
                  <a:pt x="1532924" y="2898367"/>
                  <a:pt x="1537285" y="2892714"/>
                </a:cubicBezTo>
                <a:cubicBezTo>
                  <a:pt x="1541646" y="2887060"/>
                  <a:pt x="1543873" y="2878041"/>
                  <a:pt x="1543964" y="2865655"/>
                </a:cubicBezTo>
                <a:cubicBezTo>
                  <a:pt x="1543960" y="2853890"/>
                  <a:pt x="1541768" y="2845307"/>
                  <a:pt x="1537390" y="2839907"/>
                </a:cubicBezTo>
                <a:cubicBezTo>
                  <a:pt x="1533011" y="2834507"/>
                  <a:pt x="1526471" y="2831843"/>
                  <a:pt x="1517771" y="2831918"/>
                </a:cubicBezTo>
                <a:close/>
                <a:moveTo>
                  <a:pt x="947947" y="2831918"/>
                </a:moveTo>
                <a:cubicBezTo>
                  <a:pt x="941582" y="2831804"/>
                  <a:pt x="936553" y="2834441"/>
                  <a:pt x="932859" y="2839828"/>
                </a:cubicBezTo>
                <a:cubicBezTo>
                  <a:pt x="929166" y="2845215"/>
                  <a:pt x="927280" y="2854034"/>
                  <a:pt x="927201" y="2866284"/>
                </a:cubicBezTo>
                <a:cubicBezTo>
                  <a:pt x="927149" y="2877176"/>
                  <a:pt x="928773" y="2885671"/>
                  <a:pt x="932073" y="2891770"/>
                </a:cubicBezTo>
                <a:cubicBezTo>
                  <a:pt x="935374" y="2897869"/>
                  <a:pt x="940665" y="2900969"/>
                  <a:pt x="947947" y="2901069"/>
                </a:cubicBezTo>
                <a:cubicBezTo>
                  <a:pt x="955329" y="2900969"/>
                  <a:pt x="960681" y="2897869"/>
                  <a:pt x="964004" y="2891770"/>
                </a:cubicBezTo>
                <a:cubicBezTo>
                  <a:pt x="967326" y="2885671"/>
                  <a:pt x="968959" y="2877176"/>
                  <a:pt x="968902" y="2866284"/>
                </a:cubicBezTo>
                <a:cubicBezTo>
                  <a:pt x="968828" y="2854034"/>
                  <a:pt x="966933" y="2845215"/>
                  <a:pt x="963218" y="2839828"/>
                </a:cubicBezTo>
                <a:cubicBezTo>
                  <a:pt x="959503" y="2834441"/>
                  <a:pt x="954412" y="2831804"/>
                  <a:pt x="947947" y="2831918"/>
                </a:cubicBezTo>
                <a:close/>
                <a:moveTo>
                  <a:pt x="1935823" y="2831499"/>
                </a:moveTo>
                <a:cubicBezTo>
                  <a:pt x="1930663" y="2831433"/>
                  <a:pt x="1926367" y="2833293"/>
                  <a:pt x="1922935" y="2837078"/>
                </a:cubicBezTo>
                <a:cubicBezTo>
                  <a:pt x="1919504" y="2840863"/>
                  <a:pt x="1917723" y="2846966"/>
                  <a:pt x="1917592" y="2855387"/>
                </a:cubicBezTo>
                <a:lnTo>
                  <a:pt x="1954473" y="2855387"/>
                </a:lnTo>
                <a:cubicBezTo>
                  <a:pt x="1954652" y="2849441"/>
                  <a:pt x="1953455" y="2844045"/>
                  <a:pt x="1950884" y="2839200"/>
                </a:cubicBezTo>
                <a:cubicBezTo>
                  <a:pt x="1948313" y="2834354"/>
                  <a:pt x="1943292" y="2831787"/>
                  <a:pt x="1935823" y="2831499"/>
                </a:cubicBezTo>
                <a:close/>
                <a:moveTo>
                  <a:pt x="1373848" y="2831499"/>
                </a:moveTo>
                <a:cubicBezTo>
                  <a:pt x="1368687" y="2831433"/>
                  <a:pt x="1364392" y="2833293"/>
                  <a:pt x="1360960" y="2837078"/>
                </a:cubicBezTo>
                <a:cubicBezTo>
                  <a:pt x="1357529" y="2840863"/>
                  <a:pt x="1355748" y="2846966"/>
                  <a:pt x="1355617" y="2855387"/>
                </a:cubicBezTo>
                <a:lnTo>
                  <a:pt x="1392498" y="2855387"/>
                </a:lnTo>
                <a:cubicBezTo>
                  <a:pt x="1392677" y="2849441"/>
                  <a:pt x="1391481" y="2844045"/>
                  <a:pt x="1388909" y="2839200"/>
                </a:cubicBezTo>
                <a:cubicBezTo>
                  <a:pt x="1386338" y="2834354"/>
                  <a:pt x="1381317" y="2831787"/>
                  <a:pt x="1373848" y="2831499"/>
                </a:cubicBezTo>
                <a:close/>
                <a:moveTo>
                  <a:pt x="421348" y="2831499"/>
                </a:moveTo>
                <a:cubicBezTo>
                  <a:pt x="416188" y="2831433"/>
                  <a:pt x="411892" y="2833293"/>
                  <a:pt x="408460" y="2837078"/>
                </a:cubicBezTo>
                <a:cubicBezTo>
                  <a:pt x="405029" y="2840863"/>
                  <a:pt x="403248" y="2846966"/>
                  <a:pt x="403117" y="2855387"/>
                </a:cubicBezTo>
                <a:lnTo>
                  <a:pt x="439998" y="2855387"/>
                </a:lnTo>
                <a:cubicBezTo>
                  <a:pt x="440177" y="2849441"/>
                  <a:pt x="438981" y="2844045"/>
                  <a:pt x="436409" y="2839200"/>
                </a:cubicBezTo>
                <a:cubicBezTo>
                  <a:pt x="433838" y="2834354"/>
                  <a:pt x="428817" y="2831787"/>
                  <a:pt x="421348" y="2831499"/>
                </a:cubicBezTo>
                <a:close/>
                <a:moveTo>
                  <a:pt x="183223" y="2831499"/>
                </a:moveTo>
                <a:cubicBezTo>
                  <a:pt x="178063" y="2831433"/>
                  <a:pt x="173767" y="2833293"/>
                  <a:pt x="170335" y="2837078"/>
                </a:cubicBezTo>
                <a:cubicBezTo>
                  <a:pt x="166904" y="2840863"/>
                  <a:pt x="165123" y="2846966"/>
                  <a:pt x="164992" y="2855387"/>
                </a:cubicBezTo>
                <a:lnTo>
                  <a:pt x="201873" y="2855387"/>
                </a:lnTo>
                <a:cubicBezTo>
                  <a:pt x="202052" y="2849441"/>
                  <a:pt x="200855" y="2844045"/>
                  <a:pt x="198284" y="2839200"/>
                </a:cubicBezTo>
                <a:cubicBezTo>
                  <a:pt x="195713" y="2834354"/>
                  <a:pt x="190692" y="2831787"/>
                  <a:pt x="183223" y="2831499"/>
                </a:cubicBezTo>
                <a:close/>
                <a:moveTo>
                  <a:pt x="573710" y="2813268"/>
                </a:moveTo>
                <a:lnTo>
                  <a:pt x="592360" y="2813268"/>
                </a:lnTo>
                <a:cubicBezTo>
                  <a:pt x="594097" y="2813316"/>
                  <a:pt x="595599" y="2813953"/>
                  <a:pt x="596865" y="2815180"/>
                </a:cubicBezTo>
                <a:cubicBezTo>
                  <a:pt x="598131" y="2816407"/>
                  <a:pt x="598795" y="2817935"/>
                  <a:pt x="598856" y="2819764"/>
                </a:cubicBezTo>
                <a:lnTo>
                  <a:pt x="598856" y="2913223"/>
                </a:lnTo>
                <a:cubicBezTo>
                  <a:pt x="598795" y="2915052"/>
                  <a:pt x="598131" y="2916580"/>
                  <a:pt x="596865" y="2917807"/>
                </a:cubicBezTo>
                <a:cubicBezTo>
                  <a:pt x="595599" y="2919034"/>
                  <a:pt x="594097" y="2919671"/>
                  <a:pt x="592360" y="2919719"/>
                </a:cubicBezTo>
                <a:lnTo>
                  <a:pt x="573710" y="2919719"/>
                </a:lnTo>
                <a:cubicBezTo>
                  <a:pt x="571880" y="2919671"/>
                  <a:pt x="570352" y="2919034"/>
                  <a:pt x="569126" y="2917807"/>
                </a:cubicBezTo>
                <a:cubicBezTo>
                  <a:pt x="567899" y="2916580"/>
                  <a:pt x="567262" y="2915052"/>
                  <a:pt x="567214" y="2913223"/>
                </a:cubicBezTo>
                <a:lnTo>
                  <a:pt x="567214" y="2819764"/>
                </a:lnTo>
                <a:cubicBezTo>
                  <a:pt x="567262" y="2817935"/>
                  <a:pt x="567899" y="2816407"/>
                  <a:pt x="569126" y="2815180"/>
                </a:cubicBezTo>
                <a:cubicBezTo>
                  <a:pt x="570352" y="2813953"/>
                  <a:pt x="571880" y="2813316"/>
                  <a:pt x="573710" y="2813268"/>
                </a:cubicBezTo>
                <a:close/>
                <a:moveTo>
                  <a:pt x="1936661" y="2810753"/>
                </a:moveTo>
                <a:cubicBezTo>
                  <a:pt x="1951897" y="2810980"/>
                  <a:pt x="1963807" y="2815974"/>
                  <a:pt x="1972389" y="2825736"/>
                </a:cubicBezTo>
                <a:cubicBezTo>
                  <a:pt x="1980972" y="2835498"/>
                  <a:pt x="1985338" y="2848664"/>
                  <a:pt x="1985486" y="2865236"/>
                </a:cubicBezTo>
                <a:cubicBezTo>
                  <a:pt x="1985565" y="2867952"/>
                  <a:pt x="1985093" y="2869960"/>
                  <a:pt x="1984072" y="2871261"/>
                </a:cubicBezTo>
                <a:cubicBezTo>
                  <a:pt x="1983050" y="2872562"/>
                  <a:pt x="1981007" y="2873208"/>
                  <a:pt x="1977942" y="2873199"/>
                </a:cubicBezTo>
                <a:lnTo>
                  <a:pt x="1917801" y="2873199"/>
                </a:lnTo>
                <a:cubicBezTo>
                  <a:pt x="1917941" y="2882419"/>
                  <a:pt x="1920229" y="2889334"/>
                  <a:pt x="1924664" y="2893945"/>
                </a:cubicBezTo>
                <a:cubicBezTo>
                  <a:pt x="1929100" y="2898555"/>
                  <a:pt x="1934845" y="2900860"/>
                  <a:pt x="1941900" y="2900860"/>
                </a:cubicBezTo>
                <a:cubicBezTo>
                  <a:pt x="1946763" y="2900741"/>
                  <a:pt x="1950773" y="2899908"/>
                  <a:pt x="1953929" y="2898361"/>
                </a:cubicBezTo>
                <a:cubicBezTo>
                  <a:pt x="1957085" y="2896814"/>
                  <a:pt x="1959962" y="2895267"/>
                  <a:pt x="1962560" y="2893719"/>
                </a:cubicBezTo>
                <a:cubicBezTo>
                  <a:pt x="1965157" y="2892172"/>
                  <a:pt x="1968049" y="2891339"/>
                  <a:pt x="1971237" y="2891220"/>
                </a:cubicBezTo>
                <a:cubicBezTo>
                  <a:pt x="1974624" y="2891299"/>
                  <a:pt x="1977279" y="2892399"/>
                  <a:pt x="1979199" y="2894521"/>
                </a:cubicBezTo>
                <a:cubicBezTo>
                  <a:pt x="1981121" y="2896642"/>
                  <a:pt x="1982098" y="2899314"/>
                  <a:pt x="1982133" y="2902536"/>
                </a:cubicBezTo>
                <a:cubicBezTo>
                  <a:pt x="1982020" y="2908216"/>
                  <a:pt x="1978423" y="2912887"/>
                  <a:pt x="1971341" y="2916550"/>
                </a:cubicBezTo>
                <a:cubicBezTo>
                  <a:pt x="1964260" y="2920212"/>
                  <a:pt x="1954377" y="2922107"/>
                  <a:pt x="1941690" y="2922234"/>
                </a:cubicBezTo>
                <a:cubicBezTo>
                  <a:pt x="1923791" y="2922129"/>
                  <a:pt x="1910083" y="2917309"/>
                  <a:pt x="1900566" y="2907775"/>
                </a:cubicBezTo>
                <a:cubicBezTo>
                  <a:pt x="1891049" y="2898240"/>
                  <a:pt x="1886247" y="2884620"/>
                  <a:pt x="1886159" y="2866912"/>
                </a:cubicBezTo>
                <a:cubicBezTo>
                  <a:pt x="1886391" y="2849171"/>
                  <a:pt x="1891062" y="2835410"/>
                  <a:pt x="1900173" y="2825631"/>
                </a:cubicBezTo>
                <a:cubicBezTo>
                  <a:pt x="1909284" y="2815852"/>
                  <a:pt x="1921447" y="2810893"/>
                  <a:pt x="1936661" y="2810753"/>
                </a:cubicBezTo>
                <a:close/>
                <a:moveTo>
                  <a:pt x="1824990" y="2810753"/>
                </a:moveTo>
                <a:cubicBezTo>
                  <a:pt x="1836336" y="2810827"/>
                  <a:pt x="1845286" y="2814032"/>
                  <a:pt x="1851838" y="2820366"/>
                </a:cubicBezTo>
                <a:cubicBezTo>
                  <a:pt x="1858391" y="2826701"/>
                  <a:pt x="1861735" y="2835720"/>
                  <a:pt x="1861871" y="2847424"/>
                </a:cubicBezTo>
                <a:lnTo>
                  <a:pt x="1861871" y="2913223"/>
                </a:lnTo>
                <a:cubicBezTo>
                  <a:pt x="1861809" y="2915052"/>
                  <a:pt x="1861146" y="2916580"/>
                  <a:pt x="1859880" y="2917807"/>
                </a:cubicBezTo>
                <a:cubicBezTo>
                  <a:pt x="1858614" y="2919034"/>
                  <a:pt x="1857112" y="2919671"/>
                  <a:pt x="1855375" y="2919719"/>
                </a:cubicBezTo>
                <a:lnTo>
                  <a:pt x="1836725" y="2919719"/>
                </a:lnTo>
                <a:cubicBezTo>
                  <a:pt x="1834895" y="2919671"/>
                  <a:pt x="1833367" y="2919034"/>
                  <a:pt x="1832141" y="2917807"/>
                </a:cubicBezTo>
                <a:cubicBezTo>
                  <a:pt x="1830914" y="2916580"/>
                  <a:pt x="1830277" y="2915052"/>
                  <a:pt x="1830229" y="2913223"/>
                </a:cubicBezTo>
                <a:lnTo>
                  <a:pt x="1830229" y="2845538"/>
                </a:lnTo>
                <a:cubicBezTo>
                  <a:pt x="1830364" y="2841304"/>
                  <a:pt x="1829255" y="2837986"/>
                  <a:pt x="1826902" y="2835585"/>
                </a:cubicBezTo>
                <a:cubicBezTo>
                  <a:pt x="1824549" y="2833184"/>
                  <a:pt x="1820140" y="2831961"/>
                  <a:pt x="1813674" y="2831918"/>
                </a:cubicBezTo>
                <a:cubicBezTo>
                  <a:pt x="1809029" y="2831961"/>
                  <a:pt x="1805432" y="2832503"/>
                  <a:pt x="1802882" y="2833542"/>
                </a:cubicBezTo>
                <a:cubicBezTo>
                  <a:pt x="1800333" y="2834581"/>
                  <a:pt x="1799041" y="2835855"/>
                  <a:pt x="1799006" y="2837366"/>
                </a:cubicBezTo>
                <a:lnTo>
                  <a:pt x="1799006" y="2913223"/>
                </a:lnTo>
                <a:cubicBezTo>
                  <a:pt x="1798944" y="2915052"/>
                  <a:pt x="1798281" y="2916580"/>
                  <a:pt x="1797015" y="2917807"/>
                </a:cubicBezTo>
                <a:cubicBezTo>
                  <a:pt x="1795749" y="2919034"/>
                  <a:pt x="1794247" y="2919671"/>
                  <a:pt x="1792509" y="2919719"/>
                </a:cubicBezTo>
                <a:lnTo>
                  <a:pt x="1773860" y="2919719"/>
                </a:lnTo>
                <a:cubicBezTo>
                  <a:pt x="1772030" y="2919671"/>
                  <a:pt x="1770502" y="2919034"/>
                  <a:pt x="1769276" y="2917807"/>
                </a:cubicBezTo>
                <a:cubicBezTo>
                  <a:pt x="1768049" y="2916580"/>
                  <a:pt x="1767412" y="2915052"/>
                  <a:pt x="1767363" y="2913223"/>
                </a:cubicBezTo>
                <a:lnTo>
                  <a:pt x="1767363" y="2819764"/>
                </a:lnTo>
                <a:cubicBezTo>
                  <a:pt x="1767412" y="2817935"/>
                  <a:pt x="1768049" y="2816407"/>
                  <a:pt x="1769276" y="2815180"/>
                </a:cubicBezTo>
                <a:cubicBezTo>
                  <a:pt x="1770502" y="2813953"/>
                  <a:pt x="1772030" y="2813316"/>
                  <a:pt x="1773860" y="2813268"/>
                </a:cubicBezTo>
                <a:lnTo>
                  <a:pt x="1790624" y="2813268"/>
                </a:lnTo>
                <a:cubicBezTo>
                  <a:pt x="1792361" y="2813316"/>
                  <a:pt x="1793863" y="2813953"/>
                  <a:pt x="1795129" y="2815180"/>
                </a:cubicBezTo>
                <a:cubicBezTo>
                  <a:pt x="1796395" y="2816407"/>
                  <a:pt x="1797059" y="2817935"/>
                  <a:pt x="1797120" y="2819764"/>
                </a:cubicBezTo>
                <a:lnTo>
                  <a:pt x="1797120" y="2821440"/>
                </a:lnTo>
                <a:cubicBezTo>
                  <a:pt x="1800245" y="2818153"/>
                  <a:pt x="1803947" y="2815560"/>
                  <a:pt x="1808226" y="2813660"/>
                </a:cubicBezTo>
                <a:cubicBezTo>
                  <a:pt x="1812504" y="2811761"/>
                  <a:pt x="1818092" y="2810792"/>
                  <a:pt x="1824990" y="2810753"/>
                </a:cubicBezTo>
                <a:close/>
                <a:moveTo>
                  <a:pt x="1696859" y="2810753"/>
                </a:moveTo>
                <a:cubicBezTo>
                  <a:pt x="1711982" y="2810504"/>
                  <a:pt x="1723437" y="2812940"/>
                  <a:pt x="1731226" y="2818061"/>
                </a:cubicBezTo>
                <a:cubicBezTo>
                  <a:pt x="1739014" y="2823182"/>
                  <a:pt x="1742926" y="2832481"/>
                  <a:pt x="1742961" y="2845958"/>
                </a:cubicBezTo>
                <a:lnTo>
                  <a:pt x="1742961" y="2913223"/>
                </a:lnTo>
                <a:cubicBezTo>
                  <a:pt x="1742913" y="2915052"/>
                  <a:pt x="1742275" y="2916580"/>
                  <a:pt x="1741048" y="2917807"/>
                </a:cubicBezTo>
                <a:cubicBezTo>
                  <a:pt x="1739822" y="2919034"/>
                  <a:pt x="1738294" y="2919671"/>
                  <a:pt x="1736465" y="2919719"/>
                </a:cubicBezTo>
                <a:lnTo>
                  <a:pt x="1719701" y="2919719"/>
                </a:lnTo>
                <a:cubicBezTo>
                  <a:pt x="1717963" y="2919671"/>
                  <a:pt x="1716461" y="2919034"/>
                  <a:pt x="1715195" y="2917807"/>
                </a:cubicBezTo>
                <a:cubicBezTo>
                  <a:pt x="1713929" y="2916580"/>
                  <a:pt x="1713265" y="2915052"/>
                  <a:pt x="1713205" y="2913223"/>
                </a:cubicBezTo>
                <a:lnTo>
                  <a:pt x="1713205" y="2911547"/>
                </a:lnTo>
                <a:cubicBezTo>
                  <a:pt x="1710471" y="2914376"/>
                  <a:pt x="1706508" y="2916838"/>
                  <a:pt x="1701313" y="2918933"/>
                </a:cubicBezTo>
                <a:cubicBezTo>
                  <a:pt x="1696117" y="2921029"/>
                  <a:pt x="1689743" y="2922129"/>
                  <a:pt x="1682191" y="2922234"/>
                </a:cubicBezTo>
                <a:cubicBezTo>
                  <a:pt x="1670557" y="2922107"/>
                  <a:pt x="1661817" y="2919269"/>
                  <a:pt x="1655971" y="2913721"/>
                </a:cubicBezTo>
                <a:cubicBezTo>
                  <a:pt x="1650125" y="2908172"/>
                  <a:pt x="1647201" y="2900672"/>
                  <a:pt x="1647196" y="2891220"/>
                </a:cubicBezTo>
                <a:cubicBezTo>
                  <a:pt x="1647113" y="2881590"/>
                  <a:pt x="1649898" y="2873871"/>
                  <a:pt x="1655552" y="2868065"/>
                </a:cubicBezTo>
                <a:cubicBezTo>
                  <a:pt x="1661205" y="2862259"/>
                  <a:pt x="1670225" y="2858941"/>
                  <a:pt x="1682610" y="2858112"/>
                </a:cubicBezTo>
                <a:cubicBezTo>
                  <a:pt x="1693716" y="2857592"/>
                  <a:pt x="1701365" y="2856588"/>
                  <a:pt x="1705556" y="2855099"/>
                </a:cubicBezTo>
                <a:cubicBezTo>
                  <a:pt x="1709747" y="2853610"/>
                  <a:pt x="1711738" y="2850982"/>
                  <a:pt x="1711528" y="2847215"/>
                </a:cubicBezTo>
                <a:lnTo>
                  <a:pt x="1711528" y="2842185"/>
                </a:lnTo>
                <a:cubicBezTo>
                  <a:pt x="1711585" y="2838641"/>
                  <a:pt x="1710528" y="2836039"/>
                  <a:pt x="1708359" y="2834380"/>
                </a:cubicBezTo>
                <a:cubicBezTo>
                  <a:pt x="1706189" y="2832721"/>
                  <a:pt x="1702565" y="2831900"/>
                  <a:pt x="1697488" y="2831918"/>
                </a:cubicBezTo>
                <a:cubicBezTo>
                  <a:pt x="1691464" y="2832241"/>
                  <a:pt x="1686015" y="2833533"/>
                  <a:pt x="1681143" y="2835794"/>
                </a:cubicBezTo>
                <a:cubicBezTo>
                  <a:pt x="1676271" y="2838056"/>
                  <a:pt x="1671661" y="2839348"/>
                  <a:pt x="1667313" y="2839671"/>
                </a:cubicBezTo>
                <a:cubicBezTo>
                  <a:pt x="1663908" y="2839619"/>
                  <a:pt x="1661184" y="2838519"/>
                  <a:pt x="1659141" y="2836371"/>
                </a:cubicBezTo>
                <a:cubicBezTo>
                  <a:pt x="1657097" y="2834223"/>
                  <a:pt x="1656050" y="2831341"/>
                  <a:pt x="1655997" y="2827727"/>
                </a:cubicBezTo>
                <a:cubicBezTo>
                  <a:pt x="1656115" y="2822252"/>
                  <a:pt x="1659756" y="2818061"/>
                  <a:pt x="1666920" y="2815154"/>
                </a:cubicBezTo>
                <a:cubicBezTo>
                  <a:pt x="1674084" y="2812246"/>
                  <a:pt x="1684064" y="2810779"/>
                  <a:pt x="1696859" y="2810753"/>
                </a:cubicBezTo>
                <a:close/>
                <a:moveTo>
                  <a:pt x="1528038" y="2810753"/>
                </a:moveTo>
                <a:cubicBezTo>
                  <a:pt x="1541947" y="2810709"/>
                  <a:pt x="1553315" y="2815145"/>
                  <a:pt x="1562143" y="2824060"/>
                </a:cubicBezTo>
                <a:cubicBezTo>
                  <a:pt x="1570970" y="2832974"/>
                  <a:pt x="1575528" y="2846630"/>
                  <a:pt x="1575816" y="2865027"/>
                </a:cubicBezTo>
                <a:cubicBezTo>
                  <a:pt x="1575663" y="2882537"/>
                  <a:pt x="1571463" y="2896394"/>
                  <a:pt x="1563217" y="2906596"/>
                </a:cubicBezTo>
                <a:cubicBezTo>
                  <a:pt x="1554970" y="2916799"/>
                  <a:pt x="1543593" y="2922011"/>
                  <a:pt x="1529086" y="2922234"/>
                </a:cubicBezTo>
                <a:cubicBezTo>
                  <a:pt x="1523123" y="2922155"/>
                  <a:pt x="1517919" y="2921369"/>
                  <a:pt x="1513475" y="2919876"/>
                </a:cubicBezTo>
                <a:cubicBezTo>
                  <a:pt x="1509030" y="2918383"/>
                  <a:pt x="1505922" y="2916654"/>
                  <a:pt x="1504150" y="2914690"/>
                </a:cubicBezTo>
                <a:lnTo>
                  <a:pt x="1503731" y="2914690"/>
                </a:lnTo>
                <a:lnTo>
                  <a:pt x="1503731" y="2951361"/>
                </a:lnTo>
                <a:cubicBezTo>
                  <a:pt x="1503670" y="2953190"/>
                  <a:pt x="1503006" y="2954718"/>
                  <a:pt x="1501740" y="2955945"/>
                </a:cubicBezTo>
                <a:cubicBezTo>
                  <a:pt x="1500474" y="2957172"/>
                  <a:pt x="1498972" y="2957809"/>
                  <a:pt x="1497235" y="2957857"/>
                </a:cubicBezTo>
                <a:lnTo>
                  <a:pt x="1478585" y="2957857"/>
                </a:lnTo>
                <a:cubicBezTo>
                  <a:pt x="1476755" y="2957809"/>
                  <a:pt x="1475227" y="2957172"/>
                  <a:pt x="1474001" y="2955945"/>
                </a:cubicBezTo>
                <a:cubicBezTo>
                  <a:pt x="1472774" y="2954718"/>
                  <a:pt x="1472137" y="2953190"/>
                  <a:pt x="1472089" y="2951361"/>
                </a:cubicBezTo>
                <a:lnTo>
                  <a:pt x="1472089" y="2819764"/>
                </a:lnTo>
                <a:cubicBezTo>
                  <a:pt x="1472137" y="2817935"/>
                  <a:pt x="1472774" y="2816407"/>
                  <a:pt x="1474001" y="2815180"/>
                </a:cubicBezTo>
                <a:cubicBezTo>
                  <a:pt x="1475227" y="2813953"/>
                  <a:pt x="1476755" y="2813316"/>
                  <a:pt x="1478585" y="2813268"/>
                </a:cubicBezTo>
                <a:lnTo>
                  <a:pt x="1496606" y="2813268"/>
                </a:lnTo>
                <a:cubicBezTo>
                  <a:pt x="1498343" y="2813316"/>
                  <a:pt x="1499845" y="2813953"/>
                  <a:pt x="1501111" y="2815180"/>
                </a:cubicBezTo>
                <a:cubicBezTo>
                  <a:pt x="1502377" y="2816407"/>
                  <a:pt x="1503041" y="2817935"/>
                  <a:pt x="1503102" y="2819764"/>
                </a:cubicBezTo>
                <a:lnTo>
                  <a:pt x="1503102" y="2820183"/>
                </a:lnTo>
                <a:lnTo>
                  <a:pt x="1503311" y="2820183"/>
                </a:lnTo>
                <a:cubicBezTo>
                  <a:pt x="1505861" y="2817498"/>
                  <a:pt x="1509092" y="2815271"/>
                  <a:pt x="1513003" y="2813504"/>
                </a:cubicBezTo>
                <a:cubicBezTo>
                  <a:pt x="1516915" y="2811735"/>
                  <a:pt x="1521927" y="2810819"/>
                  <a:pt x="1528038" y="2810753"/>
                </a:cubicBezTo>
                <a:close/>
                <a:moveTo>
                  <a:pt x="1374686" y="2810753"/>
                </a:moveTo>
                <a:cubicBezTo>
                  <a:pt x="1389922" y="2810980"/>
                  <a:pt x="1401831" y="2815974"/>
                  <a:pt x="1410414" y="2825736"/>
                </a:cubicBezTo>
                <a:cubicBezTo>
                  <a:pt x="1418997" y="2835498"/>
                  <a:pt x="1423363" y="2848664"/>
                  <a:pt x="1423511" y="2865236"/>
                </a:cubicBezTo>
                <a:cubicBezTo>
                  <a:pt x="1423590" y="2867952"/>
                  <a:pt x="1423118" y="2869960"/>
                  <a:pt x="1422097" y="2871261"/>
                </a:cubicBezTo>
                <a:cubicBezTo>
                  <a:pt x="1421075" y="2872562"/>
                  <a:pt x="1419032" y="2873208"/>
                  <a:pt x="1415967" y="2873199"/>
                </a:cubicBezTo>
                <a:lnTo>
                  <a:pt x="1355826" y="2873199"/>
                </a:lnTo>
                <a:cubicBezTo>
                  <a:pt x="1355966" y="2882419"/>
                  <a:pt x="1358254" y="2889334"/>
                  <a:pt x="1362689" y="2893945"/>
                </a:cubicBezTo>
                <a:cubicBezTo>
                  <a:pt x="1367125" y="2898555"/>
                  <a:pt x="1372870" y="2900860"/>
                  <a:pt x="1379925" y="2900860"/>
                </a:cubicBezTo>
                <a:cubicBezTo>
                  <a:pt x="1384788" y="2900741"/>
                  <a:pt x="1388798" y="2899908"/>
                  <a:pt x="1391955" y="2898361"/>
                </a:cubicBezTo>
                <a:cubicBezTo>
                  <a:pt x="1395111" y="2896814"/>
                  <a:pt x="1397987" y="2895267"/>
                  <a:pt x="1400585" y="2893719"/>
                </a:cubicBezTo>
                <a:cubicBezTo>
                  <a:pt x="1403182" y="2892172"/>
                  <a:pt x="1406075" y="2891339"/>
                  <a:pt x="1409262" y="2891220"/>
                </a:cubicBezTo>
                <a:cubicBezTo>
                  <a:pt x="1412649" y="2891299"/>
                  <a:pt x="1415304" y="2892399"/>
                  <a:pt x="1417225" y="2894521"/>
                </a:cubicBezTo>
                <a:cubicBezTo>
                  <a:pt x="1419145" y="2896642"/>
                  <a:pt x="1420123" y="2899314"/>
                  <a:pt x="1420158" y="2902536"/>
                </a:cubicBezTo>
                <a:cubicBezTo>
                  <a:pt x="1420045" y="2908216"/>
                  <a:pt x="1416448" y="2912887"/>
                  <a:pt x="1409366" y="2916550"/>
                </a:cubicBezTo>
                <a:cubicBezTo>
                  <a:pt x="1402285" y="2920212"/>
                  <a:pt x="1392402" y="2922107"/>
                  <a:pt x="1379715" y="2922234"/>
                </a:cubicBezTo>
                <a:cubicBezTo>
                  <a:pt x="1361816" y="2922129"/>
                  <a:pt x="1348108" y="2917309"/>
                  <a:pt x="1338591" y="2907775"/>
                </a:cubicBezTo>
                <a:cubicBezTo>
                  <a:pt x="1329074" y="2898240"/>
                  <a:pt x="1324272" y="2884620"/>
                  <a:pt x="1324184" y="2866912"/>
                </a:cubicBezTo>
                <a:cubicBezTo>
                  <a:pt x="1324416" y="2849171"/>
                  <a:pt x="1329087" y="2835410"/>
                  <a:pt x="1338198" y="2825631"/>
                </a:cubicBezTo>
                <a:cubicBezTo>
                  <a:pt x="1347309" y="2815852"/>
                  <a:pt x="1359472" y="2810893"/>
                  <a:pt x="1374686" y="2810753"/>
                </a:cubicBezTo>
                <a:close/>
                <a:moveTo>
                  <a:pt x="1075963" y="2810753"/>
                </a:moveTo>
                <a:cubicBezTo>
                  <a:pt x="1081027" y="2810810"/>
                  <a:pt x="1084939" y="2812111"/>
                  <a:pt x="1087698" y="2814656"/>
                </a:cubicBezTo>
                <a:cubicBezTo>
                  <a:pt x="1090457" y="2817201"/>
                  <a:pt x="1091854" y="2820650"/>
                  <a:pt x="1091889" y="2825003"/>
                </a:cubicBezTo>
                <a:cubicBezTo>
                  <a:pt x="1091845" y="2829565"/>
                  <a:pt x="1090570" y="2833171"/>
                  <a:pt x="1088064" y="2835820"/>
                </a:cubicBezTo>
                <a:cubicBezTo>
                  <a:pt x="1085559" y="2838471"/>
                  <a:pt x="1082083" y="2839824"/>
                  <a:pt x="1077639" y="2839881"/>
                </a:cubicBezTo>
                <a:cubicBezTo>
                  <a:pt x="1073933" y="2839671"/>
                  <a:pt x="1070816" y="2838833"/>
                  <a:pt x="1068288" y="2837366"/>
                </a:cubicBezTo>
                <a:cubicBezTo>
                  <a:pt x="1065760" y="2835899"/>
                  <a:pt x="1063429" y="2835061"/>
                  <a:pt x="1061294" y="2834851"/>
                </a:cubicBezTo>
                <a:cubicBezTo>
                  <a:pt x="1059609" y="2834869"/>
                  <a:pt x="1058317" y="2835358"/>
                  <a:pt x="1057418" y="2836318"/>
                </a:cubicBezTo>
                <a:cubicBezTo>
                  <a:pt x="1056518" y="2837279"/>
                  <a:pt x="1056064" y="2838606"/>
                  <a:pt x="1056055" y="2840300"/>
                </a:cubicBezTo>
                <a:lnTo>
                  <a:pt x="1056055" y="2913223"/>
                </a:lnTo>
                <a:cubicBezTo>
                  <a:pt x="1055995" y="2915052"/>
                  <a:pt x="1055331" y="2916580"/>
                  <a:pt x="1054065" y="2917807"/>
                </a:cubicBezTo>
                <a:cubicBezTo>
                  <a:pt x="1052799" y="2919034"/>
                  <a:pt x="1051297" y="2919671"/>
                  <a:pt x="1049559" y="2919719"/>
                </a:cubicBezTo>
                <a:lnTo>
                  <a:pt x="1030910" y="2919719"/>
                </a:lnTo>
                <a:cubicBezTo>
                  <a:pt x="1029080" y="2919671"/>
                  <a:pt x="1027553" y="2919034"/>
                  <a:pt x="1026326" y="2917807"/>
                </a:cubicBezTo>
                <a:cubicBezTo>
                  <a:pt x="1025099" y="2916580"/>
                  <a:pt x="1024462" y="2915052"/>
                  <a:pt x="1024413" y="2913223"/>
                </a:cubicBezTo>
                <a:lnTo>
                  <a:pt x="1024413" y="2819764"/>
                </a:lnTo>
                <a:cubicBezTo>
                  <a:pt x="1024462" y="2817935"/>
                  <a:pt x="1025099" y="2816407"/>
                  <a:pt x="1026326" y="2815180"/>
                </a:cubicBezTo>
                <a:cubicBezTo>
                  <a:pt x="1027553" y="2813953"/>
                  <a:pt x="1029080" y="2813316"/>
                  <a:pt x="1030910" y="2813268"/>
                </a:cubicBezTo>
                <a:lnTo>
                  <a:pt x="1047674" y="2813268"/>
                </a:lnTo>
                <a:cubicBezTo>
                  <a:pt x="1049411" y="2813316"/>
                  <a:pt x="1050913" y="2813953"/>
                  <a:pt x="1052179" y="2815180"/>
                </a:cubicBezTo>
                <a:cubicBezTo>
                  <a:pt x="1053445" y="2816407"/>
                  <a:pt x="1054109" y="2817935"/>
                  <a:pt x="1054170" y="2819764"/>
                </a:cubicBezTo>
                <a:lnTo>
                  <a:pt x="1054170" y="2822278"/>
                </a:lnTo>
                <a:cubicBezTo>
                  <a:pt x="1056859" y="2819048"/>
                  <a:pt x="1060124" y="2816341"/>
                  <a:pt x="1063966" y="2814158"/>
                </a:cubicBezTo>
                <a:cubicBezTo>
                  <a:pt x="1067808" y="2811975"/>
                  <a:pt x="1071807" y="2810840"/>
                  <a:pt x="1075963" y="2810753"/>
                </a:cubicBezTo>
                <a:close/>
                <a:moveTo>
                  <a:pt x="947947" y="2810753"/>
                </a:moveTo>
                <a:cubicBezTo>
                  <a:pt x="963615" y="2810736"/>
                  <a:pt x="976232" y="2815328"/>
                  <a:pt x="985797" y="2824531"/>
                </a:cubicBezTo>
                <a:cubicBezTo>
                  <a:pt x="995362" y="2833734"/>
                  <a:pt x="1000278" y="2847651"/>
                  <a:pt x="1000544" y="2866284"/>
                </a:cubicBezTo>
                <a:cubicBezTo>
                  <a:pt x="1000278" y="2884659"/>
                  <a:pt x="995362" y="2898568"/>
                  <a:pt x="985797" y="2908011"/>
                </a:cubicBezTo>
                <a:cubicBezTo>
                  <a:pt x="976232" y="2917453"/>
                  <a:pt x="963615" y="2922195"/>
                  <a:pt x="947947" y="2922234"/>
                </a:cubicBezTo>
                <a:cubicBezTo>
                  <a:pt x="932379" y="2922260"/>
                  <a:pt x="919823" y="2917650"/>
                  <a:pt x="910280" y="2908404"/>
                </a:cubicBezTo>
                <a:cubicBezTo>
                  <a:pt x="900737" y="2899157"/>
                  <a:pt x="895830" y="2885117"/>
                  <a:pt x="895559" y="2866284"/>
                </a:cubicBezTo>
                <a:cubicBezTo>
                  <a:pt x="895830" y="2847651"/>
                  <a:pt x="900737" y="2833734"/>
                  <a:pt x="910280" y="2824531"/>
                </a:cubicBezTo>
                <a:cubicBezTo>
                  <a:pt x="919823" y="2815328"/>
                  <a:pt x="932379" y="2810736"/>
                  <a:pt x="947947" y="2810753"/>
                </a:cubicBezTo>
                <a:close/>
                <a:moveTo>
                  <a:pt x="742054" y="2810753"/>
                </a:moveTo>
                <a:cubicBezTo>
                  <a:pt x="752982" y="2810805"/>
                  <a:pt x="761617" y="2812377"/>
                  <a:pt x="767960" y="2815468"/>
                </a:cubicBezTo>
                <a:cubicBezTo>
                  <a:pt x="774303" y="2818559"/>
                  <a:pt x="777543" y="2822855"/>
                  <a:pt x="777678" y="2828355"/>
                </a:cubicBezTo>
                <a:cubicBezTo>
                  <a:pt x="777643" y="2831787"/>
                  <a:pt x="776613" y="2834616"/>
                  <a:pt x="774587" y="2836842"/>
                </a:cubicBezTo>
                <a:cubicBezTo>
                  <a:pt x="772561" y="2839069"/>
                  <a:pt x="769750" y="2840221"/>
                  <a:pt x="766153" y="2840300"/>
                </a:cubicBezTo>
                <a:cubicBezTo>
                  <a:pt x="762672" y="2840189"/>
                  <a:pt x="759831" y="2839410"/>
                  <a:pt x="757631" y="2837964"/>
                </a:cubicBezTo>
                <a:cubicBezTo>
                  <a:pt x="755431" y="2836518"/>
                  <a:pt x="752963" y="2835071"/>
                  <a:pt x="750227" y="2833625"/>
                </a:cubicBezTo>
                <a:cubicBezTo>
                  <a:pt x="747491" y="2832179"/>
                  <a:pt x="743579" y="2831400"/>
                  <a:pt x="738492" y="2831289"/>
                </a:cubicBezTo>
                <a:cubicBezTo>
                  <a:pt x="733899" y="2831350"/>
                  <a:pt x="730512" y="2832223"/>
                  <a:pt x="728329" y="2833908"/>
                </a:cubicBezTo>
                <a:cubicBezTo>
                  <a:pt x="726146" y="2835593"/>
                  <a:pt x="725063" y="2837724"/>
                  <a:pt x="725081" y="2840300"/>
                </a:cubicBezTo>
                <a:cubicBezTo>
                  <a:pt x="724994" y="2843085"/>
                  <a:pt x="726373" y="2845373"/>
                  <a:pt x="729220" y="2847163"/>
                </a:cubicBezTo>
                <a:cubicBezTo>
                  <a:pt x="732066" y="2848952"/>
                  <a:pt x="736903" y="2850506"/>
                  <a:pt x="743731" y="2851825"/>
                </a:cubicBezTo>
                <a:cubicBezTo>
                  <a:pt x="756815" y="2854291"/>
                  <a:pt x="766585" y="2858055"/>
                  <a:pt x="773042" y="2863114"/>
                </a:cubicBezTo>
                <a:cubicBezTo>
                  <a:pt x="779499" y="2868174"/>
                  <a:pt x="782720" y="2875447"/>
                  <a:pt x="782707" y="2884934"/>
                </a:cubicBezTo>
                <a:cubicBezTo>
                  <a:pt x="782515" y="2896206"/>
                  <a:pt x="778342" y="2905199"/>
                  <a:pt x="770187" y="2911913"/>
                </a:cubicBezTo>
                <a:cubicBezTo>
                  <a:pt x="762032" y="2918628"/>
                  <a:pt x="751048" y="2922068"/>
                  <a:pt x="737235" y="2922234"/>
                </a:cubicBezTo>
                <a:cubicBezTo>
                  <a:pt x="724736" y="2922168"/>
                  <a:pt x="714582" y="2920256"/>
                  <a:pt x="706771" y="2916497"/>
                </a:cubicBezTo>
                <a:cubicBezTo>
                  <a:pt x="698961" y="2912738"/>
                  <a:pt x="694936" y="2907526"/>
                  <a:pt x="694696" y="2900860"/>
                </a:cubicBezTo>
                <a:cubicBezTo>
                  <a:pt x="694766" y="2897629"/>
                  <a:pt x="695936" y="2894922"/>
                  <a:pt x="698206" y="2892740"/>
                </a:cubicBezTo>
                <a:cubicBezTo>
                  <a:pt x="700476" y="2890557"/>
                  <a:pt x="703427" y="2889422"/>
                  <a:pt x="707060" y="2889334"/>
                </a:cubicBezTo>
                <a:cubicBezTo>
                  <a:pt x="710530" y="2889487"/>
                  <a:pt x="713694" y="2890555"/>
                  <a:pt x="716551" y="2892540"/>
                </a:cubicBezTo>
                <a:cubicBezTo>
                  <a:pt x="719409" y="2894524"/>
                  <a:pt x="722511" y="2896508"/>
                  <a:pt x="725857" y="2898493"/>
                </a:cubicBezTo>
                <a:cubicBezTo>
                  <a:pt x="729203" y="2900477"/>
                  <a:pt x="733345" y="2901545"/>
                  <a:pt x="738283" y="2901698"/>
                </a:cubicBezTo>
                <a:cubicBezTo>
                  <a:pt x="742426" y="2901693"/>
                  <a:pt x="745717" y="2900759"/>
                  <a:pt x="748158" y="2898895"/>
                </a:cubicBezTo>
                <a:cubicBezTo>
                  <a:pt x="750598" y="2897031"/>
                  <a:pt x="751847" y="2894263"/>
                  <a:pt x="751903" y="2890592"/>
                </a:cubicBezTo>
                <a:cubicBezTo>
                  <a:pt x="752021" y="2886763"/>
                  <a:pt x="750528" y="2883733"/>
                  <a:pt x="747424" y="2881503"/>
                </a:cubicBezTo>
                <a:cubicBezTo>
                  <a:pt x="744320" y="2879272"/>
                  <a:pt x="738898" y="2877552"/>
                  <a:pt x="731158" y="2876342"/>
                </a:cubicBezTo>
                <a:cubicBezTo>
                  <a:pt x="719013" y="2874352"/>
                  <a:pt x="709932" y="2870632"/>
                  <a:pt x="703916" y="2865184"/>
                </a:cubicBezTo>
                <a:cubicBezTo>
                  <a:pt x="697901" y="2859736"/>
                  <a:pt x="694897" y="2852558"/>
                  <a:pt x="694906" y="2843653"/>
                </a:cubicBezTo>
                <a:cubicBezTo>
                  <a:pt x="694880" y="2833755"/>
                  <a:pt x="698756" y="2825836"/>
                  <a:pt x="706536" y="2819895"/>
                </a:cubicBezTo>
                <a:cubicBezTo>
                  <a:pt x="714315" y="2813953"/>
                  <a:pt x="726155" y="2810906"/>
                  <a:pt x="742054" y="2810753"/>
                </a:cubicBezTo>
                <a:close/>
                <a:moveTo>
                  <a:pt x="422186" y="2810753"/>
                </a:moveTo>
                <a:cubicBezTo>
                  <a:pt x="437422" y="2810980"/>
                  <a:pt x="449331" y="2815974"/>
                  <a:pt x="457914" y="2825736"/>
                </a:cubicBezTo>
                <a:cubicBezTo>
                  <a:pt x="466497" y="2835498"/>
                  <a:pt x="470863" y="2848664"/>
                  <a:pt x="471011" y="2865236"/>
                </a:cubicBezTo>
                <a:cubicBezTo>
                  <a:pt x="471090" y="2867952"/>
                  <a:pt x="470618" y="2869960"/>
                  <a:pt x="469597" y="2871261"/>
                </a:cubicBezTo>
                <a:cubicBezTo>
                  <a:pt x="468575" y="2872562"/>
                  <a:pt x="466532" y="2873208"/>
                  <a:pt x="463467" y="2873199"/>
                </a:cubicBezTo>
                <a:lnTo>
                  <a:pt x="403326" y="2873199"/>
                </a:lnTo>
                <a:cubicBezTo>
                  <a:pt x="403466" y="2882419"/>
                  <a:pt x="405754" y="2889334"/>
                  <a:pt x="410189" y="2893945"/>
                </a:cubicBezTo>
                <a:cubicBezTo>
                  <a:pt x="414625" y="2898555"/>
                  <a:pt x="420370" y="2900860"/>
                  <a:pt x="427425" y="2900860"/>
                </a:cubicBezTo>
                <a:cubicBezTo>
                  <a:pt x="432288" y="2900741"/>
                  <a:pt x="436298" y="2899908"/>
                  <a:pt x="439454" y="2898361"/>
                </a:cubicBezTo>
                <a:cubicBezTo>
                  <a:pt x="442611" y="2896814"/>
                  <a:pt x="445487" y="2895267"/>
                  <a:pt x="448085" y="2893719"/>
                </a:cubicBezTo>
                <a:cubicBezTo>
                  <a:pt x="450682" y="2892172"/>
                  <a:pt x="453574" y="2891339"/>
                  <a:pt x="456762" y="2891220"/>
                </a:cubicBezTo>
                <a:cubicBezTo>
                  <a:pt x="460149" y="2891299"/>
                  <a:pt x="462804" y="2892399"/>
                  <a:pt x="464725" y="2894521"/>
                </a:cubicBezTo>
                <a:cubicBezTo>
                  <a:pt x="466645" y="2896642"/>
                  <a:pt x="467623" y="2899314"/>
                  <a:pt x="467658" y="2902536"/>
                </a:cubicBezTo>
                <a:cubicBezTo>
                  <a:pt x="467545" y="2908216"/>
                  <a:pt x="463948" y="2912887"/>
                  <a:pt x="456866" y="2916550"/>
                </a:cubicBezTo>
                <a:cubicBezTo>
                  <a:pt x="449785" y="2920212"/>
                  <a:pt x="439902" y="2922107"/>
                  <a:pt x="427215" y="2922234"/>
                </a:cubicBezTo>
                <a:cubicBezTo>
                  <a:pt x="409316" y="2922129"/>
                  <a:pt x="395608" y="2917309"/>
                  <a:pt x="386091" y="2907775"/>
                </a:cubicBezTo>
                <a:cubicBezTo>
                  <a:pt x="376574" y="2898240"/>
                  <a:pt x="371772" y="2884620"/>
                  <a:pt x="371684" y="2866912"/>
                </a:cubicBezTo>
                <a:cubicBezTo>
                  <a:pt x="371916" y="2849171"/>
                  <a:pt x="376587" y="2835410"/>
                  <a:pt x="385698" y="2825631"/>
                </a:cubicBezTo>
                <a:cubicBezTo>
                  <a:pt x="394809" y="2815852"/>
                  <a:pt x="406972" y="2810893"/>
                  <a:pt x="422186" y="2810753"/>
                </a:cubicBezTo>
                <a:close/>
                <a:moveTo>
                  <a:pt x="310515" y="2810753"/>
                </a:moveTo>
                <a:cubicBezTo>
                  <a:pt x="321861" y="2810827"/>
                  <a:pt x="330811" y="2814032"/>
                  <a:pt x="337363" y="2820366"/>
                </a:cubicBezTo>
                <a:cubicBezTo>
                  <a:pt x="343916" y="2826701"/>
                  <a:pt x="347260" y="2835720"/>
                  <a:pt x="347396" y="2847424"/>
                </a:cubicBezTo>
                <a:lnTo>
                  <a:pt x="347396" y="2913223"/>
                </a:lnTo>
                <a:cubicBezTo>
                  <a:pt x="347335" y="2915052"/>
                  <a:pt x="346671" y="2916580"/>
                  <a:pt x="345405" y="2917807"/>
                </a:cubicBezTo>
                <a:cubicBezTo>
                  <a:pt x="344139" y="2919034"/>
                  <a:pt x="342637" y="2919671"/>
                  <a:pt x="340900" y="2919719"/>
                </a:cubicBezTo>
                <a:lnTo>
                  <a:pt x="322250" y="2919719"/>
                </a:lnTo>
                <a:cubicBezTo>
                  <a:pt x="320420" y="2919671"/>
                  <a:pt x="318892" y="2919034"/>
                  <a:pt x="317666" y="2917807"/>
                </a:cubicBezTo>
                <a:cubicBezTo>
                  <a:pt x="316439" y="2916580"/>
                  <a:pt x="315802" y="2915052"/>
                  <a:pt x="315754" y="2913223"/>
                </a:cubicBezTo>
                <a:lnTo>
                  <a:pt x="315754" y="2845538"/>
                </a:lnTo>
                <a:cubicBezTo>
                  <a:pt x="315889" y="2841304"/>
                  <a:pt x="314780" y="2837986"/>
                  <a:pt x="312427" y="2835585"/>
                </a:cubicBezTo>
                <a:cubicBezTo>
                  <a:pt x="310074" y="2833184"/>
                  <a:pt x="305665" y="2831961"/>
                  <a:pt x="299199" y="2831918"/>
                </a:cubicBezTo>
                <a:cubicBezTo>
                  <a:pt x="294554" y="2831961"/>
                  <a:pt x="290957" y="2832503"/>
                  <a:pt x="288407" y="2833542"/>
                </a:cubicBezTo>
                <a:cubicBezTo>
                  <a:pt x="285858" y="2834581"/>
                  <a:pt x="284566" y="2835855"/>
                  <a:pt x="284531" y="2837366"/>
                </a:cubicBezTo>
                <a:lnTo>
                  <a:pt x="284531" y="2913223"/>
                </a:lnTo>
                <a:cubicBezTo>
                  <a:pt x="284470" y="2915052"/>
                  <a:pt x="283806" y="2916580"/>
                  <a:pt x="282540" y="2917807"/>
                </a:cubicBezTo>
                <a:cubicBezTo>
                  <a:pt x="281274" y="2919034"/>
                  <a:pt x="279772" y="2919671"/>
                  <a:pt x="278035" y="2919719"/>
                </a:cubicBezTo>
                <a:lnTo>
                  <a:pt x="259385" y="2919719"/>
                </a:lnTo>
                <a:cubicBezTo>
                  <a:pt x="257555" y="2919671"/>
                  <a:pt x="256027" y="2919034"/>
                  <a:pt x="254801" y="2917807"/>
                </a:cubicBezTo>
                <a:cubicBezTo>
                  <a:pt x="253574" y="2916580"/>
                  <a:pt x="252937" y="2915052"/>
                  <a:pt x="252889" y="2913223"/>
                </a:cubicBezTo>
                <a:lnTo>
                  <a:pt x="252889" y="2819764"/>
                </a:lnTo>
                <a:cubicBezTo>
                  <a:pt x="252937" y="2817935"/>
                  <a:pt x="253574" y="2816407"/>
                  <a:pt x="254801" y="2815180"/>
                </a:cubicBezTo>
                <a:cubicBezTo>
                  <a:pt x="256027" y="2813953"/>
                  <a:pt x="257555" y="2813316"/>
                  <a:pt x="259385" y="2813268"/>
                </a:cubicBezTo>
                <a:lnTo>
                  <a:pt x="276149" y="2813268"/>
                </a:lnTo>
                <a:cubicBezTo>
                  <a:pt x="277886" y="2813316"/>
                  <a:pt x="279388" y="2813953"/>
                  <a:pt x="280654" y="2815180"/>
                </a:cubicBezTo>
                <a:cubicBezTo>
                  <a:pt x="281920" y="2816407"/>
                  <a:pt x="282584" y="2817935"/>
                  <a:pt x="282645" y="2819764"/>
                </a:cubicBezTo>
                <a:lnTo>
                  <a:pt x="282645" y="2821440"/>
                </a:lnTo>
                <a:cubicBezTo>
                  <a:pt x="285770" y="2818153"/>
                  <a:pt x="289473" y="2815560"/>
                  <a:pt x="293751" y="2813660"/>
                </a:cubicBezTo>
                <a:cubicBezTo>
                  <a:pt x="298029" y="2811761"/>
                  <a:pt x="303617" y="2810792"/>
                  <a:pt x="310515" y="2810753"/>
                </a:cubicBezTo>
                <a:close/>
                <a:moveTo>
                  <a:pt x="184061" y="2810753"/>
                </a:moveTo>
                <a:cubicBezTo>
                  <a:pt x="199297" y="2810980"/>
                  <a:pt x="211206" y="2815974"/>
                  <a:pt x="219789" y="2825736"/>
                </a:cubicBezTo>
                <a:cubicBezTo>
                  <a:pt x="228372" y="2835498"/>
                  <a:pt x="232738" y="2848664"/>
                  <a:pt x="232886" y="2865236"/>
                </a:cubicBezTo>
                <a:cubicBezTo>
                  <a:pt x="232965" y="2867952"/>
                  <a:pt x="232493" y="2869960"/>
                  <a:pt x="231472" y="2871261"/>
                </a:cubicBezTo>
                <a:cubicBezTo>
                  <a:pt x="230450" y="2872562"/>
                  <a:pt x="228407" y="2873208"/>
                  <a:pt x="225342" y="2873199"/>
                </a:cubicBezTo>
                <a:lnTo>
                  <a:pt x="165201" y="2873199"/>
                </a:lnTo>
                <a:cubicBezTo>
                  <a:pt x="165341" y="2882419"/>
                  <a:pt x="167629" y="2889334"/>
                  <a:pt x="172064" y="2893945"/>
                </a:cubicBezTo>
                <a:cubicBezTo>
                  <a:pt x="176500" y="2898555"/>
                  <a:pt x="182245" y="2900860"/>
                  <a:pt x="189300" y="2900860"/>
                </a:cubicBezTo>
                <a:cubicBezTo>
                  <a:pt x="194163" y="2900741"/>
                  <a:pt x="198173" y="2899908"/>
                  <a:pt x="201329" y="2898361"/>
                </a:cubicBezTo>
                <a:cubicBezTo>
                  <a:pt x="204486" y="2896814"/>
                  <a:pt x="207362" y="2895267"/>
                  <a:pt x="209960" y="2893719"/>
                </a:cubicBezTo>
                <a:cubicBezTo>
                  <a:pt x="212557" y="2892172"/>
                  <a:pt x="215449" y="2891339"/>
                  <a:pt x="218637" y="2891220"/>
                </a:cubicBezTo>
                <a:cubicBezTo>
                  <a:pt x="222024" y="2891299"/>
                  <a:pt x="224679" y="2892399"/>
                  <a:pt x="226600" y="2894521"/>
                </a:cubicBezTo>
                <a:cubicBezTo>
                  <a:pt x="228520" y="2896642"/>
                  <a:pt x="229498" y="2899314"/>
                  <a:pt x="229533" y="2902536"/>
                </a:cubicBezTo>
                <a:cubicBezTo>
                  <a:pt x="229420" y="2908216"/>
                  <a:pt x="225823" y="2912887"/>
                  <a:pt x="218741" y="2916550"/>
                </a:cubicBezTo>
                <a:cubicBezTo>
                  <a:pt x="211660" y="2920212"/>
                  <a:pt x="201777" y="2922107"/>
                  <a:pt x="189090" y="2922234"/>
                </a:cubicBezTo>
                <a:cubicBezTo>
                  <a:pt x="171191" y="2922129"/>
                  <a:pt x="157483" y="2917309"/>
                  <a:pt x="147966" y="2907775"/>
                </a:cubicBezTo>
                <a:cubicBezTo>
                  <a:pt x="138449" y="2898240"/>
                  <a:pt x="133647" y="2884620"/>
                  <a:pt x="133559" y="2866912"/>
                </a:cubicBezTo>
                <a:cubicBezTo>
                  <a:pt x="133791" y="2849171"/>
                  <a:pt x="138462" y="2835410"/>
                  <a:pt x="147573" y="2825631"/>
                </a:cubicBezTo>
                <a:cubicBezTo>
                  <a:pt x="156684" y="2815852"/>
                  <a:pt x="168847" y="2810893"/>
                  <a:pt x="184061" y="2810753"/>
                </a:cubicBezTo>
                <a:close/>
                <a:moveTo>
                  <a:pt x="43167" y="2797342"/>
                </a:moveTo>
                <a:lnTo>
                  <a:pt x="43167" y="2833594"/>
                </a:lnTo>
                <a:lnTo>
                  <a:pt x="58255" y="2833594"/>
                </a:lnTo>
                <a:cubicBezTo>
                  <a:pt x="66296" y="2833358"/>
                  <a:pt x="71902" y="2831263"/>
                  <a:pt x="75071" y="2827308"/>
                </a:cubicBezTo>
                <a:cubicBezTo>
                  <a:pt x="78241" y="2823352"/>
                  <a:pt x="79760" y="2818952"/>
                  <a:pt x="79629" y="2814106"/>
                </a:cubicBezTo>
                <a:cubicBezTo>
                  <a:pt x="79769" y="2809190"/>
                  <a:pt x="78179" y="2805191"/>
                  <a:pt x="74862" y="2802109"/>
                </a:cubicBezTo>
                <a:cubicBezTo>
                  <a:pt x="71544" y="2799027"/>
                  <a:pt x="65659" y="2797438"/>
                  <a:pt x="57207" y="2797342"/>
                </a:cubicBezTo>
                <a:close/>
                <a:moveTo>
                  <a:pt x="2016385" y="2785817"/>
                </a:moveTo>
                <a:lnTo>
                  <a:pt x="2035035" y="2785817"/>
                </a:lnTo>
                <a:cubicBezTo>
                  <a:pt x="2036773" y="2785865"/>
                  <a:pt x="2038275" y="2786502"/>
                  <a:pt x="2039540" y="2787729"/>
                </a:cubicBezTo>
                <a:cubicBezTo>
                  <a:pt x="2040806" y="2788956"/>
                  <a:pt x="2041470" y="2790483"/>
                  <a:pt x="2041531" y="2792313"/>
                </a:cubicBezTo>
                <a:lnTo>
                  <a:pt x="2041531" y="2813268"/>
                </a:lnTo>
                <a:lnTo>
                  <a:pt x="2055361" y="2813268"/>
                </a:lnTo>
                <a:cubicBezTo>
                  <a:pt x="2057191" y="2813329"/>
                  <a:pt x="2058719" y="2813992"/>
                  <a:pt x="2059945" y="2815258"/>
                </a:cubicBezTo>
                <a:cubicBezTo>
                  <a:pt x="2061172" y="2816525"/>
                  <a:pt x="2061809" y="2818026"/>
                  <a:pt x="2061857" y="2819764"/>
                </a:cubicBezTo>
                <a:lnTo>
                  <a:pt x="2061857" y="2827936"/>
                </a:lnTo>
                <a:cubicBezTo>
                  <a:pt x="2061809" y="2829765"/>
                  <a:pt x="2061172" y="2831293"/>
                  <a:pt x="2059945" y="2832520"/>
                </a:cubicBezTo>
                <a:cubicBezTo>
                  <a:pt x="2058719" y="2833747"/>
                  <a:pt x="2057191" y="2834384"/>
                  <a:pt x="2055361" y="2834432"/>
                </a:cubicBezTo>
                <a:lnTo>
                  <a:pt x="2041531" y="2834432"/>
                </a:lnTo>
                <a:lnTo>
                  <a:pt x="2041531" y="2892687"/>
                </a:lnTo>
                <a:cubicBezTo>
                  <a:pt x="2041518" y="2894892"/>
                  <a:pt x="2042120" y="2896559"/>
                  <a:pt x="2043338" y="2897690"/>
                </a:cubicBezTo>
                <a:cubicBezTo>
                  <a:pt x="2044557" y="2898821"/>
                  <a:pt x="2046469" y="2899388"/>
                  <a:pt x="2049075" y="2899393"/>
                </a:cubicBezTo>
                <a:cubicBezTo>
                  <a:pt x="2050018" y="2899358"/>
                  <a:pt x="2051275" y="2899218"/>
                  <a:pt x="2052847" y="2898974"/>
                </a:cubicBezTo>
                <a:cubicBezTo>
                  <a:pt x="2054418" y="2898729"/>
                  <a:pt x="2055676" y="2898590"/>
                  <a:pt x="2056619" y="2898555"/>
                </a:cubicBezTo>
                <a:cubicBezTo>
                  <a:pt x="2058396" y="2898598"/>
                  <a:pt x="2059714" y="2899192"/>
                  <a:pt x="2060574" y="2900336"/>
                </a:cubicBezTo>
                <a:cubicBezTo>
                  <a:pt x="2061434" y="2901480"/>
                  <a:pt x="2061862" y="2902911"/>
                  <a:pt x="2061857" y="2904631"/>
                </a:cubicBezTo>
                <a:lnTo>
                  <a:pt x="2061857" y="2913223"/>
                </a:lnTo>
                <a:cubicBezTo>
                  <a:pt x="2061875" y="2914895"/>
                  <a:pt x="2061473" y="2916266"/>
                  <a:pt x="2060652" y="2917336"/>
                </a:cubicBezTo>
                <a:cubicBezTo>
                  <a:pt x="2059832" y="2918405"/>
                  <a:pt x="2058487" y="2919200"/>
                  <a:pt x="2056619" y="2919719"/>
                </a:cubicBezTo>
                <a:cubicBezTo>
                  <a:pt x="2054942" y="2920230"/>
                  <a:pt x="2052742" y="2920571"/>
                  <a:pt x="2050018" y="2920741"/>
                </a:cubicBezTo>
                <a:cubicBezTo>
                  <a:pt x="2047294" y="2920911"/>
                  <a:pt x="2044046" y="2920989"/>
                  <a:pt x="2040274" y="2920976"/>
                </a:cubicBezTo>
                <a:cubicBezTo>
                  <a:pt x="2030757" y="2921216"/>
                  <a:pt x="2023335" y="2919112"/>
                  <a:pt x="2018009" y="2914664"/>
                </a:cubicBezTo>
                <a:cubicBezTo>
                  <a:pt x="2012683" y="2910215"/>
                  <a:pt x="2009977" y="2901982"/>
                  <a:pt x="2009889" y="2889963"/>
                </a:cubicBezTo>
                <a:lnTo>
                  <a:pt x="2009889" y="2834432"/>
                </a:lnTo>
                <a:lnTo>
                  <a:pt x="2001088" y="2834432"/>
                </a:lnTo>
                <a:cubicBezTo>
                  <a:pt x="1999259" y="2834384"/>
                  <a:pt x="1997731" y="2833747"/>
                  <a:pt x="1996504" y="2832520"/>
                </a:cubicBezTo>
                <a:cubicBezTo>
                  <a:pt x="1995277" y="2831293"/>
                  <a:pt x="1994640" y="2829765"/>
                  <a:pt x="1994592" y="2827936"/>
                </a:cubicBezTo>
                <a:lnTo>
                  <a:pt x="1994592" y="2819764"/>
                </a:lnTo>
                <a:cubicBezTo>
                  <a:pt x="1994640" y="2818026"/>
                  <a:pt x="1995277" y="2816525"/>
                  <a:pt x="1996504" y="2815258"/>
                </a:cubicBezTo>
                <a:cubicBezTo>
                  <a:pt x="1997731" y="2813992"/>
                  <a:pt x="1999259" y="2813329"/>
                  <a:pt x="2001088" y="2813268"/>
                </a:cubicBezTo>
                <a:lnTo>
                  <a:pt x="2009889" y="2813268"/>
                </a:lnTo>
                <a:lnTo>
                  <a:pt x="2009889" y="2792313"/>
                </a:lnTo>
                <a:cubicBezTo>
                  <a:pt x="2009937" y="2790483"/>
                  <a:pt x="2010575" y="2788956"/>
                  <a:pt x="2011801" y="2787729"/>
                </a:cubicBezTo>
                <a:cubicBezTo>
                  <a:pt x="2013028" y="2786502"/>
                  <a:pt x="2014556" y="2785865"/>
                  <a:pt x="2016385" y="2785817"/>
                </a:cubicBezTo>
                <a:close/>
                <a:moveTo>
                  <a:pt x="1140085" y="2785817"/>
                </a:moveTo>
                <a:lnTo>
                  <a:pt x="1158735" y="2785817"/>
                </a:lnTo>
                <a:cubicBezTo>
                  <a:pt x="1160473" y="2785865"/>
                  <a:pt x="1161974" y="2786502"/>
                  <a:pt x="1163240" y="2787729"/>
                </a:cubicBezTo>
                <a:cubicBezTo>
                  <a:pt x="1164507" y="2788956"/>
                  <a:pt x="1165170" y="2790483"/>
                  <a:pt x="1165231" y="2792313"/>
                </a:cubicBezTo>
                <a:lnTo>
                  <a:pt x="1165231" y="2813268"/>
                </a:lnTo>
                <a:lnTo>
                  <a:pt x="1179061" y="2813268"/>
                </a:lnTo>
                <a:cubicBezTo>
                  <a:pt x="1180891" y="2813329"/>
                  <a:pt x="1182419" y="2813992"/>
                  <a:pt x="1183645" y="2815258"/>
                </a:cubicBezTo>
                <a:cubicBezTo>
                  <a:pt x="1184872" y="2816525"/>
                  <a:pt x="1185509" y="2818026"/>
                  <a:pt x="1185557" y="2819764"/>
                </a:cubicBezTo>
                <a:lnTo>
                  <a:pt x="1185557" y="2827936"/>
                </a:lnTo>
                <a:cubicBezTo>
                  <a:pt x="1185509" y="2829765"/>
                  <a:pt x="1184872" y="2831293"/>
                  <a:pt x="1183645" y="2832520"/>
                </a:cubicBezTo>
                <a:cubicBezTo>
                  <a:pt x="1182419" y="2833747"/>
                  <a:pt x="1180891" y="2834384"/>
                  <a:pt x="1179061" y="2834432"/>
                </a:cubicBezTo>
                <a:lnTo>
                  <a:pt x="1165231" y="2834432"/>
                </a:lnTo>
                <a:lnTo>
                  <a:pt x="1165231" y="2892687"/>
                </a:lnTo>
                <a:cubicBezTo>
                  <a:pt x="1165218" y="2894892"/>
                  <a:pt x="1165821" y="2896559"/>
                  <a:pt x="1167039" y="2897690"/>
                </a:cubicBezTo>
                <a:cubicBezTo>
                  <a:pt x="1168257" y="2898821"/>
                  <a:pt x="1170169" y="2899388"/>
                  <a:pt x="1172775" y="2899393"/>
                </a:cubicBezTo>
                <a:cubicBezTo>
                  <a:pt x="1173718" y="2899358"/>
                  <a:pt x="1174975" y="2899218"/>
                  <a:pt x="1176547" y="2898974"/>
                </a:cubicBezTo>
                <a:cubicBezTo>
                  <a:pt x="1178119" y="2898729"/>
                  <a:pt x="1179376" y="2898590"/>
                  <a:pt x="1180319" y="2898555"/>
                </a:cubicBezTo>
                <a:cubicBezTo>
                  <a:pt x="1182096" y="2898598"/>
                  <a:pt x="1183414" y="2899192"/>
                  <a:pt x="1184274" y="2900336"/>
                </a:cubicBezTo>
                <a:cubicBezTo>
                  <a:pt x="1185134" y="2901480"/>
                  <a:pt x="1185562" y="2902911"/>
                  <a:pt x="1185557" y="2904631"/>
                </a:cubicBezTo>
                <a:lnTo>
                  <a:pt x="1185557" y="2913223"/>
                </a:lnTo>
                <a:cubicBezTo>
                  <a:pt x="1185575" y="2914895"/>
                  <a:pt x="1185173" y="2916266"/>
                  <a:pt x="1184353" y="2917336"/>
                </a:cubicBezTo>
                <a:cubicBezTo>
                  <a:pt x="1183532" y="2918405"/>
                  <a:pt x="1182187" y="2919200"/>
                  <a:pt x="1180319" y="2919719"/>
                </a:cubicBezTo>
                <a:cubicBezTo>
                  <a:pt x="1178642" y="2920230"/>
                  <a:pt x="1176442" y="2920571"/>
                  <a:pt x="1173718" y="2920741"/>
                </a:cubicBezTo>
                <a:cubicBezTo>
                  <a:pt x="1170994" y="2920911"/>
                  <a:pt x="1167746" y="2920989"/>
                  <a:pt x="1163974" y="2920976"/>
                </a:cubicBezTo>
                <a:cubicBezTo>
                  <a:pt x="1154457" y="2921216"/>
                  <a:pt x="1147035" y="2919112"/>
                  <a:pt x="1141709" y="2914664"/>
                </a:cubicBezTo>
                <a:cubicBezTo>
                  <a:pt x="1136383" y="2910215"/>
                  <a:pt x="1133677" y="2901982"/>
                  <a:pt x="1133589" y="2889963"/>
                </a:cubicBezTo>
                <a:lnTo>
                  <a:pt x="1133589" y="2834432"/>
                </a:lnTo>
                <a:lnTo>
                  <a:pt x="1124788" y="2834432"/>
                </a:lnTo>
                <a:cubicBezTo>
                  <a:pt x="1122959" y="2834384"/>
                  <a:pt x="1121431" y="2833747"/>
                  <a:pt x="1120204" y="2832520"/>
                </a:cubicBezTo>
                <a:cubicBezTo>
                  <a:pt x="1118977" y="2831293"/>
                  <a:pt x="1118340" y="2829765"/>
                  <a:pt x="1118292" y="2827936"/>
                </a:cubicBezTo>
                <a:lnTo>
                  <a:pt x="1118292" y="2819764"/>
                </a:lnTo>
                <a:cubicBezTo>
                  <a:pt x="1118340" y="2818026"/>
                  <a:pt x="1118977" y="2816525"/>
                  <a:pt x="1120204" y="2815258"/>
                </a:cubicBezTo>
                <a:cubicBezTo>
                  <a:pt x="1121431" y="2813992"/>
                  <a:pt x="1122959" y="2813329"/>
                  <a:pt x="1124788" y="2813268"/>
                </a:cubicBezTo>
                <a:lnTo>
                  <a:pt x="1133589" y="2813268"/>
                </a:lnTo>
                <a:lnTo>
                  <a:pt x="1133589" y="2792313"/>
                </a:lnTo>
                <a:cubicBezTo>
                  <a:pt x="1133637" y="2790483"/>
                  <a:pt x="1134275" y="2788956"/>
                  <a:pt x="1135501" y="2787729"/>
                </a:cubicBezTo>
                <a:cubicBezTo>
                  <a:pt x="1136728" y="2786502"/>
                  <a:pt x="1138256" y="2785865"/>
                  <a:pt x="1140085" y="2785817"/>
                </a:cubicBezTo>
                <a:close/>
                <a:moveTo>
                  <a:pt x="635260" y="2785817"/>
                </a:moveTo>
                <a:lnTo>
                  <a:pt x="653910" y="2785817"/>
                </a:lnTo>
                <a:cubicBezTo>
                  <a:pt x="655648" y="2785865"/>
                  <a:pt x="657149" y="2786502"/>
                  <a:pt x="658415" y="2787729"/>
                </a:cubicBezTo>
                <a:cubicBezTo>
                  <a:pt x="659681" y="2788956"/>
                  <a:pt x="660345" y="2790483"/>
                  <a:pt x="660406" y="2792313"/>
                </a:cubicBezTo>
                <a:lnTo>
                  <a:pt x="660406" y="2813268"/>
                </a:lnTo>
                <a:lnTo>
                  <a:pt x="674236" y="2813268"/>
                </a:lnTo>
                <a:cubicBezTo>
                  <a:pt x="676066" y="2813329"/>
                  <a:pt x="677594" y="2813992"/>
                  <a:pt x="678820" y="2815258"/>
                </a:cubicBezTo>
                <a:cubicBezTo>
                  <a:pt x="680047" y="2816525"/>
                  <a:pt x="680685" y="2818026"/>
                  <a:pt x="680733" y="2819764"/>
                </a:cubicBezTo>
                <a:lnTo>
                  <a:pt x="680733" y="2827936"/>
                </a:lnTo>
                <a:cubicBezTo>
                  <a:pt x="680685" y="2829765"/>
                  <a:pt x="680047" y="2831293"/>
                  <a:pt x="678820" y="2832520"/>
                </a:cubicBezTo>
                <a:cubicBezTo>
                  <a:pt x="677594" y="2833747"/>
                  <a:pt x="676066" y="2834384"/>
                  <a:pt x="674236" y="2834432"/>
                </a:cubicBezTo>
                <a:lnTo>
                  <a:pt x="660406" y="2834432"/>
                </a:lnTo>
                <a:lnTo>
                  <a:pt x="660406" y="2892687"/>
                </a:lnTo>
                <a:cubicBezTo>
                  <a:pt x="660393" y="2894892"/>
                  <a:pt x="660995" y="2896559"/>
                  <a:pt x="662213" y="2897690"/>
                </a:cubicBezTo>
                <a:cubicBezTo>
                  <a:pt x="663432" y="2898821"/>
                  <a:pt x="665344" y="2899388"/>
                  <a:pt x="667950" y="2899393"/>
                </a:cubicBezTo>
                <a:cubicBezTo>
                  <a:pt x="668893" y="2899358"/>
                  <a:pt x="670150" y="2899218"/>
                  <a:pt x="671722" y="2898974"/>
                </a:cubicBezTo>
                <a:cubicBezTo>
                  <a:pt x="673293" y="2898729"/>
                  <a:pt x="674551" y="2898590"/>
                  <a:pt x="675494" y="2898555"/>
                </a:cubicBezTo>
                <a:cubicBezTo>
                  <a:pt x="677271" y="2898598"/>
                  <a:pt x="678589" y="2899192"/>
                  <a:pt x="679449" y="2900336"/>
                </a:cubicBezTo>
                <a:cubicBezTo>
                  <a:pt x="680309" y="2901480"/>
                  <a:pt x="680737" y="2902911"/>
                  <a:pt x="680733" y="2904631"/>
                </a:cubicBezTo>
                <a:lnTo>
                  <a:pt x="680733" y="2913223"/>
                </a:lnTo>
                <a:cubicBezTo>
                  <a:pt x="680750" y="2914895"/>
                  <a:pt x="680348" y="2916266"/>
                  <a:pt x="679528" y="2917336"/>
                </a:cubicBezTo>
                <a:cubicBezTo>
                  <a:pt x="678707" y="2918405"/>
                  <a:pt x="677362" y="2919200"/>
                  <a:pt x="675494" y="2919719"/>
                </a:cubicBezTo>
                <a:cubicBezTo>
                  <a:pt x="673817" y="2920230"/>
                  <a:pt x="671617" y="2920571"/>
                  <a:pt x="668893" y="2920741"/>
                </a:cubicBezTo>
                <a:cubicBezTo>
                  <a:pt x="666169" y="2920911"/>
                  <a:pt x="662921" y="2920989"/>
                  <a:pt x="659149" y="2920976"/>
                </a:cubicBezTo>
                <a:cubicBezTo>
                  <a:pt x="649632" y="2921216"/>
                  <a:pt x="642210" y="2919112"/>
                  <a:pt x="636884" y="2914664"/>
                </a:cubicBezTo>
                <a:cubicBezTo>
                  <a:pt x="631558" y="2910215"/>
                  <a:pt x="628851" y="2901982"/>
                  <a:pt x="628764" y="2889963"/>
                </a:cubicBezTo>
                <a:lnTo>
                  <a:pt x="628764" y="2834432"/>
                </a:lnTo>
                <a:lnTo>
                  <a:pt x="619963" y="2834432"/>
                </a:lnTo>
                <a:cubicBezTo>
                  <a:pt x="618134" y="2834384"/>
                  <a:pt x="616606" y="2833747"/>
                  <a:pt x="615379" y="2832520"/>
                </a:cubicBezTo>
                <a:cubicBezTo>
                  <a:pt x="614152" y="2831293"/>
                  <a:pt x="613515" y="2829765"/>
                  <a:pt x="613467" y="2827936"/>
                </a:cubicBezTo>
                <a:lnTo>
                  <a:pt x="613467" y="2819764"/>
                </a:lnTo>
                <a:cubicBezTo>
                  <a:pt x="613515" y="2818026"/>
                  <a:pt x="614152" y="2816525"/>
                  <a:pt x="615379" y="2815258"/>
                </a:cubicBezTo>
                <a:cubicBezTo>
                  <a:pt x="616606" y="2813992"/>
                  <a:pt x="618134" y="2813329"/>
                  <a:pt x="619963" y="2813268"/>
                </a:cubicBezTo>
                <a:lnTo>
                  <a:pt x="628764" y="2813268"/>
                </a:lnTo>
                <a:lnTo>
                  <a:pt x="628764" y="2792313"/>
                </a:lnTo>
                <a:cubicBezTo>
                  <a:pt x="628812" y="2790483"/>
                  <a:pt x="629450" y="2788956"/>
                  <a:pt x="630676" y="2787729"/>
                </a:cubicBezTo>
                <a:cubicBezTo>
                  <a:pt x="631903" y="2786502"/>
                  <a:pt x="633431" y="2785865"/>
                  <a:pt x="635260" y="2785817"/>
                </a:cubicBezTo>
                <a:close/>
                <a:moveTo>
                  <a:pt x="1602410" y="2774501"/>
                </a:moveTo>
                <a:lnTo>
                  <a:pt x="1621059" y="2774501"/>
                </a:lnTo>
                <a:cubicBezTo>
                  <a:pt x="1622797" y="2774549"/>
                  <a:pt x="1624299" y="2775186"/>
                  <a:pt x="1625565" y="2776413"/>
                </a:cubicBezTo>
                <a:cubicBezTo>
                  <a:pt x="1626831" y="2777640"/>
                  <a:pt x="1627494" y="2779168"/>
                  <a:pt x="1627556" y="2780997"/>
                </a:cubicBezTo>
                <a:lnTo>
                  <a:pt x="1627556" y="2913223"/>
                </a:lnTo>
                <a:cubicBezTo>
                  <a:pt x="1627494" y="2915052"/>
                  <a:pt x="1626831" y="2916580"/>
                  <a:pt x="1625565" y="2917807"/>
                </a:cubicBezTo>
                <a:cubicBezTo>
                  <a:pt x="1624299" y="2919034"/>
                  <a:pt x="1622797" y="2919671"/>
                  <a:pt x="1621059" y="2919719"/>
                </a:cubicBezTo>
                <a:lnTo>
                  <a:pt x="1602410" y="2919719"/>
                </a:lnTo>
                <a:cubicBezTo>
                  <a:pt x="1600580" y="2919671"/>
                  <a:pt x="1599052" y="2919034"/>
                  <a:pt x="1597826" y="2917807"/>
                </a:cubicBezTo>
                <a:cubicBezTo>
                  <a:pt x="1596599" y="2916580"/>
                  <a:pt x="1595962" y="2915052"/>
                  <a:pt x="1595913" y="2913223"/>
                </a:cubicBezTo>
                <a:lnTo>
                  <a:pt x="1595913" y="2780997"/>
                </a:lnTo>
                <a:cubicBezTo>
                  <a:pt x="1595962" y="2779168"/>
                  <a:pt x="1596599" y="2777640"/>
                  <a:pt x="1597826" y="2776413"/>
                </a:cubicBezTo>
                <a:cubicBezTo>
                  <a:pt x="1599052" y="2775186"/>
                  <a:pt x="1600580" y="2774549"/>
                  <a:pt x="1602410" y="2774501"/>
                </a:cubicBezTo>
                <a:close/>
                <a:moveTo>
                  <a:pt x="1211885" y="2774501"/>
                </a:moveTo>
                <a:lnTo>
                  <a:pt x="1230535" y="2774501"/>
                </a:lnTo>
                <a:cubicBezTo>
                  <a:pt x="1232272" y="2774549"/>
                  <a:pt x="1233774" y="2775186"/>
                  <a:pt x="1235040" y="2776413"/>
                </a:cubicBezTo>
                <a:cubicBezTo>
                  <a:pt x="1236306" y="2777640"/>
                  <a:pt x="1236969" y="2779168"/>
                  <a:pt x="1237031" y="2780997"/>
                </a:cubicBezTo>
                <a:lnTo>
                  <a:pt x="1237031" y="2819135"/>
                </a:lnTo>
                <a:cubicBezTo>
                  <a:pt x="1239999" y="2816586"/>
                  <a:pt x="1243544" y="2814560"/>
                  <a:pt x="1247665" y="2813058"/>
                </a:cubicBezTo>
                <a:cubicBezTo>
                  <a:pt x="1251786" y="2811557"/>
                  <a:pt x="1256903" y="2810788"/>
                  <a:pt x="1263015" y="2810753"/>
                </a:cubicBezTo>
                <a:cubicBezTo>
                  <a:pt x="1274361" y="2810827"/>
                  <a:pt x="1283311" y="2814032"/>
                  <a:pt x="1289863" y="2820366"/>
                </a:cubicBezTo>
                <a:cubicBezTo>
                  <a:pt x="1296416" y="2826701"/>
                  <a:pt x="1299760" y="2835720"/>
                  <a:pt x="1299896" y="2847424"/>
                </a:cubicBezTo>
                <a:lnTo>
                  <a:pt x="1299896" y="2913223"/>
                </a:lnTo>
                <a:cubicBezTo>
                  <a:pt x="1299835" y="2915052"/>
                  <a:pt x="1299171" y="2916580"/>
                  <a:pt x="1297905" y="2917807"/>
                </a:cubicBezTo>
                <a:cubicBezTo>
                  <a:pt x="1296639" y="2919034"/>
                  <a:pt x="1295137" y="2919671"/>
                  <a:pt x="1293399" y="2919719"/>
                </a:cubicBezTo>
                <a:lnTo>
                  <a:pt x="1274750" y="2919719"/>
                </a:lnTo>
                <a:cubicBezTo>
                  <a:pt x="1272920" y="2919671"/>
                  <a:pt x="1271393" y="2919034"/>
                  <a:pt x="1270166" y="2917807"/>
                </a:cubicBezTo>
                <a:cubicBezTo>
                  <a:pt x="1268939" y="2916580"/>
                  <a:pt x="1268301" y="2915052"/>
                  <a:pt x="1268254" y="2913223"/>
                </a:cubicBezTo>
                <a:lnTo>
                  <a:pt x="1268254" y="2845538"/>
                </a:lnTo>
                <a:cubicBezTo>
                  <a:pt x="1268389" y="2841304"/>
                  <a:pt x="1267280" y="2837986"/>
                  <a:pt x="1264927" y="2835585"/>
                </a:cubicBezTo>
                <a:cubicBezTo>
                  <a:pt x="1262574" y="2833184"/>
                  <a:pt x="1258165" y="2831961"/>
                  <a:pt x="1251699" y="2831918"/>
                </a:cubicBezTo>
                <a:cubicBezTo>
                  <a:pt x="1247054" y="2831961"/>
                  <a:pt x="1243457" y="2832503"/>
                  <a:pt x="1240907" y="2833542"/>
                </a:cubicBezTo>
                <a:cubicBezTo>
                  <a:pt x="1238358" y="2834581"/>
                  <a:pt x="1237065" y="2835855"/>
                  <a:pt x="1237031" y="2837366"/>
                </a:cubicBezTo>
                <a:lnTo>
                  <a:pt x="1237031" y="2913223"/>
                </a:lnTo>
                <a:cubicBezTo>
                  <a:pt x="1236969" y="2915052"/>
                  <a:pt x="1236306" y="2916580"/>
                  <a:pt x="1235040" y="2917807"/>
                </a:cubicBezTo>
                <a:cubicBezTo>
                  <a:pt x="1233774" y="2919034"/>
                  <a:pt x="1232272" y="2919671"/>
                  <a:pt x="1230535" y="2919719"/>
                </a:cubicBezTo>
                <a:lnTo>
                  <a:pt x="1211885" y="2919719"/>
                </a:lnTo>
                <a:cubicBezTo>
                  <a:pt x="1210055" y="2919671"/>
                  <a:pt x="1208527" y="2919034"/>
                  <a:pt x="1207301" y="2917807"/>
                </a:cubicBezTo>
                <a:cubicBezTo>
                  <a:pt x="1206074" y="2916580"/>
                  <a:pt x="1205437" y="2915052"/>
                  <a:pt x="1205389" y="2913223"/>
                </a:cubicBezTo>
                <a:lnTo>
                  <a:pt x="1205389" y="2780997"/>
                </a:lnTo>
                <a:cubicBezTo>
                  <a:pt x="1205437" y="2779168"/>
                  <a:pt x="1206074" y="2777640"/>
                  <a:pt x="1207301" y="2776413"/>
                </a:cubicBezTo>
                <a:cubicBezTo>
                  <a:pt x="1208527" y="2775186"/>
                  <a:pt x="1210055" y="2774549"/>
                  <a:pt x="1211885" y="2774501"/>
                </a:cubicBezTo>
                <a:close/>
                <a:moveTo>
                  <a:pt x="15087" y="2774501"/>
                </a:moveTo>
                <a:lnTo>
                  <a:pt x="60560" y="2774501"/>
                </a:lnTo>
                <a:cubicBezTo>
                  <a:pt x="78385" y="2774741"/>
                  <a:pt x="91455" y="2778347"/>
                  <a:pt x="99772" y="2785319"/>
                </a:cubicBezTo>
                <a:cubicBezTo>
                  <a:pt x="108088" y="2792291"/>
                  <a:pt x="112201" y="2801188"/>
                  <a:pt x="112109" y="2812010"/>
                </a:cubicBezTo>
                <a:cubicBezTo>
                  <a:pt x="111961" y="2819196"/>
                  <a:pt x="110057" y="2825098"/>
                  <a:pt x="106399" y="2829717"/>
                </a:cubicBezTo>
                <a:cubicBezTo>
                  <a:pt x="102740" y="2834336"/>
                  <a:pt x="98218" y="2837933"/>
                  <a:pt x="92831" y="2840509"/>
                </a:cubicBezTo>
                <a:lnTo>
                  <a:pt x="92831" y="2840928"/>
                </a:lnTo>
                <a:cubicBezTo>
                  <a:pt x="102007" y="2843880"/>
                  <a:pt x="108748" y="2848507"/>
                  <a:pt x="113052" y="2854811"/>
                </a:cubicBezTo>
                <a:cubicBezTo>
                  <a:pt x="117357" y="2861115"/>
                  <a:pt x="119487" y="2868362"/>
                  <a:pt x="119443" y="2876552"/>
                </a:cubicBezTo>
                <a:cubicBezTo>
                  <a:pt x="119347" y="2889077"/>
                  <a:pt x="114301" y="2899336"/>
                  <a:pt x="104303" y="2907329"/>
                </a:cubicBezTo>
                <a:cubicBezTo>
                  <a:pt x="94306" y="2915323"/>
                  <a:pt x="79934" y="2919453"/>
                  <a:pt x="61188" y="2919719"/>
                </a:cubicBezTo>
                <a:lnTo>
                  <a:pt x="15087" y="2919719"/>
                </a:lnTo>
                <a:cubicBezTo>
                  <a:pt x="13258" y="2919671"/>
                  <a:pt x="11730" y="2919034"/>
                  <a:pt x="10504" y="2917807"/>
                </a:cubicBezTo>
                <a:cubicBezTo>
                  <a:pt x="9277" y="2916580"/>
                  <a:pt x="8639" y="2915052"/>
                  <a:pt x="8591" y="2913223"/>
                </a:cubicBezTo>
                <a:lnTo>
                  <a:pt x="8591" y="2780997"/>
                </a:lnTo>
                <a:cubicBezTo>
                  <a:pt x="8639" y="2779168"/>
                  <a:pt x="9277" y="2777640"/>
                  <a:pt x="10504" y="2776413"/>
                </a:cubicBezTo>
                <a:cubicBezTo>
                  <a:pt x="11730" y="2775186"/>
                  <a:pt x="13258" y="2774549"/>
                  <a:pt x="15087" y="2774501"/>
                </a:cubicBezTo>
                <a:close/>
                <a:moveTo>
                  <a:pt x="865251" y="2771777"/>
                </a:moveTo>
                <a:cubicBezTo>
                  <a:pt x="871572" y="2771742"/>
                  <a:pt x="876322" y="2772231"/>
                  <a:pt x="879500" y="2773244"/>
                </a:cubicBezTo>
                <a:cubicBezTo>
                  <a:pt x="881770" y="2773973"/>
                  <a:pt x="883359" y="2774977"/>
                  <a:pt x="884267" y="2776256"/>
                </a:cubicBezTo>
                <a:cubicBezTo>
                  <a:pt x="885175" y="2777535"/>
                  <a:pt x="885612" y="2779115"/>
                  <a:pt x="885577" y="2780997"/>
                </a:cubicBezTo>
                <a:lnTo>
                  <a:pt x="885577" y="2788541"/>
                </a:lnTo>
                <a:cubicBezTo>
                  <a:pt x="885586" y="2790261"/>
                  <a:pt x="885149" y="2791693"/>
                  <a:pt x="884267" y="2792836"/>
                </a:cubicBezTo>
                <a:cubicBezTo>
                  <a:pt x="883386" y="2793980"/>
                  <a:pt x="882006" y="2794574"/>
                  <a:pt x="880129" y="2794618"/>
                </a:cubicBezTo>
                <a:cubicBezTo>
                  <a:pt x="878719" y="2794565"/>
                  <a:pt x="876719" y="2794356"/>
                  <a:pt x="874131" y="2793989"/>
                </a:cubicBezTo>
                <a:cubicBezTo>
                  <a:pt x="871542" y="2793622"/>
                  <a:pt x="869280" y="2793413"/>
                  <a:pt x="867346" y="2793361"/>
                </a:cubicBezTo>
                <a:cubicBezTo>
                  <a:pt x="864766" y="2793374"/>
                  <a:pt x="862959" y="2794081"/>
                  <a:pt x="861924" y="2795482"/>
                </a:cubicBezTo>
                <a:cubicBezTo>
                  <a:pt x="860890" y="2796884"/>
                  <a:pt x="860392" y="2798900"/>
                  <a:pt x="860431" y="2801533"/>
                </a:cubicBezTo>
                <a:lnTo>
                  <a:pt x="860431" y="2813268"/>
                </a:lnTo>
                <a:lnTo>
                  <a:pt x="874261" y="2813268"/>
                </a:lnTo>
                <a:cubicBezTo>
                  <a:pt x="876091" y="2813316"/>
                  <a:pt x="877619" y="2813953"/>
                  <a:pt x="878845" y="2815180"/>
                </a:cubicBezTo>
                <a:cubicBezTo>
                  <a:pt x="880072" y="2816407"/>
                  <a:pt x="880709" y="2817935"/>
                  <a:pt x="880757" y="2819764"/>
                </a:cubicBezTo>
                <a:lnTo>
                  <a:pt x="880757" y="2827936"/>
                </a:lnTo>
                <a:cubicBezTo>
                  <a:pt x="880709" y="2829674"/>
                  <a:pt x="880072" y="2831175"/>
                  <a:pt x="878845" y="2832442"/>
                </a:cubicBezTo>
                <a:cubicBezTo>
                  <a:pt x="877619" y="2833708"/>
                  <a:pt x="876091" y="2834371"/>
                  <a:pt x="874261" y="2834432"/>
                </a:cubicBezTo>
                <a:lnTo>
                  <a:pt x="860431" y="2834432"/>
                </a:lnTo>
                <a:lnTo>
                  <a:pt x="860431" y="2913223"/>
                </a:lnTo>
                <a:cubicBezTo>
                  <a:pt x="860370" y="2915052"/>
                  <a:pt x="859707" y="2916580"/>
                  <a:pt x="858440" y="2917807"/>
                </a:cubicBezTo>
                <a:cubicBezTo>
                  <a:pt x="857174" y="2919034"/>
                  <a:pt x="855673" y="2919671"/>
                  <a:pt x="853935" y="2919719"/>
                </a:cubicBezTo>
                <a:lnTo>
                  <a:pt x="835285" y="2919719"/>
                </a:lnTo>
                <a:cubicBezTo>
                  <a:pt x="833456" y="2919671"/>
                  <a:pt x="831928" y="2919034"/>
                  <a:pt x="830701" y="2917807"/>
                </a:cubicBezTo>
                <a:cubicBezTo>
                  <a:pt x="829475" y="2916580"/>
                  <a:pt x="828837" y="2915052"/>
                  <a:pt x="828789" y="2913223"/>
                </a:cubicBezTo>
                <a:lnTo>
                  <a:pt x="828789" y="2834432"/>
                </a:lnTo>
                <a:lnTo>
                  <a:pt x="819988" y="2834432"/>
                </a:lnTo>
                <a:cubicBezTo>
                  <a:pt x="818159" y="2834371"/>
                  <a:pt x="816631" y="2833708"/>
                  <a:pt x="815404" y="2832442"/>
                </a:cubicBezTo>
                <a:cubicBezTo>
                  <a:pt x="814177" y="2831175"/>
                  <a:pt x="813540" y="2829674"/>
                  <a:pt x="813492" y="2827936"/>
                </a:cubicBezTo>
                <a:lnTo>
                  <a:pt x="813492" y="2819764"/>
                </a:lnTo>
                <a:cubicBezTo>
                  <a:pt x="813540" y="2817935"/>
                  <a:pt x="814177" y="2816407"/>
                  <a:pt x="815404" y="2815180"/>
                </a:cubicBezTo>
                <a:cubicBezTo>
                  <a:pt x="816631" y="2813953"/>
                  <a:pt x="818159" y="2813316"/>
                  <a:pt x="819988" y="2813268"/>
                </a:cubicBezTo>
                <a:lnTo>
                  <a:pt x="828789" y="2813268"/>
                </a:lnTo>
                <a:lnTo>
                  <a:pt x="828789" y="2802790"/>
                </a:lnTo>
                <a:cubicBezTo>
                  <a:pt x="828658" y="2792055"/>
                  <a:pt x="831435" y="2784188"/>
                  <a:pt x="837119" y="2779190"/>
                </a:cubicBezTo>
                <a:cubicBezTo>
                  <a:pt x="842803" y="2774191"/>
                  <a:pt x="852180" y="2771720"/>
                  <a:pt x="865251" y="2771777"/>
                </a:cubicBezTo>
                <a:close/>
                <a:moveTo>
                  <a:pt x="582930" y="2771777"/>
                </a:moveTo>
                <a:cubicBezTo>
                  <a:pt x="587880" y="2771873"/>
                  <a:pt x="592019" y="2773462"/>
                  <a:pt x="595346" y="2776544"/>
                </a:cubicBezTo>
                <a:cubicBezTo>
                  <a:pt x="598672" y="2779626"/>
                  <a:pt x="600401" y="2783625"/>
                  <a:pt x="600532" y="2788541"/>
                </a:cubicBezTo>
                <a:cubicBezTo>
                  <a:pt x="600401" y="2793456"/>
                  <a:pt x="598672" y="2797455"/>
                  <a:pt x="595346" y="2800537"/>
                </a:cubicBezTo>
                <a:cubicBezTo>
                  <a:pt x="592019" y="2803620"/>
                  <a:pt x="587880" y="2805209"/>
                  <a:pt x="582930" y="2805305"/>
                </a:cubicBezTo>
                <a:cubicBezTo>
                  <a:pt x="577988" y="2805209"/>
                  <a:pt x="573884" y="2803620"/>
                  <a:pt x="570619" y="2800537"/>
                </a:cubicBezTo>
                <a:cubicBezTo>
                  <a:pt x="567353" y="2797455"/>
                  <a:pt x="565659" y="2793456"/>
                  <a:pt x="565537" y="2788541"/>
                </a:cubicBezTo>
                <a:cubicBezTo>
                  <a:pt x="565659" y="2783625"/>
                  <a:pt x="567353" y="2779626"/>
                  <a:pt x="570619" y="2776544"/>
                </a:cubicBezTo>
                <a:cubicBezTo>
                  <a:pt x="573884" y="2773462"/>
                  <a:pt x="577988" y="2771873"/>
                  <a:pt x="582930" y="2771777"/>
                </a:cubicBezTo>
                <a:close/>
                <a:moveTo>
                  <a:pt x="531876" y="2771777"/>
                </a:moveTo>
                <a:cubicBezTo>
                  <a:pt x="538197" y="2771742"/>
                  <a:pt x="542947" y="2772231"/>
                  <a:pt x="546125" y="2773244"/>
                </a:cubicBezTo>
                <a:cubicBezTo>
                  <a:pt x="548395" y="2773973"/>
                  <a:pt x="549984" y="2774977"/>
                  <a:pt x="550893" y="2776256"/>
                </a:cubicBezTo>
                <a:cubicBezTo>
                  <a:pt x="551801" y="2777535"/>
                  <a:pt x="552237" y="2779115"/>
                  <a:pt x="552202" y="2780997"/>
                </a:cubicBezTo>
                <a:lnTo>
                  <a:pt x="552202" y="2788541"/>
                </a:lnTo>
                <a:cubicBezTo>
                  <a:pt x="552211" y="2790261"/>
                  <a:pt x="551774" y="2791693"/>
                  <a:pt x="550893" y="2792836"/>
                </a:cubicBezTo>
                <a:cubicBezTo>
                  <a:pt x="550011" y="2793980"/>
                  <a:pt x="548631" y="2794574"/>
                  <a:pt x="546754" y="2794618"/>
                </a:cubicBezTo>
                <a:cubicBezTo>
                  <a:pt x="545344" y="2794565"/>
                  <a:pt x="543344" y="2794356"/>
                  <a:pt x="540755" y="2793989"/>
                </a:cubicBezTo>
                <a:cubicBezTo>
                  <a:pt x="538167" y="2793622"/>
                  <a:pt x="535905" y="2793413"/>
                  <a:pt x="533971" y="2793361"/>
                </a:cubicBezTo>
                <a:cubicBezTo>
                  <a:pt x="531391" y="2793374"/>
                  <a:pt x="529584" y="2794081"/>
                  <a:pt x="528549" y="2795482"/>
                </a:cubicBezTo>
                <a:cubicBezTo>
                  <a:pt x="527515" y="2796884"/>
                  <a:pt x="527017" y="2798900"/>
                  <a:pt x="527056" y="2801533"/>
                </a:cubicBezTo>
                <a:lnTo>
                  <a:pt x="527056" y="2813268"/>
                </a:lnTo>
                <a:lnTo>
                  <a:pt x="540887" y="2813268"/>
                </a:lnTo>
                <a:cubicBezTo>
                  <a:pt x="542716" y="2813316"/>
                  <a:pt x="544244" y="2813953"/>
                  <a:pt x="545470" y="2815180"/>
                </a:cubicBezTo>
                <a:cubicBezTo>
                  <a:pt x="546697" y="2816407"/>
                  <a:pt x="547335" y="2817935"/>
                  <a:pt x="547383" y="2819764"/>
                </a:cubicBezTo>
                <a:lnTo>
                  <a:pt x="547383" y="2827936"/>
                </a:lnTo>
                <a:cubicBezTo>
                  <a:pt x="547335" y="2829674"/>
                  <a:pt x="546697" y="2831175"/>
                  <a:pt x="545470" y="2832442"/>
                </a:cubicBezTo>
                <a:cubicBezTo>
                  <a:pt x="544244" y="2833708"/>
                  <a:pt x="542716" y="2834371"/>
                  <a:pt x="540887" y="2834432"/>
                </a:cubicBezTo>
                <a:lnTo>
                  <a:pt x="527056" y="2834432"/>
                </a:lnTo>
                <a:lnTo>
                  <a:pt x="527056" y="2913223"/>
                </a:lnTo>
                <a:cubicBezTo>
                  <a:pt x="526995" y="2915052"/>
                  <a:pt x="526331" y="2916580"/>
                  <a:pt x="525065" y="2917807"/>
                </a:cubicBezTo>
                <a:cubicBezTo>
                  <a:pt x="523799" y="2919034"/>
                  <a:pt x="522298" y="2919671"/>
                  <a:pt x="520560" y="2919719"/>
                </a:cubicBezTo>
                <a:lnTo>
                  <a:pt x="501910" y="2919719"/>
                </a:lnTo>
                <a:cubicBezTo>
                  <a:pt x="500081" y="2919671"/>
                  <a:pt x="498553" y="2919034"/>
                  <a:pt x="497326" y="2917807"/>
                </a:cubicBezTo>
                <a:cubicBezTo>
                  <a:pt x="496100" y="2916580"/>
                  <a:pt x="495462" y="2915052"/>
                  <a:pt x="495414" y="2913223"/>
                </a:cubicBezTo>
                <a:lnTo>
                  <a:pt x="495414" y="2834432"/>
                </a:lnTo>
                <a:lnTo>
                  <a:pt x="486613" y="2834432"/>
                </a:lnTo>
                <a:cubicBezTo>
                  <a:pt x="484784" y="2834371"/>
                  <a:pt x="483256" y="2833708"/>
                  <a:pt x="482029" y="2832442"/>
                </a:cubicBezTo>
                <a:cubicBezTo>
                  <a:pt x="480802" y="2831175"/>
                  <a:pt x="480165" y="2829674"/>
                  <a:pt x="480117" y="2827936"/>
                </a:cubicBezTo>
                <a:lnTo>
                  <a:pt x="480117" y="2819764"/>
                </a:lnTo>
                <a:cubicBezTo>
                  <a:pt x="480165" y="2817935"/>
                  <a:pt x="480802" y="2816407"/>
                  <a:pt x="482029" y="2815180"/>
                </a:cubicBezTo>
                <a:cubicBezTo>
                  <a:pt x="483256" y="2813953"/>
                  <a:pt x="484784" y="2813316"/>
                  <a:pt x="486613" y="2813268"/>
                </a:cubicBezTo>
                <a:lnTo>
                  <a:pt x="495414" y="2813268"/>
                </a:lnTo>
                <a:lnTo>
                  <a:pt x="495414" y="2802790"/>
                </a:lnTo>
                <a:cubicBezTo>
                  <a:pt x="495283" y="2792055"/>
                  <a:pt x="498060" y="2784188"/>
                  <a:pt x="503744" y="2779190"/>
                </a:cubicBezTo>
                <a:cubicBezTo>
                  <a:pt x="509428" y="2774191"/>
                  <a:pt x="518805" y="2771720"/>
                  <a:pt x="531876" y="2771777"/>
                </a:cubicBezTo>
                <a:close/>
                <a:moveTo>
                  <a:pt x="594912" y="2360621"/>
                </a:moveTo>
                <a:cubicBezTo>
                  <a:pt x="591931" y="2362140"/>
                  <a:pt x="588831" y="2363240"/>
                  <a:pt x="585613" y="2363921"/>
                </a:cubicBezTo>
                <a:cubicBezTo>
                  <a:pt x="582396" y="2364602"/>
                  <a:pt x="578092" y="2365178"/>
                  <a:pt x="572700" y="2365650"/>
                </a:cubicBezTo>
                <a:cubicBezTo>
                  <a:pt x="562161" y="2366554"/>
                  <a:pt x="554740" y="2368570"/>
                  <a:pt x="550435" y="2371701"/>
                </a:cubicBezTo>
                <a:cubicBezTo>
                  <a:pt x="546131" y="2374831"/>
                  <a:pt x="544053" y="2379939"/>
                  <a:pt x="544201" y="2387024"/>
                </a:cubicBezTo>
                <a:cubicBezTo>
                  <a:pt x="544171" y="2394328"/>
                  <a:pt x="546275" y="2399366"/>
                  <a:pt x="550514" y="2402138"/>
                </a:cubicBezTo>
                <a:cubicBezTo>
                  <a:pt x="554753" y="2404910"/>
                  <a:pt x="561310" y="2406228"/>
                  <a:pt x="570185" y="2406093"/>
                </a:cubicBezTo>
                <a:cubicBezTo>
                  <a:pt x="577293" y="2406115"/>
                  <a:pt x="583247" y="2405024"/>
                  <a:pt x="588049" y="2402819"/>
                </a:cubicBezTo>
                <a:cubicBezTo>
                  <a:pt x="592852" y="2400614"/>
                  <a:pt x="595349" y="2397165"/>
                  <a:pt x="595541" y="2392472"/>
                </a:cubicBezTo>
                <a:lnTo>
                  <a:pt x="595541" y="2360621"/>
                </a:lnTo>
                <a:close/>
                <a:moveTo>
                  <a:pt x="1556499" y="2318920"/>
                </a:moveTo>
                <a:cubicBezTo>
                  <a:pt x="1549306" y="2319035"/>
                  <a:pt x="1543319" y="2321110"/>
                  <a:pt x="1538540" y="2325145"/>
                </a:cubicBezTo>
                <a:cubicBezTo>
                  <a:pt x="1533760" y="2329179"/>
                  <a:pt x="1530180" y="2334483"/>
                  <a:pt x="1527799" y="2341055"/>
                </a:cubicBezTo>
                <a:cubicBezTo>
                  <a:pt x="1525417" y="2347627"/>
                  <a:pt x="1524227" y="2354778"/>
                  <a:pt x="1524229" y="2362507"/>
                </a:cubicBezTo>
                <a:cubicBezTo>
                  <a:pt x="1524227" y="2370235"/>
                  <a:pt x="1525417" y="2377386"/>
                  <a:pt x="1527799" y="2383958"/>
                </a:cubicBezTo>
                <a:cubicBezTo>
                  <a:pt x="1530180" y="2390531"/>
                  <a:pt x="1533760" y="2395834"/>
                  <a:pt x="1538540" y="2399869"/>
                </a:cubicBezTo>
                <a:cubicBezTo>
                  <a:pt x="1543319" y="2403903"/>
                  <a:pt x="1549306" y="2405978"/>
                  <a:pt x="1556499" y="2406093"/>
                </a:cubicBezTo>
                <a:cubicBezTo>
                  <a:pt x="1563692" y="2405978"/>
                  <a:pt x="1569679" y="2403903"/>
                  <a:pt x="1574458" y="2399869"/>
                </a:cubicBezTo>
                <a:cubicBezTo>
                  <a:pt x="1579238" y="2395834"/>
                  <a:pt x="1582818" y="2390531"/>
                  <a:pt x="1585200" y="2383958"/>
                </a:cubicBezTo>
                <a:cubicBezTo>
                  <a:pt x="1587581" y="2377386"/>
                  <a:pt x="1588771" y="2370235"/>
                  <a:pt x="1588770" y="2362507"/>
                </a:cubicBezTo>
                <a:cubicBezTo>
                  <a:pt x="1588771" y="2354778"/>
                  <a:pt x="1587581" y="2347627"/>
                  <a:pt x="1585200" y="2341055"/>
                </a:cubicBezTo>
                <a:cubicBezTo>
                  <a:pt x="1582818" y="2334483"/>
                  <a:pt x="1579238" y="2329179"/>
                  <a:pt x="1574458" y="2325145"/>
                </a:cubicBezTo>
                <a:cubicBezTo>
                  <a:pt x="1569679" y="2321110"/>
                  <a:pt x="1563692" y="2319035"/>
                  <a:pt x="1556499" y="2318920"/>
                </a:cubicBezTo>
                <a:close/>
                <a:moveTo>
                  <a:pt x="1156449" y="2318920"/>
                </a:moveTo>
                <a:cubicBezTo>
                  <a:pt x="1149256" y="2319035"/>
                  <a:pt x="1143269" y="2321110"/>
                  <a:pt x="1138490" y="2325145"/>
                </a:cubicBezTo>
                <a:cubicBezTo>
                  <a:pt x="1133710" y="2329179"/>
                  <a:pt x="1130130" y="2334483"/>
                  <a:pt x="1127749" y="2341055"/>
                </a:cubicBezTo>
                <a:cubicBezTo>
                  <a:pt x="1125367" y="2347627"/>
                  <a:pt x="1124177" y="2354778"/>
                  <a:pt x="1124178" y="2362507"/>
                </a:cubicBezTo>
                <a:cubicBezTo>
                  <a:pt x="1124177" y="2370235"/>
                  <a:pt x="1125367" y="2377386"/>
                  <a:pt x="1127749" y="2383958"/>
                </a:cubicBezTo>
                <a:cubicBezTo>
                  <a:pt x="1130130" y="2390531"/>
                  <a:pt x="1133710" y="2395834"/>
                  <a:pt x="1138490" y="2399869"/>
                </a:cubicBezTo>
                <a:cubicBezTo>
                  <a:pt x="1143269" y="2403903"/>
                  <a:pt x="1149256" y="2405978"/>
                  <a:pt x="1156449" y="2406093"/>
                </a:cubicBezTo>
                <a:cubicBezTo>
                  <a:pt x="1163642" y="2405978"/>
                  <a:pt x="1169629" y="2403903"/>
                  <a:pt x="1174408" y="2399869"/>
                </a:cubicBezTo>
                <a:cubicBezTo>
                  <a:pt x="1179188" y="2395834"/>
                  <a:pt x="1182768" y="2390531"/>
                  <a:pt x="1185150" y="2383958"/>
                </a:cubicBezTo>
                <a:cubicBezTo>
                  <a:pt x="1187531" y="2377386"/>
                  <a:pt x="1188721" y="2370235"/>
                  <a:pt x="1188720" y="2362507"/>
                </a:cubicBezTo>
                <a:cubicBezTo>
                  <a:pt x="1188721" y="2354778"/>
                  <a:pt x="1187531" y="2347627"/>
                  <a:pt x="1185150" y="2341055"/>
                </a:cubicBezTo>
                <a:cubicBezTo>
                  <a:pt x="1182768" y="2334483"/>
                  <a:pt x="1179188" y="2329179"/>
                  <a:pt x="1174408" y="2325145"/>
                </a:cubicBezTo>
                <a:cubicBezTo>
                  <a:pt x="1169629" y="2321110"/>
                  <a:pt x="1163642" y="2319035"/>
                  <a:pt x="1156449" y="2318920"/>
                </a:cubicBezTo>
                <a:close/>
                <a:moveTo>
                  <a:pt x="907123" y="2318920"/>
                </a:moveTo>
                <a:cubicBezTo>
                  <a:pt x="898234" y="2319243"/>
                  <a:pt x="891127" y="2322683"/>
                  <a:pt x="885801" y="2329241"/>
                </a:cubicBezTo>
                <a:cubicBezTo>
                  <a:pt x="880475" y="2335798"/>
                  <a:pt x="877454" y="2343534"/>
                  <a:pt x="876738" y="2352448"/>
                </a:cubicBezTo>
                <a:lnTo>
                  <a:pt x="934364" y="2352448"/>
                </a:lnTo>
                <a:cubicBezTo>
                  <a:pt x="934211" y="2341975"/>
                  <a:pt x="931636" y="2333794"/>
                  <a:pt x="926637" y="2327905"/>
                </a:cubicBezTo>
                <a:cubicBezTo>
                  <a:pt x="921638" y="2322015"/>
                  <a:pt x="915134" y="2319021"/>
                  <a:pt x="907123" y="2318920"/>
                </a:cubicBezTo>
                <a:close/>
                <a:moveTo>
                  <a:pt x="365874" y="2318920"/>
                </a:moveTo>
                <a:cubicBezTo>
                  <a:pt x="358681" y="2319035"/>
                  <a:pt x="352694" y="2321110"/>
                  <a:pt x="347915" y="2325145"/>
                </a:cubicBezTo>
                <a:cubicBezTo>
                  <a:pt x="343135" y="2329179"/>
                  <a:pt x="339555" y="2334483"/>
                  <a:pt x="337173" y="2341055"/>
                </a:cubicBezTo>
                <a:cubicBezTo>
                  <a:pt x="334792" y="2347627"/>
                  <a:pt x="333602" y="2354778"/>
                  <a:pt x="333603" y="2362507"/>
                </a:cubicBezTo>
                <a:cubicBezTo>
                  <a:pt x="333602" y="2370235"/>
                  <a:pt x="334792" y="2377386"/>
                  <a:pt x="337173" y="2383958"/>
                </a:cubicBezTo>
                <a:cubicBezTo>
                  <a:pt x="339555" y="2390531"/>
                  <a:pt x="343135" y="2395834"/>
                  <a:pt x="347915" y="2399869"/>
                </a:cubicBezTo>
                <a:cubicBezTo>
                  <a:pt x="352694" y="2403903"/>
                  <a:pt x="358681" y="2405978"/>
                  <a:pt x="365874" y="2406093"/>
                </a:cubicBezTo>
                <a:cubicBezTo>
                  <a:pt x="373067" y="2405978"/>
                  <a:pt x="379054" y="2403903"/>
                  <a:pt x="383833" y="2399869"/>
                </a:cubicBezTo>
                <a:cubicBezTo>
                  <a:pt x="388613" y="2395834"/>
                  <a:pt x="392193" y="2390531"/>
                  <a:pt x="394575" y="2383958"/>
                </a:cubicBezTo>
                <a:cubicBezTo>
                  <a:pt x="396956" y="2377386"/>
                  <a:pt x="398146" y="2370235"/>
                  <a:pt x="398145" y="2362507"/>
                </a:cubicBezTo>
                <a:cubicBezTo>
                  <a:pt x="398146" y="2354778"/>
                  <a:pt x="396956" y="2347627"/>
                  <a:pt x="394575" y="2341055"/>
                </a:cubicBezTo>
                <a:cubicBezTo>
                  <a:pt x="392193" y="2334483"/>
                  <a:pt x="388613" y="2329179"/>
                  <a:pt x="383833" y="2325145"/>
                </a:cubicBezTo>
                <a:cubicBezTo>
                  <a:pt x="379054" y="2321110"/>
                  <a:pt x="373067" y="2319035"/>
                  <a:pt x="365874" y="2318920"/>
                </a:cubicBezTo>
                <a:close/>
                <a:moveTo>
                  <a:pt x="1474089" y="2310119"/>
                </a:moveTo>
                <a:lnTo>
                  <a:pt x="1479328" y="2310119"/>
                </a:lnTo>
                <a:cubicBezTo>
                  <a:pt x="1480838" y="2310163"/>
                  <a:pt x="1482113" y="2310704"/>
                  <a:pt x="1483152" y="2311743"/>
                </a:cubicBezTo>
                <a:cubicBezTo>
                  <a:pt x="1484191" y="2312782"/>
                  <a:pt x="1484732" y="2314057"/>
                  <a:pt x="1484776" y="2315567"/>
                </a:cubicBezTo>
                <a:lnTo>
                  <a:pt x="1484776" y="2409446"/>
                </a:lnTo>
                <a:cubicBezTo>
                  <a:pt x="1484732" y="2410956"/>
                  <a:pt x="1484191" y="2412231"/>
                  <a:pt x="1483152" y="2413270"/>
                </a:cubicBezTo>
                <a:cubicBezTo>
                  <a:pt x="1482113" y="2414309"/>
                  <a:pt x="1480838" y="2414851"/>
                  <a:pt x="1479328" y="2414894"/>
                </a:cubicBezTo>
                <a:lnTo>
                  <a:pt x="1474089" y="2414894"/>
                </a:lnTo>
                <a:cubicBezTo>
                  <a:pt x="1472578" y="2414851"/>
                  <a:pt x="1471303" y="2414309"/>
                  <a:pt x="1470265" y="2413270"/>
                </a:cubicBezTo>
                <a:cubicBezTo>
                  <a:pt x="1469225" y="2412231"/>
                  <a:pt x="1468684" y="2410956"/>
                  <a:pt x="1468641" y="2409446"/>
                </a:cubicBezTo>
                <a:lnTo>
                  <a:pt x="1468641" y="2315567"/>
                </a:lnTo>
                <a:cubicBezTo>
                  <a:pt x="1468684" y="2314057"/>
                  <a:pt x="1469225" y="2312782"/>
                  <a:pt x="1470265" y="2311743"/>
                </a:cubicBezTo>
                <a:cubicBezTo>
                  <a:pt x="1471303" y="2310704"/>
                  <a:pt x="1472578" y="2310163"/>
                  <a:pt x="1474089" y="2310119"/>
                </a:cubicBezTo>
                <a:close/>
                <a:moveTo>
                  <a:pt x="1293114" y="2310119"/>
                </a:moveTo>
                <a:lnTo>
                  <a:pt x="1298353" y="2310119"/>
                </a:lnTo>
                <a:cubicBezTo>
                  <a:pt x="1299863" y="2310163"/>
                  <a:pt x="1301138" y="2310704"/>
                  <a:pt x="1302177" y="2311743"/>
                </a:cubicBezTo>
                <a:cubicBezTo>
                  <a:pt x="1303216" y="2312782"/>
                  <a:pt x="1303757" y="2314057"/>
                  <a:pt x="1303801" y="2315567"/>
                </a:cubicBezTo>
                <a:lnTo>
                  <a:pt x="1303801" y="2383043"/>
                </a:lnTo>
                <a:cubicBezTo>
                  <a:pt x="1303740" y="2390420"/>
                  <a:pt x="1305591" y="2396096"/>
                  <a:pt x="1309354" y="2400068"/>
                </a:cubicBezTo>
                <a:cubicBezTo>
                  <a:pt x="1313117" y="2404041"/>
                  <a:pt x="1319159" y="2406049"/>
                  <a:pt x="1327480" y="2406093"/>
                </a:cubicBezTo>
                <a:cubicBezTo>
                  <a:pt x="1336438" y="2406071"/>
                  <a:pt x="1342987" y="2405067"/>
                  <a:pt x="1347125" y="2403081"/>
                </a:cubicBezTo>
                <a:cubicBezTo>
                  <a:pt x="1351264" y="2401094"/>
                  <a:pt x="1353307" y="2398257"/>
                  <a:pt x="1353255" y="2394568"/>
                </a:cubicBezTo>
                <a:lnTo>
                  <a:pt x="1353255" y="2315567"/>
                </a:lnTo>
                <a:cubicBezTo>
                  <a:pt x="1353298" y="2314057"/>
                  <a:pt x="1353840" y="2312782"/>
                  <a:pt x="1354879" y="2311743"/>
                </a:cubicBezTo>
                <a:cubicBezTo>
                  <a:pt x="1355918" y="2310704"/>
                  <a:pt x="1357193" y="2310163"/>
                  <a:pt x="1358703" y="2310119"/>
                </a:cubicBezTo>
                <a:lnTo>
                  <a:pt x="1363942" y="2310119"/>
                </a:lnTo>
                <a:cubicBezTo>
                  <a:pt x="1365452" y="2310163"/>
                  <a:pt x="1366727" y="2310704"/>
                  <a:pt x="1367766" y="2311743"/>
                </a:cubicBezTo>
                <a:cubicBezTo>
                  <a:pt x="1368805" y="2312782"/>
                  <a:pt x="1369346" y="2314057"/>
                  <a:pt x="1369390" y="2315567"/>
                </a:cubicBezTo>
                <a:lnTo>
                  <a:pt x="1369390" y="2409446"/>
                </a:lnTo>
                <a:cubicBezTo>
                  <a:pt x="1369346" y="2410956"/>
                  <a:pt x="1368805" y="2412231"/>
                  <a:pt x="1367766" y="2413270"/>
                </a:cubicBezTo>
                <a:cubicBezTo>
                  <a:pt x="1366727" y="2414309"/>
                  <a:pt x="1365452" y="2414851"/>
                  <a:pt x="1363942" y="2414894"/>
                </a:cubicBezTo>
                <a:lnTo>
                  <a:pt x="1358703" y="2414894"/>
                </a:lnTo>
                <a:cubicBezTo>
                  <a:pt x="1357193" y="2414851"/>
                  <a:pt x="1355918" y="2414309"/>
                  <a:pt x="1354879" y="2413270"/>
                </a:cubicBezTo>
                <a:cubicBezTo>
                  <a:pt x="1353840" y="2412231"/>
                  <a:pt x="1353298" y="2410956"/>
                  <a:pt x="1353255" y="2409446"/>
                </a:cubicBezTo>
                <a:lnTo>
                  <a:pt x="1353255" y="2408608"/>
                </a:lnTo>
                <a:cubicBezTo>
                  <a:pt x="1350456" y="2411367"/>
                  <a:pt x="1346728" y="2413549"/>
                  <a:pt x="1342070" y="2415156"/>
                </a:cubicBezTo>
                <a:cubicBezTo>
                  <a:pt x="1337412" y="2416763"/>
                  <a:pt x="1331640" y="2417583"/>
                  <a:pt x="1324756" y="2417618"/>
                </a:cubicBezTo>
                <a:cubicBezTo>
                  <a:pt x="1311751" y="2417509"/>
                  <a:pt x="1302295" y="2414584"/>
                  <a:pt x="1296388" y="2408843"/>
                </a:cubicBezTo>
                <a:cubicBezTo>
                  <a:pt x="1290481" y="2403103"/>
                  <a:pt x="1287574" y="2395201"/>
                  <a:pt x="1287665" y="2385138"/>
                </a:cubicBezTo>
                <a:lnTo>
                  <a:pt x="1287665" y="2315567"/>
                </a:lnTo>
                <a:cubicBezTo>
                  <a:pt x="1287709" y="2314057"/>
                  <a:pt x="1288251" y="2312782"/>
                  <a:pt x="1289289" y="2311743"/>
                </a:cubicBezTo>
                <a:cubicBezTo>
                  <a:pt x="1290329" y="2310704"/>
                  <a:pt x="1291603" y="2310163"/>
                  <a:pt x="1293114" y="2310119"/>
                </a:cubicBezTo>
                <a:close/>
                <a:moveTo>
                  <a:pt x="764095" y="2310119"/>
                </a:moveTo>
                <a:lnTo>
                  <a:pt x="770591" y="2310119"/>
                </a:lnTo>
                <a:cubicBezTo>
                  <a:pt x="772032" y="2310176"/>
                  <a:pt x="773132" y="2310743"/>
                  <a:pt x="773892" y="2311822"/>
                </a:cubicBezTo>
                <a:cubicBezTo>
                  <a:pt x="774651" y="2312900"/>
                  <a:pt x="775228" y="2314149"/>
                  <a:pt x="775621" y="2315567"/>
                </a:cubicBezTo>
                <a:lnTo>
                  <a:pt x="803072" y="2397711"/>
                </a:lnTo>
                <a:lnTo>
                  <a:pt x="803700" y="2397711"/>
                </a:lnTo>
                <a:lnTo>
                  <a:pt x="833456" y="2315567"/>
                </a:lnTo>
                <a:cubicBezTo>
                  <a:pt x="833976" y="2314149"/>
                  <a:pt x="834718" y="2312900"/>
                  <a:pt x="835683" y="2311822"/>
                </a:cubicBezTo>
                <a:cubicBezTo>
                  <a:pt x="836648" y="2310743"/>
                  <a:pt x="837861" y="2310176"/>
                  <a:pt x="839324" y="2310119"/>
                </a:cubicBezTo>
                <a:lnTo>
                  <a:pt x="843515" y="2310119"/>
                </a:lnTo>
                <a:cubicBezTo>
                  <a:pt x="845300" y="2310132"/>
                  <a:pt x="846654" y="2310525"/>
                  <a:pt x="847575" y="2311298"/>
                </a:cubicBezTo>
                <a:cubicBezTo>
                  <a:pt x="848496" y="2312071"/>
                  <a:pt x="848959" y="2313145"/>
                  <a:pt x="848963" y="2314520"/>
                </a:cubicBezTo>
                <a:cubicBezTo>
                  <a:pt x="848963" y="2315393"/>
                  <a:pt x="848753" y="2316371"/>
                  <a:pt x="848334" y="2317453"/>
                </a:cubicBezTo>
                <a:lnTo>
                  <a:pt x="813340" y="2408189"/>
                </a:lnTo>
                <a:cubicBezTo>
                  <a:pt x="812108" y="2411389"/>
                  <a:pt x="810589" y="2413632"/>
                  <a:pt x="808782" y="2414920"/>
                </a:cubicBezTo>
                <a:cubicBezTo>
                  <a:pt x="806975" y="2416208"/>
                  <a:pt x="804722" y="2416828"/>
                  <a:pt x="802024" y="2416780"/>
                </a:cubicBezTo>
                <a:cubicBezTo>
                  <a:pt x="799614" y="2416841"/>
                  <a:pt x="797519" y="2416248"/>
                  <a:pt x="795737" y="2414999"/>
                </a:cubicBezTo>
                <a:cubicBezTo>
                  <a:pt x="793956" y="2413750"/>
                  <a:pt x="792489" y="2411480"/>
                  <a:pt x="791337" y="2408189"/>
                </a:cubicBezTo>
                <a:lnTo>
                  <a:pt x="759276" y="2317453"/>
                </a:lnTo>
                <a:cubicBezTo>
                  <a:pt x="758857" y="2316371"/>
                  <a:pt x="758647" y="2315393"/>
                  <a:pt x="758647" y="2314520"/>
                </a:cubicBezTo>
                <a:cubicBezTo>
                  <a:pt x="758651" y="2313236"/>
                  <a:pt x="759114" y="2312188"/>
                  <a:pt x="760035" y="2311376"/>
                </a:cubicBezTo>
                <a:cubicBezTo>
                  <a:pt x="760956" y="2310564"/>
                  <a:pt x="762310" y="2310145"/>
                  <a:pt x="764095" y="2310119"/>
                </a:cubicBezTo>
                <a:close/>
                <a:moveTo>
                  <a:pt x="731139" y="2310119"/>
                </a:moveTo>
                <a:lnTo>
                  <a:pt x="736377" y="2310119"/>
                </a:lnTo>
                <a:cubicBezTo>
                  <a:pt x="737888" y="2310163"/>
                  <a:pt x="739163" y="2310704"/>
                  <a:pt x="740202" y="2311743"/>
                </a:cubicBezTo>
                <a:cubicBezTo>
                  <a:pt x="741241" y="2312782"/>
                  <a:pt x="741782" y="2314057"/>
                  <a:pt x="741826" y="2315567"/>
                </a:cubicBezTo>
                <a:lnTo>
                  <a:pt x="741826" y="2409446"/>
                </a:lnTo>
                <a:cubicBezTo>
                  <a:pt x="741782" y="2410956"/>
                  <a:pt x="741241" y="2412231"/>
                  <a:pt x="740202" y="2413270"/>
                </a:cubicBezTo>
                <a:cubicBezTo>
                  <a:pt x="739163" y="2414309"/>
                  <a:pt x="737888" y="2414851"/>
                  <a:pt x="736377" y="2414894"/>
                </a:cubicBezTo>
                <a:lnTo>
                  <a:pt x="731139" y="2414894"/>
                </a:lnTo>
                <a:cubicBezTo>
                  <a:pt x="729628" y="2414851"/>
                  <a:pt x="728353" y="2414309"/>
                  <a:pt x="727315" y="2413270"/>
                </a:cubicBezTo>
                <a:cubicBezTo>
                  <a:pt x="726275" y="2412231"/>
                  <a:pt x="725734" y="2410956"/>
                  <a:pt x="725690" y="2409446"/>
                </a:cubicBezTo>
                <a:lnTo>
                  <a:pt x="725690" y="2315567"/>
                </a:lnTo>
                <a:cubicBezTo>
                  <a:pt x="725734" y="2314057"/>
                  <a:pt x="726275" y="2312782"/>
                  <a:pt x="727315" y="2311743"/>
                </a:cubicBezTo>
                <a:cubicBezTo>
                  <a:pt x="728353" y="2310704"/>
                  <a:pt x="729628" y="2310163"/>
                  <a:pt x="731139" y="2310119"/>
                </a:cubicBezTo>
                <a:close/>
                <a:moveTo>
                  <a:pt x="430720" y="2310119"/>
                </a:moveTo>
                <a:lnTo>
                  <a:pt x="437216" y="2310119"/>
                </a:lnTo>
                <a:cubicBezTo>
                  <a:pt x="438657" y="2310176"/>
                  <a:pt x="439757" y="2310743"/>
                  <a:pt x="440517" y="2311822"/>
                </a:cubicBezTo>
                <a:cubicBezTo>
                  <a:pt x="441276" y="2312900"/>
                  <a:pt x="441853" y="2314149"/>
                  <a:pt x="442246" y="2315567"/>
                </a:cubicBezTo>
                <a:lnTo>
                  <a:pt x="469697" y="2397711"/>
                </a:lnTo>
                <a:lnTo>
                  <a:pt x="470325" y="2397711"/>
                </a:lnTo>
                <a:lnTo>
                  <a:pt x="500081" y="2315567"/>
                </a:lnTo>
                <a:cubicBezTo>
                  <a:pt x="500601" y="2314149"/>
                  <a:pt x="501343" y="2312900"/>
                  <a:pt x="502308" y="2311822"/>
                </a:cubicBezTo>
                <a:cubicBezTo>
                  <a:pt x="503273" y="2310743"/>
                  <a:pt x="504486" y="2310176"/>
                  <a:pt x="505949" y="2310119"/>
                </a:cubicBezTo>
                <a:lnTo>
                  <a:pt x="510140" y="2310119"/>
                </a:lnTo>
                <a:cubicBezTo>
                  <a:pt x="511925" y="2310132"/>
                  <a:pt x="513279" y="2310525"/>
                  <a:pt x="514200" y="2311298"/>
                </a:cubicBezTo>
                <a:cubicBezTo>
                  <a:pt x="515121" y="2312071"/>
                  <a:pt x="515584" y="2313145"/>
                  <a:pt x="515588" y="2314520"/>
                </a:cubicBezTo>
                <a:cubicBezTo>
                  <a:pt x="515588" y="2315393"/>
                  <a:pt x="515379" y="2316371"/>
                  <a:pt x="514959" y="2317453"/>
                </a:cubicBezTo>
                <a:lnTo>
                  <a:pt x="479965" y="2408189"/>
                </a:lnTo>
                <a:cubicBezTo>
                  <a:pt x="478733" y="2411389"/>
                  <a:pt x="477214" y="2413632"/>
                  <a:pt x="475407" y="2414920"/>
                </a:cubicBezTo>
                <a:cubicBezTo>
                  <a:pt x="473600" y="2416208"/>
                  <a:pt x="471347" y="2416828"/>
                  <a:pt x="468649" y="2416780"/>
                </a:cubicBezTo>
                <a:cubicBezTo>
                  <a:pt x="466239" y="2416841"/>
                  <a:pt x="464144" y="2416248"/>
                  <a:pt x="462362" y="2414999"/>
                </a:cubicBezTo>
                <a:cubicBezTo>
                  <a:pt x="460581" y="2413750"/>
                  <a:pt x="459114" y="2411480"/>
                  <a:pt x="457962" y="2408189"/>
                </a:cubicBezTo>
                <a:lnTo>
                  <a:pt x="425901" y="2317453"/>
                </a:lnTo>
                <a:cubicBezTo>
                  <a:pt x="425482" y="2316371"/>
                  <a:pt x="425272" y="2315393"/>
                  <a:pt x="425272" y="2314520"/>
                </a:cubicBezTo>
                <a:cubicBezTo>
                  <a:pt x="425276" y="2313236"/>
                  <a:pt x="425739" y="2312188"/>
                  <a:pt x="426660" y="2311376"/>
                </a:cubicBezTo>
                <a:cubicBezTo>
                  <a:pt x="427581" y="2310564"/>
                  <a:pt x="428935" y="2310145"/>
                  <a:pt x="430720" y="2310119"/>
                </a:cubicBezTo>
                <a:close/>
                <a:moveTo>
                  <a:pt x="1783308" y="2307395"/>
                </a:moveTo>
                <a:cubicBezTo>
                  <a:pt x="1793781" y="2307517"/>
                  <a:pt x="1801963" y="2308897"/>
                  <a:pt x="1807852" y="2311534"/>
                </a:cubicBezTo>
                <a:cubicBezTo>
                  <a:pt x="1813741" y="2314170"/>
                  <a:pt x="1816736" y="2317331"/>
                  <a:pt x="1816836" y="2321016"/>
                </a:cubicBezTo>
                <a:cubicBezTo>
                  <a:pt x="1816802" y="2322937"/>
                  <a:pt x="1816190" y="2324491"/>
                  <a:pt x="1815003" y="2325678"/>
                </a:cubicBezTo>
                <a:cubicBezTo>
                  <a:pt x="1813815" y="2326866"/>
                  <a:pt x="1812261" y="2327477"/>
                  <a:pt x="1810340" y="2327512"/>
                </a:cubicBezTo>
                <a:cubicBezTo>
                  <a:pt x="1807716" y="2327406"/>
                  <a:pt x="1805235" y="2326663"/>
                  <a:pt x="1802897" y="2325284"/>
                </a:cubicBezTo>
                <a:cubicBezTo>
                  <a:pt x="1800560" y="2323905"/>
                  <a:pt x="1797769" y="2322527"/>
                  <a:pt x="1794523" y="2321148"/>
                </a:cubicBezTo>
                <a:cubicBezTo>
                  <a:pt x="1791278" y="2319769"/>
                  <a:pt x="1786981" y="2319026"/>
                  <a:pt x="1781632" y="2318920"/>
                </a:cubicBezTo>
                <a:cubicBezTo>
                  <a:pt x="1775669" y="2319012"/>
                  <a:pt x="1770884" y="2320453"/>
                  <a:pt x="1767278" y="2323242"/>
                </a:cubicBezTo>
                <a:cubicBezTo>
                  <a:pt x="1763672" y="2326032"/>
                  <a:pt x="1761821" y="2329620"/>
                  <a:pt x="1761725" y="2334008"/>
                </a:cubicBezTo>
                <a:cubicBezTo>
                  <a:pt x="1762034" y="2339783"/>
                  <a:pt x="1765122" y="2344172"/>
                  <a:pt x="1770991" y="2347173"/>
                </a:cubicBezTo>
                <a:cubicBezTo>
                  <a:pt x="1776859" y="2350175"/>
                  <a:pt x="1783654" y="2352973"/>
                  <a:pt x="1791376" y="2355565"/>
                </a:cubicBezTo>
                <a:cubicBezTo>
                  <a:pt x="1799098" y="2358158"/>
                  <a:pt x="1805893" y="2361728"/>
                  <a:pt x="1811761" y="2366275"/>
                </a:cubicBezTo>
                <a:cubicBezTo>
                  <a:pt x="1817630" y="2370823"/>
                  <a:pt x="1820719" y="2377529"/>
                  <a:pt x="1821027" y="2386395"/>
                </a:cubicBezTo>
                <a:cubicBezTo>
                  <a:pt x="1820857" y="2396039"/>
                  <a:pt x="1817164" y="2403626"/>
                  <a:pt x="1809947" y="2409158"/>
                </a:cubicBezTo>
                <a:cubicBezTo>
                  <a:pt x="1802731" y="2414689"/>
                  <a:pt x="1793013" y="2417509"/>
                  <a:pt x="1780794" y="2417618"/>
                </a:cubicBezTo>
                <a:cubicBezTo>
                  <a:pt x="1770041" y="2417509"/>
                  <a:pt x="1761423" y="2415999"/>
                  <a:pt x="1754941" y="2413087"/>
                </a:cubicBezTo>
                <a:cubicBezTo>
                  <a:pt x="1748457" y="2410175"/>
                  <a:pt x="1745131" y="2406516"/>
                  <a:pt x="1744961" y="2402112"/>
                </a:cubicBezTo>
                <a:cubicBezTo>
                  <a:pt x="1744991" y="2399999"/>
                  <a:pt x="1745664" y="2398357"/>
                  <a:pt x="1746978" y="2397187"/>
                </a:cubicBezTo>
                <a:cubicBezTo>
                  <a:pt x="1748292" y="2396017"/>
                  <a:pt x="1750064" y="2395424"/>
                  <a:pt x="1752295" y="2395406"/>
                </a:cubicBezTo>
                <a:cubicBezTo>
                  <a:pt x="1754897" y="2395538"/>
                  <a:pt x="1757562" y="2396462"/>
                  <a:pt x="1760289" y="2398177"/>
                </a:cubicBezTo>
                <a:cubicBezTo>
                  <a:pt x="1763016" y="2399892"/>
                  <a:pt x="1766115" y="2401607"/>
                  <a:pt x="1769587" y="2403322"/>
                </a:cubicBezTo>
                <a:cubicBezTo>
                  <a:pt x="1773059" y="2405037"/>
                  <a:pt x="1777213" y="2405961"/>
                  <a:pt x="1782051" y="2406093"/>
                </a:cubicBezTo>
                <a:cubicBezTo>
                  <a:pt x="1789704" y="2405936"/>
                  <a:pt x="1795458" y="2404155"/>
                  <a:pt x="1799313" y="2400749"/>
                </a:cubicBezTo>
                <a:cubicBezTo>
                  <a:pt x="1803168" y="2397344"/>
                  <a:pt x="1805097" y="2393258"/>
                  <a:pt x="1805102" y="2388491"/>
                </a:cubicBezTo>
                <a:cubicBezTo>
                  <a:pt x="1804798" y="2382205"/>
                  <a:pt x="1801764" y="2377501"/>
                  <a:pt x="1795999" y="2374379"/>
                </a:cubicBezTo>
                <a:cubicBezTo>
                  <a:pt x="1790235" y="2371256"/>
                  <a:pt x="1783559" y="2368451"/>
                  <a:pt x="1775974" y="2365964"/>
                </a:cubicBezTo>
                <a:cubicBezTo>
                  <a:pt x="1768389" y="2363477"/>
                  <a:pt x="1761714" y="2360043"/>
                  <a:pt x="1755949" y="2355663"/>
                </a:cubicBezTo>
                <a:cubicBezTo>
                  <a:pt x="1750184" y="2351284"/>
                  <a:pt x="1747150" y="2344694"/>
                  <a:pt x="1746847" y="2335894"/>
                </a:cubicBezTo>
                <a:cubicBezTo>
                  <a:pt x="1747030" y="2326730"/>
                  <a:pt x="1750435" y="2319702"/>
                  <a:pt x="1757062" y="2314808"/>
                </a:cubicBezTo>
                <a:cubicBezTo>
                  <a:pt x="1763689" y="2309914"/>
                  <a:pt x="1772438" y="2307443"/>
                  <a:pt x="1783308" y="2307395"/>
                </a:cubicBezTo>
                <a:close/>
                <a:moveTo>
                  <a:pt x="1675200" y="2307395"/>
                </a:moveTo>
                <a:cubicBezTo>
                  <a:pt x="1688205" y="2307539"/>
                  <a:pt x="1697661" y="2310604"/>
                  <a:pt x="1703567" y="2316589"/>
                </a:cubicBezTo>
                <a:cubicBezTo>
                  <a:pt x="1709474" y="2322574"/>
                  <a:pt x="1712382" y="2330616"/>
                  <a:pt x="1712290" y="2340713"/>
                </a:cubicBezTo>
                <a:lnTo>
                  <a:pt x="1712290" y="2409446"/>
                </a:lnTo>
                <a:cubicBezTo>
                  <a:pt x="1712246" y="2410956"/>
                  <a:pt x="1711705" y="2412231"/>
                  <a:pt x="1710666" y="2413270"/>
                </a:cubicBezTo>
                <a:cubicBezTo>
                  <a:pt x="1709627" y="2414309"/>
                  <a:pt x="1708352" y="2414851"/>
                  <a:pt x="1706842" y="2414894"/>
                </a:cubicBezTo>
                <a:lnTo>
                  <a:pt x="1701603" y="2414894"/>
                </a:lnTo>
                <a:cubicBezTo>
                  <a:pt x="1700093" y="2414851"/>
                  <a:pt x="1698818" y="2414309"/>
                  <a:pt x="1697779" y="2413270"/>
                </a:cubicBezTo>
                <a:cubicBezTo>
                  <a:pt x="1696740" y="2412231"/>
                  <a:pt x="1696198" y="2410956"/>
                  <a:pt x="1696155" y="2409446"/>
                </a:cubicBezTo>
                <a:lnTo>
                  <a:pt x="1696155" y="2342809"/>
                </a:lnTo>
                <a:cubicBezTo>
                  <a:pt x="1696207" y="2335396"/>
                  <a:pt x="1694321" y="2329581"/>
                  <a:pt x="1690497" y="2325364"/>
                </a:cubicBezTo>
                <a:cubicBezTo>
                  <a:pt x="1686673" y="2321147"/>
                  <a:pt x="1680595" y="2318999"/>
                  <a:pt x="1672266" y="2318920"/>
                </a:cubicBezTo>
                <a:cubicBezTo>
                  <a:pt x="1663316" y="2318925"/>
                  <a:pt x="1656803" y="2319859"/>
                  <a:pt x="1652725" y="2321723"/>
                </a:cubicBezTo>
                <a:cubicBezTo>
                  <a:pt x="1648648" y="2323587"/>
                  <a:pt x="1646640" y="2326355"/>
                  <a:pt x="1646701" y="2330026"/>
                </a:cubicBezTo>
                <a:lnTo>
                  <a:pt x="1646701" y="2409446"/>
                </a:lnTo>
                <a:cubicBezTo>
                  <a:pt x="1646657" y="2410956"/>
                  <a:pt x="1646116" y="2412231"/>
                  <a:pt x="1645077" y="2413270"/>
                </a:cubicBezTo>
                <a:cubicBezTo>
                  <a:pt x="1644038" y="2414309"/>
                  <a:pt x="1642763" y="2414851"/>
                  <a:pt x="1641253" y="2414894"/>
                </a:cubicBezTo>
                <a:lnTo>
                  <a:pt x="1636014" y="2414894"/>
                </a:lnTo>
                <a:cubicBezTo>
                  <a:pt x="1634503" y="2414851"/>
                  <a:pt x="1633229" y="2414309"/>
                  <a:pt x="1632189" y="2413270"/>
                </a:cubicBezTo>
                <a:cubicBezTo>
                  <a:pt x="1631151" y="2412231"/>
                  <a:pt x="1630609" y="2410956"/>
                  <a:pt x="1630566" y="2409446"/>
                </a:cubicBezTo>
                <a:lnTo>
                  <a:pt x="1630566" y="2315567"/>
                </a:lnTo>
                <a:cubicBezTo>
                  <a:pt x="1630609" y="2314057"/>
                  <a:pt x="1631151" y="2312782"/>
                  <a:pt x="1632189" y="2311743"/>
                </a:cubicBezTo>
                <a:cubicBezTo>
                  <a:pt x="1633229" y="2310704"/>
                  <a:pt x="1634503" y="2310163"/>
                  <a:pt x="1636014" y="2310119"/>
                </a:cubicBezTo>
                <a:lnTo>
                  <a:pt x="1641253" y="2310119"/>
                </a:lnTo>
                <a:cubicBezTo>
                  <a:pt x="1642763" y="2310163"/>
                  <a:pt x="1644038" y="2310704"/>
                  <a:pt x="1645077" y="2311743"/>
                </a:cubicBezTo>
                <a:cubicBezTo>
                  <a:pt x="1646116" y="2312782"/>
                  <a:pt x="1646657" y="2314057"/>
                  <a:pt x="1646701" y="2315567"/>
                </a:cubicBezTo>
                <a:lnTo>
                  <a:pt x="1646701" y="2316406"/>
                </a:lnTo>
                <a:cubicBezTo>
                  <a:pt x="1649499" y="2313647"/>
                  <a:pt x="1653227" y="2311464"/>
                  <a:pt x="1657886" y="2309857"/>
                </a:cubicBezTo>
                <a:cubicBezTo>
                  <a:pt x="1662544" y="2308251"/>
                  <a:pt x="1668315" y="2307430"/>
                  <a:pt x="1675200" y="2307395"/>
                </a:cubicBezTo>
                <a:close/>
                <a:moveTo>
                  <a:pt x="1556499" y="2307395"/>
                </a:moveTo>
                <a:cubicBezTo>
                  <a:pt x="1566535" y="2307517"/>
                  <a:pt x="1575194" y="2310044"/>
                  <a:pt x="1582475" y="2314978"/>
                </a:cubicBezTo>
                <a:cubicBezTo>
                  <a:pt x="1589757" y="2319911"/>
                  <a:pt x="1595373" y="2326521"/>
                  <a:pt x="1599325" y="2334807"/>
                </a:cubicBezTo>
                <a:cubicBezTo>
                  <a:pt x="1603277" y="2343094"/>
                  <a:pt x="1605277" y="2352327"/>
                  <a:pt x="1605324" y="2362507"/>
                </a:cubicBezTo>
                <a:cubicBezTo>
                  <a:pt x="1605277" y="2372687"/>
                  <a:pt x="1603277" y="2381920"/>
                  <a:pt x="1599325" y="2390206"/>
                </a:cubicBezTo>
                <a:cubicBezTo>
                  <a:pt x="1595373" y="2398492"/>
                  <a:pt x="1589757" y="2405102"/>
                  <a:pt x="1582475" y="2410036"/>
                </a:cubicBezTo>
                <a:cubicBezTo>
                  <a:pt x="1575194" y="2414969"/>
                  <a:pt x="1566535" y="2417497"/>
                  <a:pt x="1556499" y="2417618"/>
                </a:cubicBezTo>
                <a:cubicBezTo>
                  <a:pt x="1546465" y="2417497"/>
                  <a:pt x="1537825" y="2414969"/>
                  <a:pt x="1530577" y="2410036"/>
                </a:cubicBezTo>
                <a:cubicBezTo>
                  <a:pt x="1523329" y="2405102"/>
                  <a:pt x="1517747" y="2398492"/>
                  <a:pt x="1513829" y="2390206"/>
                </a:cubicBezTo>
                <a:cubicBezTo>
                  <a:pt x="1509911" y="2381920"/>
                  <a:pt x="1507929" y="2372687"/>
                  <a:pt x="1507883" y="2362507"/>
                </a:cubicBezTo>
                <a:cubicBezTo>
                  <a:pt x="1507929" y="2352327"/>
                  <a:pt x="1509911" y="2343094"/>
                  <a:pt x="1513829" y="2334807"/>
                </a:cubicBezTo>
                <a:cubicBezTo>
                  <a:pt x="1517747" y="2326521"/>
                  <a:pt x="1523329" y="2319911"/>
                  <a:pt x="1530577" y="2314978"/>
                </a:cubicBezTo>
                <a:cubicBezTo>
                  <a:pt x="1537825" y="2310044"/>
                  <a:pt x="1546465" y="2307517"/>
                  <a:pt x="1556499" y="2307395"/>
                </a:cubicBezTo>
                <a:close/>
                <a:moveTo>
                  <a:pt x="1156449" y="2307395"/>
                </a:moveTo>
                <a:cubicBezTo>
                  <a:pt x="1166486" y="2307517"/>
                  <a:pt x="1175144" y="2310044"/>
                  <a:pt x="1182426" y="2314978"/>
                </a:cubicBezTo>
                <a:cubicBezTo>
                  <a:pt x="1189707" y="2319911"/>
                  <a:pt x="1195323" y="2326521"/>
                  <a:pt x="1199275" y="2334807"/>
                </a:cubicBezTo>
                <a:cubicBezTo>
                  <a:pt x="1203227" y="2343094"/>
                  <a:pt x="1205227" y="2352327"/>
                  <a:pt x="1205274" y="2362507"/>
                </a:cubicBezTo>
                <a:cubicBezTo>
                  <a:pt x="1205227" y="2372687"/>
                  <a:pt x="1203227" y="2381920"/>
                  <a:pt x="1199275" y="2390206"/>
                </a:cubicBezTo>
                <a:cubicBezTo>
                  <a:pt x="1195323" y="2398492"/>
                  <a:pt x="1189707" y="2405102"/>
                  <a:pt x="1182426" y="2410036"/>
                </a:cubicBezTo>
                <a:cubicBezTo>
                  <a:pt x="1175144" y="2414969"/>
                  <a:pt x="1166486" y="2417497"/>
                  <a:pt x="1156449" y="2417618"/>
                </a:cubicBezTo>
                <a:cubicBezTo>
                  <a:pt x="1146415" y="2417497"/>
                  <a:pt x="1137775" y="2414969"/>
                  <a:pt x="1130527" y="2410036"/>
                </a:cubicBezTo>
                <a:cubicBezTo>
                  <a:pt x="1123279" y="2405102"/>
                  <a:pt x="1117697" y="2398492"/>
                  <a:pt x="1113779" y="2390206"/>
                </a:cubicBezTo>
                <a:cubicBezTo>
                  <a:pt x="1109860" y="2381920"/>
                  <a:pt x="1107879" y="2372687"/>
                  <a:pt x="1107833" y="2362507"/>
                </a:cubicBezTo>
                <a:cubicBezTo>
                  <a:pt x="1107879" y="2352327"/>
                  <a:pt x="1109860" y="2343094"/>
                  <a:pt x="1113779" y="2334807"/>
                </a:cubicBezTo>
                <a:cubicBezTo>
                  <a:pt x="1117697" y="2326521"/>
                  <a:pt x="1123279" y="2319911"/>
                  <a:pt x="1130527" y="2314978"/>
                </a:cubicBezTo>
                <a:cubicBezTo>
                  <a:pt x="1137775" y="2310044"/>
                  <a:pt x="1146415" y="2307517"/>
                  <a:pt x="1156449" y="2307395"/>
                </a:cubicBezTo>
                <a:close/>
                <a:moveTo>
                  <a:pt x="1049883" y="2307395"/>
                </a:moveTo>
                <a:cubicBezTo>
                  <a:pt x="1060357" y="2307517"/>
                  <a:pt x="1068538" y="2308897"/>
                  <a:pt x="1074427" y="2311534"/>
                </a:cubicBezTo>
                <a:cubicBezTo>
                  <a:pt x="1080316" y="2314170"/>
                  <a:pt x="1083311" y="2317331"/>
                  <a:pt x="1083411" y="2321016"/>
                </a:cubicBezTo>
                <a:cubicBezTo>
                  <a:pt x="1083377" y="2322937"/>
                  <a:pt x="1082765" y="2324491"/>
                  <a:pt x="1081578" y="2325678"/>
                </a:cubicBezTo>
                <a:cubicBezTo>
                  <a:pt x="1080390" y="2326866"/>
                  <a:pt x="1078836" y="2327477"/>
                  <a:pt x="1076915" y="2327512"/>
                </a:cubicBezTo>
                <a:cubicBezTo>
                  <a:pt x="1074291" y="2327406"/>
                  <a:pt x="1071810" y="2326663"/>
                  <a:pt x="1069472" y="2325284"/>
                </a:cubicBezTo>
                <a:cubicBezTo>
                  <a:pt x="1067135" y="2323905"/>
                  <a:pt x="1064344" y="2322527"/>
                  <a:pt x="1061098" y="2321148"/>
                </a:cubicBezTo>
                <a:cubicBezTo>
                  <a:pt x="1057853" y="2319769"/>
                  <a:pt x="1053556" y="2319026"/>
                  <a:pt x="1048207" y="2318920"/>
                </a:cubicBezTo>
                <a:cubicBezTo>
                  <a:pt x="1042244" y="2319012"/>
                  <a:pt x="1037459" y="2320453"/>
                  <a:pt x="1033853" y="2323242"/>
                </a:cubicBezTo>
                <a:cubicBezTo>
                  <a:pt x="1030247" y="2326032"/>
                  <a:pt x="1028396" y="2329620"/>
                  <a:pt x="1028300" y="2334008"/>
                </a:cubicBezTo>
                <a:cubicBezTo>
                  <a:pt x="1028609" y="2339783"/>
                  <a:pt x="1031697" y="2344172"/>
                  <a:pt x="1037566" y="2347173"/>
                </a:cubicBezTo>
                <a:cubicBezTo>
                  <a:pt x="1043434" y="2350175"/>
                  <a:pt x="1050229" y="2352973"/>
                  <a:pt x="1057951" y="2355565"/>
                </a:cubicBezTo>
                <a:cubicBezTo>
                  <a:pt x="1065673" y="2358158"/>
                  <a:pt x="1072468" y="2361728"/>
                  <a:pt x="1078336" y="2366275"/>
                </a:cubicBezTo>
                <a:cubicBezTo>
                  <a:pt x="1084205" y="2370823"/>
                  <a:pt x="1087293" y="2377529"/>
                  <a:pt x="1087602" y="2386395"/>
                </a:cubicBezTo>
                <a:cubicBezTo>
                  <a:pt x="1087432" y="2396039"/>
                  <a:pt x="1083739" y="2403626"/>
                  <a:pt x="1076522" y="2409158"/>
                </a:cubicBezTo>
                <a:cubicBezTo>
                  <a:pt x="1069306" y="2414689"/>
                  <a:pt x="1059588" y="2417509"/>
                  <a:pt x="1047369" y="2417618"/>
                </a:cubicBezTo>
                <a:cubicBezTo>
                  <a:pt x="1036616" y="2417509"/>
                  <a:pt x="1027998" y="2415999"/>
                  <a:pt x="1021515" y="2413087"/>
                </a:cubicBezTo>
                <a:cubicBezTo>
                  <a:pt x="1015033" y="2410175"/>
                  <a:pt x="1011706" y="2406516"/>
                  <a:pt x="1011536" y="2402112"/>
                </a:cubicBezTo>
                <a:cubicBezTo>
                  <a:pt x="1011566" y="2399999"/>
                  <a:pt x="1012239" y="2398357"/>
                  <a:pt x="1013553" y="2397187"/>
                </a:cubicBezTo>
                <a:cubicBezTo>
                  <a:pt x="1014867" y="2396017"/>
                  <a:pt x="1016639" y="2395424"/>
                  <a:pt x="1018870" y="2395406"/>
                </a:cubicBezTo>
                <a:cubicBezTo>
                  <a:pt x="1021473" y="2395538"/>
                  <a:pt x="1024137" y="2396462"/>
                  <a:pt x="1026864" y="2398177"/>
                </a:cubicBezTo>
                <a:cubicBezTo>
                  <a:pt x="1029591" y="2399892"/>
                  <a:pt x="1032690" y="2401607"/>
                  <a:pt x="1036162" y="2403322"/>
                </a:cubicBezTo>
                <a:cubicBezTo>
                  <a:pt x="1039633" y="2405037"/>
                  <a:pt x="1043788" y="2405961"/>
                  <a:pt x="1048626" y="2406093"/>
                </a:cubicBezTo>
                <a:cubicBezTo>
                  <a:pt x="1056279" y="2405936"/>
                  <a:pt x="1062033" y="2404155"/>
                  <a:pt x="1065888" y="2400749"/>
                </a:cubicBezTo>
                <a:cubicBezTo>
                  <a:pt x="1069743" y="2397344"/>
                  <a:pt x="1071672" y="2393258"/>
                  <a:pt x="1071677" y="2388491"/>
                </a:cubicBezTo>
                <a:cubicBezTo>
                  <a:pt x="1071373" y="2382205"/>
                  <a:pt x="1068339" y="2377501"/>
                  <a:pt x="1062574" y="2374379"/>
                </a:cubicBezTo>
                <a:cubicBezTo>
                  <a:pt x="1056809" y="2371256"/>
                  <a:pt x="1050135" y="2368451"/>
                  <a:pt x="1042549" y="2365964"/>
                </a:cubicBezTo>
                <a:cubicBezTo>
                  <a:pt x="1034964" y="2363477"/>
                  <a:pt x="1028289" y="2360043"/>
                  <a:pt x="1022524" y="2355663"/>
                </a:cubicBezTo>
                <a:cubicBezTo>
                  <a:pt x="1016759" y="2351284"/>
                  <a:pt x="1013725" y="2344694"/>
                  <a:pt x="1013422" y="2335894"/>
                </a:cubicBezTo>
                <a:cubicBezTo>
                  <a:pt x="1013605" y="2326730"/>
                  <a:pt x="1017010" y="2319702"/>
                  <a:pt x="1023637" y="2314808"/>
                </a:cubicBezTo>
                <a:cubicBezTo>
                  <a:pt x="1030264" y="2309914"/>
                  <a:pt x="1039013" y="2307443"/>
                  <a:pt x="1049883" y="2307395"/>
                </a:cubicBezTo>
                <a:close/>
                <a:moveTo>
                  <a:pt x="907751" y="2307395"/>
                </a:moveTo>
                <a:cubicBezTo>
                  <a:pt x="916789" y="2307515"/>
                  <a:pt x="924488" y="2309766"/>
                  <a:pt x="930848" y="2314147"/>
                </a:cubicBezTo>
                <a:cubicBezTo>
                  <a:pt x="937209" y="2318528"/>
                  <a:pt x="942067" y="2324318"/>
                  <a:pt x="945424" y="2331517"/>
                </a:cubicBezTo>
                <a:cubicBezTo>
                  <a:pt x="948781" y="2338715"/>
                  <a:pt x="950472" y="2346600"/>
                  <a:pt x="950500" y="2355172"/>
                </a:cubicBezTo>
                <a:cubicBezTo>
                  <a:pt x="950543" y="2358438"/>
                  <a:pt x="950142" y="2360603"/>
                  <a:pt x="949295" y="2361668"/>
                </a:cubicBezTo>
                <a:cubicBezTo>
                  <a:pt x="948448" y="2362734"/>
                  <a:pt x="946893" y="2363223"/>
                  <a:pt x="944632" y="2363135"/>
                </a:cubicBezTo>
                <a:lnTo>
                  <a:pt x="876109" y="2363135"/>
                </a:lnTo>
                <a:cubicBezTo>
                  <a:pt x="876550" y="2376900"/>
                  <a:pt x="879964" y="2387351"/>
                  <a:pt x="886351" y="2394489"/>
                </a:cubicBezTo>
                <a:cubicBezTo>
                  <a:pt x="892738" y="2401627"/>
                  <a:pt x="900710" y="2405216"/>
                  <a:pt x="910266" y="2405255"/>
                </a:cubicBezTo>
                <a:cubicBezTo>
                  <a:pt x="916452" y="2405146"/>
                  <a:pt x="921380" y="2404386"/>
                  <a:pt x="925051" y="2402973"/>
                </a:cubicBezTo>
                <a:cubicBezTo>
                  <a:pt x="928722" y="2401560"/>
                  <a:pt x="931741" y="2400148"/>
                  <a:pt x="934108" y="2398736"/>
                </a:cubicBezTo>
                <a:cubicBezTo>
                  <a:pt x="936475" y="2397323"/>
                  <a:pt x="938796" y="2396562"/>
                  <a:pt x="941070" y="2396454"/>
                </a:cubicBezTo>
                <a:cubicBezTo>
                  <a:pt x="942982" y="2396480"/>
                  <a:pt x="944501" y="2397056"/>
                  <a:pt x="945628" y="2398182"/>
                </a:cubicBezTo>
                <a:cubicBezTo>
                  <a:pt x="946754" y="2399309"/>
                  <a:pt x="947330" y="2400828"/>
                  <a:pt x="947356" y="2402740"/>
                </a:cubicBezTo>
                <a:cubicBezTo>
                  <a:pt x="947243" y="2406569"/>
                  <a:pt x="943960" y="2409965"/>
                  <a:pt x="937507" y="2412930"/>
                </a:cubicBezTo>
                <a:cubicBezTo>
                  <a:pt x="931055" y="2415894"/>
                  <a:pt x="922114" y="2417457"/>
                  <a:pt x="910685" y="2417618"/>
                </a:cubicBezTo>
                <a:cubicBezTo>
                  <a:pt x="894554" y="2417286"/>
                  <a:pt x="882129" y="2412135"/>
                  <a:pt x="873411" y="2402164"/>
                </a:cubicBezTo>
                <a:cubicBezTo>
                  <a:pt x="864693" y="2392193"/>
                  <a:pt x="860284" y="2379393"/>
                  <a:pt x="860184" y="2363764"/>
                </a:cubicBezTo>
                <a:cubicBezTo>
                  <a:pt x="860489" y="2347297"/>
                  <a:pt x="865064" y="2333868"/>
                  <a:pt x="873909" y="2323478"/>
                </a:cubicBezTo>
                <a:cubicBezTo>
                  <a:pt x="882754" y="2313088"/>
                  <a:pt x="894035" y="2307727"/>
                  <a:pt x="907751" y="2307395"/>
                </a:cubicBezTo>
                <a:close/>
                <a:moveTo>
                  <a:pt x="572071" y="2307395"/>
                </a:moveTo>
                <a:cubicBezTo>
                  <a:pt x="585448" y="2307439"/>
                  <a:pt x="595366" y="2310180"/>
                  <a:pt x="601827" y="2315620"/>
                </a:cubicBezTo>
                <a:cubicBezTo>
                  <a:pt x="608289" y="2321059"/>
                  <a:pt x="611502" y="2328935"/>
                  <a:pt x="611467" y="2339247"/>
                </a:cubicBezTo>
                <a:lnTo>
                  <a:pt x="611467" y="2409446"/>
                </a:lnTo>
                <a:cubicBezTo>
                  <a:pt x="611423" y="2410956"/>
                  <a:pt x="610882" y="2412231"/>
                  <a:pt x="609843" y="2413270"/>
                </a:cubicBezTo>
                <a:cubicBezTo>
                  <a:pt x="608804" y="2414309"/>
                  <a:pt x="607529" y="2414851"/>
                  <a:pt x="606019" y="2414894"/>
                </a:cubicBezTo>
                <a:lnTo>
                  <a:pt x="600780" y="2414894"/>
                </a:lnTo>
                <a:cubicBezTo>
                  <a:pt x="599269" y="2414851"/>
                  <a:pt x="597994" y="2414309"/>
                  <a:pt x="596955" y="2413270"/>
                </a:cubicBezTo>
                <a:cubicBezTo>
                  <a:pt x="595916" y="2412231"/>
                  <a:pt x="595375" y="2410956"/>
                  <a:pt x="595331" y="2409446"/>
                </a:cubicBezTo>
                <a:lnTo>
                  <a:pt x="595331" y="2406722"/>
                </a:lnTo>
                <a:cubicBezTo>
                  <a:pt x="592585" y="2410109"/>
                  <a:pt x="588595" y="2412764"/>
                  <a:pt x="583361" y="2414685"/>
                </a:cubicBezTo>
                <a:cubicBezTo>
                  <a:pt x="578126" y="2416606"/>
                  <a:pt x="571779" y="2417583"/>
                  <a:pt x="564318" y="2417618"/>
                </a:cubicBezTo>
                <a:cubicBezTo>
                  <a:pt x="552622" y="2417714"/>
                  <a:pt x="543638" y="2415427"/>
                  <a:pt x="537365" y="2410756"/>
                </a:cubicBezTo>
                <a:cubicBezTo>
                  <a:pt x="531091" y="2406084"/>
                  <a:pt x="527922" y="2398453"/>
                  <a:pt x="527856" y="2387862"/>
                </a:cubicBezTo>
                <a:cubicBezTo>
                  <a:pt x="527581" y="2376896"/>
                  <a:pt x="530803" y="2369020"/>
                  <a:pt x="537522" y="2364235"/>
                </a:cubicBezTo>
                <a:cubicBezTo>
                  <a:pt x="544241" y="2359451"/>
                  <a:pt x="556106" y="2356290"/>
                  <a:pt x="573119" y="2354753"/>
                </a:cubicBezTo>
                <a:cubicBezTo>
                  <a:pt x="582139" y="2353972"/>
                  <a:pt x="588250" y="2352863"/>
                  <a:pt x="591455" y="2351427"/>
                </a:cubicBezTo>
                <a:cubicBezTo>
                  <a:pt x="594659" y="2349990"/>
                  <a:pt x="596161" y="2347258"/>
                  <a:pt x="595960" y="2343228"/>
                </a:cubicBezTo>
                <a:lnTo>
                  <a:pt x="595960" y="2339037"/>
                </a:lnTo>
                <a:cubicBezTo>
                  <a:pt x="596025" y="2332606"/>
                  <a:pt x="594166" y="2327656"/>
                  <a:pt x="590381" y="2324185"/>
                </a:cubicBezTo>
                <a:cubicBezTo>
                  <a:pt x="586596" y="2320715"/>
                  <a:pt x="580493" y="2318960"/>
                  <a:pt x="572071" y="2318920"/>
                </a:cubicBezTo>
                <a:cubicBezTo>
                  <a:pt x="566737" y="2319032"/>
                  <a:pt x="562132" y="2319810"/>
                  <a:pt x="558257" y="2321256"/>
                </a:cubicBezTo>
                <a:cubicBezTo>
                  <a:pt x="554381" y="2322703"/>
                  <a:pt x="550971" y="2324149"/>
                  <a:pt x="548027" y="2325595"/>
                </a:cubicBezTo>
                <a:cubicBezTo>
                  <a:pt x="545083" y="2327041"/>
                  <a:pt x="542341" y="2327820"/>
                  <a:pt x="539801" y="2327931"/>
                </a:cubicBezTo>
                <a:cubicBezTo>
                  <a:pt x="538081" y="2327918"/>
                  <a:pt x="536649" y="2327368"/>
                  <a:pt x="535505" y="2326281"/>
                </a:cubicBezTo>
                <a:cubicBezTo>
                  <a:pt x="534361" y="2325194"/>
                  <a:pt x="533767" y="2323648"/>
                  <a:pt x="533724" y="2321644"/>
                </a:cubicBezTo>
                <a:cubicBezTo>
                  <a:pt x="533933" y="2317475"/>
                  <a:pt x="537548" y="2314079"/>
                  <a:pt x="544568" y="2311455"/>
                </a:cubicBezTo>
                <a:cubicBezTo>
                  <a:pt x="551588" y="2308831"/>
                  <a:pt x="560756" y="2307478"/>
                  <a:pt x="572071" y="2307395"/>
                </a:cubicBezTo>
                <a:close/>
                <a:moveTo>
                  <a:pt x="365874" y="2307395"/>
                </a:moveTo>
                <a:cubicBezTo>
                  <a:pt x="375911" y="2307517"/>
                  <a:pt x="384569" y="2310044"/>
                  <a:pt x="391851" y="2314978"/>
                </a:cubicBezTo>
                <a:cubicBezTo>
                  <a:pt x="399132" y="2319911"/>
                  <a:pt x="404748" y="2326521"/>
                  <a:pt x="408700" y="2334807"/>
                </a:cubicBezTo>
                <a:cubicBezTo>
                  <a:pt x="412652" y="2343094"/>
                  <a:pt x="414651" y="2352327"/>
                  <a:pt x="414699" y="2362507"/>
                </a:cubicBezTo>
                <a:cubicBezTo>
                  <a:pt x="414651" y="2372687"/>
                  <a:pt x="412652" y="2381920"/>
                  <a:pt x="408700" y="2390206"/>
                </a:cubicBezTo>
                <a:cubicBezTo>
                  <a:pt x="404748" y="2398492"/>
                  <a:pt x="399132" y="2405102"/>
                  <a:pt x="391851" y="2410036"/>
                </a:cubicBezTo>
                <a:cubicBezTo>
                  <a:pt x="384569" y="2414969"/>
                  <a:pt x="375911" y="2417497"/>
                  <a:pt x="365874" y="2417618"/>
                </a:cubicBezTo>
                <a:cubicBezTo>
                  <a:pt x="355840" y="2417497"/>
                  <a:pt x="347200" y="2414969"/>
                  <a:pt x="339952" y="2410036"/>
                </a:cubicBezTo>
                <a:cubicBezTo>
                  <a:pt x="332704" y="2405102"/>
                  <a:pt x="327122" y="2398492"/>
                  <a:pt x="323204" y="2390206"/>
                </a:cubicBezTo>
                <a:cubicBezTo>
                  <a:pt x="319285" y="2381920"/>
                  <a:pt x="317304" y="2372687"/>
                  <a:pt x="317259" y="2362507"/>
                </a:cubicBezTo>
                <a:cubicBezTo>
                  <a:pt x="317304" y="2352327"/>
                  <a:pt x="319285" y="2343094"/>
                  <a:pt x="323204" y="2334807"/>
                </a:cubicBezTo>
                <a:cubicBezTo>
                  <a:pt x="327122" y="2326521"/>
                  <a:pt x="332704" y="2319911"/>
                  <a:pt x="339952" y="2314978"/>
                </a:cubicBezTo>
                <a:cubicBezTo>
                  <a:pt x="347200" y="2310044"/>
                  <a:pt x="355840" y="2307517"/>
                  <a:pt x="365874" y="2307395"/>
                </a:cubicBezTo>
                <a:close/>
                <a:moveTo>
                  <a:pt x="246450" y="2307395"/>
                </a:moveTo>
                <a:cubicBezTo>
                  <a:pt x="259455" y="2307539"/>
                  <a:pt x="268911" y="2310604"/>
                  <a:pt x="274817" y="2316589"/>
                </a:cubicBezTo>
                <a:cubicBezTo>
                  <a:pt x="280724" y="2322574"/>
                  <a:pt x="283632" y="2330616"/>
                  <a:pt x="283540" y="2340713"/>
                </a:cubicBezTo>
                <a:lnTo>
                  <a:pt x="283540" y="2409446"/>
                </a:lnTo>
                <a:cubicBezTo>
                  <a:pt x="283496" y="2410956"/>
                  <a:pt x="282955" y="2412231"/>
                  <a:pt x="281916" y="2413270"/>
                </a:cubicBezTo>
                <a:cubicBezTo>
                  <a:pt x="280877" y="2414309"/>
                  <a:pt x="279602" y="2414851"/>
                  <a:pt x="278092" y="2414894"/>
                </a:cubicBezTo>
                <a:lnTo>
                  <a:pt x="272853" y="2414894"/>
                </a:lnTo>
                <a:cubicBezTo>
                  <a:pt x="271342" y="2414851"/>
                  <a:pt x="270068" y="2414309"/>
                  <a:pt x="269029" y="2413270"/>
                </a:cubicBezTo>
                <a:cubicBezTo>
                  <a:pt x="267990" y="2412231"/>
                  <a:pt x="267448" y="2410956"/>
                  <a:pt x="267405" y="2409446"/>
                </a:cubicBezTo>
                <a:lnTo>
                  <a:pt x="267405" y="2342809"/>
                </a:lnTo>
                <a:cubicBezTo>
                  <a:pt x="267457" y="2335396"/>
                  <a:pt x="265571" y="2329581"/>
                  <a:pt x="261747" y="2325364"/>
                </a:cubicBezTo>
                <a:cubicBezTo>
                  <a:pt x="257923" y="2321147"/>
                  <a:pt x="251846" y="2318999"/>
                  <a:pt x="243516" y="2318920"/>
                </a:cubicBezTo>
                <a:cubicBezTo>
                  <a:pt x="234566" y="2318925"/>
                  <a:pt x="228053" y="2319859"/>
                  <a:pt x="223975" y="2321723"/>
                </a:cubicBezTo>
                <a:cubicBezTo>
                  <a:pt x="219898" y="2323587"/>
                  <a:pt x="217890" y="2326355"/>
                  <a:pt x="217951" y="2330026"/>
                </a:cubicBezTo>
                <a:lnTo>
                  <a:pt x="217951" y="2409446"/>
                </a:lnTo>
                <a:cubicBezTo>
                  <a:pt x="217907" y="2410956"/>
                  <a:pt x="217366" y="2412231"/>
                  <a:pt x="216327" y="2413270"/>
                </a:cubicBezTo>
                <a:cubicBezTo>
                  <a:pt x="215288" y="2414309"/>
                  <a:pt x="214013" y="2414851"/>
                  <a:pt x="212503" y="2414894"/>
                </a:cubicBezTo>
                <a:lnTo>
                  <a:pt x="207264" y="2414894"/>
                </a:lnTo>
                <a:cubicBezTo>
                  <a:pt x="205753" y="2414851"/>
                  <a:pt x="204479" y="2414309"/>
                  <a:pt x="203440" y="2413270"/>
                </a:cubicBezTo>
                <a:cubicBezTo>
                  <a:pt x="202401" y="2412231"/>
                  <a:pt x="201859" y="2410956"/>
                  <a:pt x="201816" y="2409446"/>
                </a:cubicBezTo>
                <a:lnTo>
                  <a:pt x="201816" y="2315567"/>
                </a:lnTo>
                <a:cubicBezTo>
                  <a:pt x="201859" y="2314057"/>
                  <a:pt x="202401" y="2312782"/>
                  <a:pt x="203440" y="2311743"/>
                </a:cubicBezTo>
                <a:cubicBezTo>
                  <a:pt x="204479" y="2310704"/>
                  <a:pt x="205753" y="2310163"/>
                  <a:pt x="207264" y="2310119"/>
                </a:cubicBezTo>
                <a:lnTo>
                  <a:pt x="212503" y="2310119"/>
                </a:lnTo>
                <a:cubicBezTo>
                  <a:pt x="214013" y="2310163"/>
                  <a:pt x="215288" y="2310704"/>
                  <a:pt x="216327" y="2311743"/>
                </a:cubicBezTo>
                <a:cubicBezTo>
                  <a:pt x="217366" y="2312782"/>
                  <a:pt x="217907" y="2314057"/>
                  <a:pt x="217951" y="2315567"/>
                </a:cubicBezTo>
                <a:lnTo>
                  <a:pt x="217951" y="2316406"/>
                </a:lnTo>
                <a:cubicBezTo>
                  <a:pt x="220749" y="2313647"/>
                  <a:pt x="224477" y="2311464"/>
                  <a:pt x="229136" y="2309857"/>
                </a:cubicBezTo>
                <a:cubicBezTo>
                  <a:pt x="233794" y="2308251"/>
                  <a:pt x="239565" y="2307430"/>
                  <a:pt x="246450" y="2307395"/>
                </a:cubicBezTo>
                <a:close/>
                <a:moveTo>
                  <a:pt x="122625" y="2307395"/>
                </a:moveTo>
                <a:cubicBezTo>
                  <a:pt x="135630" y="2307539"/>
                  <a:pt x="145086" y="2310604"/>
                  <a:pt x="150993" y="2316589"/>
                </a:cubicBezTo>
                <a:cubicBezTo>
                  <a:pt x="156899" y="2322574"/>
                  <a:pt x="159807" y="2330616"/>
                  <a:pt x="159715" y="2340713"/>
                </a:cubicBezTo>
                <a:lnTo>
                  <a:pt x="159715" y="2409446"/>
                </a:lnTo>
                <a:cubicBezTo>
                  <a:pt x="159671" y="2410956"/>
                  <a:pt x="159130" y="2412231"/>
                  <a:pt x="158091" y="2413270"/>
                </a:cubicBezTo>
                <a:cubicBezTo>
                  <a:pt x="157052" y="2414309"/>
                  <a:pt x="155777" y="2414851"/>
                  <a:pt x="154267" y="2414894"/>
                </a:cubicBezTo>
                <a:lnTo>
                  <a:pt x="149028" y="2414894"/>
                </a:lnTo>
                <a:cubicBezTo>
                  <a:pt x="147517" y="2414851"/>
                  <a:pt x="146243" y="2414309"/>
                  <a:pt x="145204" y="2413270"/>
                </a:cubicBezTo>
                <a:cubicBezTo>
                  <a:pt x="144165" y="2412231"/>
                  <a:pt x="143623" y="2410956"/>
                  <a:pt x="143580" y="2409446"/>
                </a:cubicBezTo>
                <a:lnTo>
                  <a:pt x="143580" y="2342809"/>
                </a:lnTo>
                <a:cubicBezTo>
                  <a:pt x="143632" y="2335396"/>
                  <a:pt x="141746" y="2329581"/>
                  <a:pt x="137922" y="2325364"/>
                </a:cubicBezTo>
                <a:cubicBezTo>
                  <a:pt x="134098" y="2321147"/>
                  <a:pt x="128021" y="2318999"/>
                  <a:pt x="119691" y="2318920"/>
                </a:cubicBezTo>
                <a:cubicBezTo>
                  <a:pt x="110741" y="2318925"/>
                  <a:pt x="104228" y="2319859"/>
                  <a:pt x="100150" y="2321723"/>
                </a:cubicBezTo>
                <a:cubicBezTo>
                  <a:pt x="96073" y="2323587"/>
                  <a:pt x="94065" y="2326355"/>
                  <a:pt x="94126" y="2330026"/>
                </a:cubicBezTo>
                <a:lnTo>
                  <a:pt x="94126" y="2409446"/>
                </a:lnTo>
                <a:cubicBezTo>
                  <a:pt x="94082" y="2410956"/>
                  <a:pt x="93541" y="2412231"/>
                  <a:pt x="92502" y="2413270"/>
                </a:cubicBezTo>
                <a:cubicBezTo>
                  <a:pt x="91463" y="2414309"/>
                  <a:pt x="90188" y="2414851"/>
                  <a:pt x="88678" y="2414894"/>
                </a:cubicBezTo>
                <a:lnTo>
                  <a:pt x="83439" y="2414894"/>
                </a:lnTo>
                <a:cubicBezTo>
                  <a:pt x="81928" y="2414851"/>
                  <a:pt x="80654" y="2414309"/>
                  <a:pt x="79615" y="2413270"/>
                </a:cubicBezTo>
                <a:cubicBezTo>
                  <a:pt x="78576" y="2412231"/>
                  <a:pt x="78034" y="2410956"/>
                  <a:pt x="77991" y="2409446"/>
                </a:cubicBezTo>
                <a:lnTo>
                  <a:pt x="77991" y="2315567"/>
                </a:lnTo>
                <a:cubicBezTo>
                  <a:pt x="78034" y="2314057"/>
                  <a:pt x="78576" y="2312782"/>
                  <a:pt x="79615" y="2311743"/>
                </a:cubicBezTo>
                <a:cubicBezTo>
                  <a:pt x="80654" y="2310704"/>
                  <a:pt x="81928" y="2310163"/>
                  <a:pt x="83439" y="2310119"/>
                </a:cubicBezTo>
                <a:lnTo>
                  <a:pt x="88678" y="2310119"/>
                </a:lnTo>
                <a:cubicBezTo>
                  <a:pt x="90188" y="2310163"/>
                  <a:pt x="91463" y="2310704"/>
                  <a:pt x="92502" y="2311743"/>
                </a:cubicBezTo>
                <a:cubicBezTo>
                  <a:pt x="93541" y="2312782"/>
                  <a:pt x="94082" y="2314057"/>
                  <a:pt x="94126" y="2315567"/>
                </a:cubicBezTo>
                <a:lnTo>
                  <a:pt x="94126" y="2316406"/>
                </a:lnTo>
                <a:cubicBezTo>
                  <a:pt x="96924" y="2313647"/>
                  <a:pt x="100652" y="2311464"/>
                  <a:pt x="105311" y="2309857"/>
                </a:cubicBezTo>
                <a:cubicBezTo>
                  <a:pt x="109969" y="2308251"/>
                  <a:pt x="115740" y="2307430"/>
                  <a:pt x="122625" y="2307395"/>
                </a:cubicBezTo>
                <a:close/>
                <a:moveTo>
                  <a:pt x="1411605" y="2279734"/>
                </a:moveTo>
                <a:lnTo>
                  <a:pt x="1416844" y="2279734"/>
                </a:lnTo>
                <a:cubicBezTo>
                  <a:pt x="1418354" y="2279778"/>
                  <a:pt x="1419629" y="2280319"/>
                  <a:pt x="1420668" y="2281358"/>
                </a:cubicBezTo>
                <a:cubicBezTo>
                  <a:pt x="1421707" y="2282397"/>
                  <a:pt x="1422248" y="2283672"/>
                  <a:pt x="1422292" y="2285183"/>
                </a:cubicBezTo>
                <a:lnTo>
                  <a:pt x="1422292" y="2310119"/>
                </a:lnTo>
                <a:lnTo>
                  <a:pt x="1446809" y="2310119"/>
                </a:lnTo>
                <a:cubicBezTo>
                  <a:pt x="1448320" y="2310163"/>
                  <a:pt x="1449595" y="2310704"/>
                  <a:pt x="1450634" y="2311743"/>
                </a:cubicBezTo>
                <a:cubicBezTo>
                  <a:pt x="1451673" y="2312782"/>
                  <a:pt x="1452214" y="2314057"/>
                  <a:pt x="1452258" y="2315567"/>
                </a:cubicBezTo>
                <a:lnTo>
                  <a:pt x="1452258" y="2316406"/>
                </a:lnTo>
                <a:cubicBezTo>
                  <a:pt x="1452214" y="2317916"/>
                  <a:pt x="1451673" y="2319191"/>
                  <a:pt x="1450634" y="2320230"/>
                </a:cubicBezTo>
                <a:cubicBezTo>
                  <a:pt x="1449595" y="2321269"/>
                  <a:pt x="1448320" y="2321810"/>
                  <a:pt x="1446809" y="2321854"/>
                </a:cubicBezTo>
                <a:lnTo>
                  <a:pt x="1422292" y="2321854"/>
                </a:lnTo>
                <a:lnTo>
                  <a:pt x="1422292" y="2389748"/>
                </a:lnTo>
                <a:cubicBezTo>
                  <a:pt x="1422205" y="2394210"/>
                  <a:pt x="1423270" y="2397755"/>
                  <a:pt x="1425488" y="2400383"/>
                </a:cubicBezTo>
                <a:cubicBezTo>
                  <a:pt x="1427705" y="2403011"/>
                  <a:pt x="1431599" y="2404356"/>
                  <a:pt x="1437170" y="2404417"/>
                </a:cubicBezTo>
                <a:cubicBezTo>
                  <a:pt x="1439785" y="2404373"/>
                  <a:pt x="1441784" y="2404198"/>
                  <a:pt x="1443168" y="2403893"/>
                </a:cubicBezTo>
                <a:cubicBezTo>
                  <a:pt x="1444552" y="2403587"/>
                  <a:pt x="1445975" y="2403413"/>
                  <a:pt x="1447438" y="2403369"/>
                </a:cubicBezTo>
                <a:cubicBezTo>
                  <a:pt x="1448555" y="2403330"/>
                  <a:pt x="1449621" y="2403722"/>
                  <a:pt x="1450634" y="2404548"/>
                </a:cubicBezTo>
                <a:cubicBezTo>
                  <a:pt x="1451646" y="2405373"/>
                  <a:pt x="1452188" y="2406866"/>
                  <a:pt x="1452258" y="2409027"/>
                </a:cubicBezTo>
                <a:lnTo>
                  <a:pt x="1452258" y="2409655"/>
                </a:lnTo>
                <a:cubicBezTo>
                  <a:pt x="1452148" y="2411816"/>
                  <a:pt x="1451476" y="2413362"/>
                  <a:pt x="1450241" y="2414292"/>
                </a:cubicBezTo>
                <a:cubicBezTo>
                  <a:pt x="1449005" y="2415222"/>
                  <a:pt x="1447861" y="2415772"/>
                  <a:pt x="1446809" y="2415942"/>
                </a:cubicBezTo>
                <a:cubicBezTo>
                  <a:pt x="1445150" y="2416252"/>
                  <a:pt x="1443439" y="2416470"/>
                  <a:pt x="1441675" y="2416597"/>
                </a:cubicBezTo>
                <a:cubicBezTo>
                  <a:pt x="1439911" y="2416723"/>
                  <a:pt x="1437991" y="2416784"/>
                  <a:pt x="1435913" y="2416780"/>
                </a:cubicBezTo>
                <a:cubicBezTo>
                  <a:pt x="1426513" y="2416990"/>
                  <a:pt x="1419223" y="2414894"/>
                  <a:pt x="1414041" y="2410494"/>
                </a:cubicBezTo>
                <a:cubicBezTo>
                  <a:pt x="1408859" y="2406093"/>
                  <a:pt x="1406231" y="2398130"/>
                  <a:pt x="1406157" y="2386605"/>
                </a:cubicBezTo>
                <a:lnTo>
                  <a:pt x="1406157" y="2321854"/>
                </a:lnTo>
                <a:lnTo>
                  <a:pt x="1392117" y="2321854"/>
                </a:lnTo>
                <a:cubicBezTo>
                  <a:pt x="1390606" y="2321810"/>
                  <a:pt x="1389331" y="2321269"/>
                  <a:pt x="1388293" y="2320230"/>
                </a:cubicBezTo>
                <a:cubicBezTo>
                  <a:pt x="1387253" y="2319191"/>
                  <a:pt x="1386712" y="2317916"/>
                  <a:pt x="1386668" y="2316406"/>
                </a:cubicBezTo>
                <a:lnTo>
                  <a:pt x="1386668" y="2315567"/>
                </a:lnTo>
                <a:cubicBezTo>
                  <a:pt x="1386712" y="2314057"/>
                  <a:pt x="1387253" y="2312782"/>
                  <a:pt x="1388293" y="2311743"/>
                </a:cubicBezTo>
                <a:cubicBezTo>
                  <a:pt x="1389331" y="2310704"/>
                  <a:pt x="1390606" y="2310163"/>
                  <a:pt x="1392117" y="2310119"/>
                </a:cubicBezTo>
                <a:lnTo>
                  <a:pt x="1406157" y="2310119"/>
                </a:lnTo>
                <a:lnTo>
                  <a:pt x="1406157" y="2285183"/>
                </a:lnTo>
                <a:cubicBezTo>
                  <a:pt x="1406200" y="2283672"/>
                  <a:pt x="1406741" y="2282397"/>
                  <a:pt x="1407781" y="2281358"/>
                </a:cubicBezTo>
                <a:cubicBezTo>
                  <a:pt x="1408819" y="2280319"/>
                  <a:pt x="1410094" y="2279778"/>
                  <a:pt x="1411605" y="2279734"/>
                </a:cubicBezTo>
                <a:close/>
                <a:moveTo>
                  <a:pt x="659130" y="2279734"/>
                </a:moveTo>
                <a:lnTo>
                  <a:pt x="664369" y="2279734"/>
                </a:lnTo>
                <a:cubicBezTo>
                  <a:pt x="665879" y="2279778"/>
                  <a:pt x="667154" y="2280319"/>
                  <a:pt x="668193" y="2281358"/>
                </a:cubicBezTo>
                <a:cubicBezTo>
                  <a:pt x="669232" y="2282397"/>
                  <a:pt x="669773" y="2283672"/>
                  <a:pt x="669817" y="2285183"/>
                </a:cubicBezTo>
                <a:lnTo>
                  <a:pt x="669817" y="2310119"/>
                </a:lnTo>
                <a:lnTo>
                  <a:pt x="694334" y="2310119"/>
                </a:lnTo>
                <a:cubicBezTo>
                  <a:pt x="695845" y="2310163"/>
                  <a:pt x="697119" y="2310704"/>
                  <a:pt x="698159" y="2311743"/>
                </a:cubicBezTo>
                <a:cubicBezTo>
                  <a:pt x="699197" y="2312782"/>
                  <a:pt x="699739" y="2314057"/>
                  <a:pt x="699783" y="2315567"/>
                </a:cubicBezTo>
                <a:lnTo>
                  <a:pt x="699783" y="2316406"/>
                </a:lnTo>
                <a:cubicBezTo>
                  <a:pt x="699739" y="2317916"/>
                  <a:pt x="699197" y="2319191"/>
                  <a:pt x="698159" y="2320230"/>
                </a:cubicBezTo>
                <a:cubicBezTo>
                  <a:pt x="697119" y="2321269"/>
                  <a:pt x="695845" y="2321810"/>
                  <a:pt x="694334" y="2321854"/>
                </a:cubicBezTo>
                <a:lnTo>
                  <a:pt x="669817" y="2321854"/>
                </a:lnTo>
                <a:lnTo>
                  <a:pt x="669817" y="2389748"/>
                </a:lnTo>
                <a:cubicBezTo>
                  <a:pt x="669730" y="2394210"/>
                  <a:pt x="670795" y="2397755"/>
                  <a:pt x="673013" y="2400383"/>
                </a:cubicBezTo>
                <a:cubicBezTo>
                  <a:pt x="675230" y="2403011"/>
                  <a:pt x="679124" y="2404356"/>
                  <a:pt x="684695" y="2404417"/>
                </a:cubicBezTo>
                <a:cubicBezTo>
                  <a:pt x="687310" y="2404373"/>
                  <a:pt x="689309" y="2404198"/>
                  <a:pt x="690693" y="2403893"/>
                </a:cubicBezTo>
                <a:cubicBezTo>
                  <a:pt x="692077" y="2403587"/>
                  <a:pt x="693500" y="2403413"/>
                  <a:pt x="694963" y="2403369"/>
                </a:cubicBezTo>
                <a:cubicBezTo>
                  <a:pt x="696080" y="2403330"/>
                  <a:pt x="697146" y="2403722"/>
                  <a:pt x="698159" y="2404548"/>
                </a:cubicBezTo>
                <a:cubicBezTo>
                  <a:pt x="699171" y="2405373"/>
                  <a:pt x="699713" y="2406866"/>
                  <a:pt x="699783" y="2409027"/>
                </a:cubicBezTo>
                <a:lnTo>
                  <a:pt x="699783" y="2409655"/>
                </a:lnTo>
                <a:cubicBezTo>
                  <a:pt x="699673" y="2411816"/>
                  <a:pt x="699001" y="2413362"/>
                  <a:pt x="697766" y="2414292"/>
                </a:cubicBezTo>
                <a:cubicBezTo>
                  <a:pt x="696530" y="2415222"/>
                  <a:pt x="695386" y="2415772"/>
                  <a:pt x="694334" y="2415942"/>
                </a:cubicBezTo>
                <a:cubicBezTo>
                  <a:pt x="692675" y="2416252"/>
                  <a:pt x="690964" y="2416470"/>
                  <a:pt x="689200" y="2416597"/>
                </a:cubicBezTo>
                <a:cubicBezTo>
                  <a:pt x="687437" y="2416723"/>
                  <a:pt x="685516" y="2416784"/>
                  <a:pt x="683438" y="2416780"/>
                </a:cubicBezTo>
                <a:cubicBezTo>
                  <a:pt x="674038" y="2416990"/>
                  <a:pt x="666748" y="2414894"/>
                  <a:pt x="661566" y="2410494"/>
                </a:cubicBezTo>
                <a:cubicBezTo>
                  <a:pt x="656384" y="2406093"/>
                  <a:pt x="653756" y="2398130"/>
                  <a:pt x="653681" y="2386605"/>
                </a:cubicBezTo>
                <a:lnTo>
                  <a:pt x="653681" y="2321854"/>
                </a:lnTo>
                <a:lnTo>
                  <a:pt x="639642" y="2321854"/>
                </a:lnTo>
                <a:cubicBezTo>
                  <a:pt x="638131" y="2321810"/>
                  <a:pt x="636856" y="2321269"/>
                  <a:pt x="635817" y="2320230"/>
                </a:cubicBezTo>
                <a:cubicBezTo>
                  <a:pt x="634778" y="2319191"/>
                  <a:pt x="634237" y="2317916"/>
                  <a:pt x="634193" y="2316406"/>
                </a:cubicBezTo>
                <a:lnTo>
                  <a:pt x="634193" y="2315567"/>
                </a:lnTo>
                <a:cubicBezTo>
                  <a:pt x="634237" y="2314057"/>
                  <a:pt x="634778" y="2312782"/>
                  <a:pt x="635817" y="2311743"/>
                </a:cubicBezTo>
                <a:cubicBezTo>
                  <a:pt x="636856" y="2310704"/>
                  <a:pt x="638131" y="2310163"/>
                  <a:pt x="639642" y="2310119"/>
                </a:cubicBezTo>
                <a:lnTo>
                  <a:pt x="653681" y="2310119"/>
                </a:lnTo>
                <a:lnTo>
                  <a:pt x="653681" y="2285183"/>
                </a:lnTo>
                <a:cubicBezTo>
                  <a:pt x="653725" y="2283672"/>
                  <a:pt x="654267" y="2282397"/>
                  <a:pt x="655305" y="2281358"/>
                </a:cubicBezTo>
                <a:cubicBezTo>
                  <a:pt x="656345" y="2280319"/>
                  <a:pt x="657619" y="2279778"/>
                  <a:pt x="659130" y="2279734"/>
                </a:cubicBezTo>
                <a:close/>
                <a:moveTo>
                  <a:pt x="1476813" y="2269676"/>
                </a:moveTo>
                <a:cubicBezTo>
                  <a:pt x="1480026" y="2269755"/>
                  <a:pt x="1482663" y="2270855"/>
                  <a:pt x="1484723" y="2272976"/>
                </a:cubicBezTo>
                <a:cubicBezTo>
                  <a:pt x="1486784" y="2275098"/>
                  <a:pt x="1487849" y="2277770"/>
                  <a:pt x="1487919" y="2280992"/>
                </a:cubicBezTo>
                <a:cubicBezTo>
                  <a:pt x="1487849" y="2284213"/>
                  <a:pt x="1486784" y="2286885"/>
                  <a:pt x="1484723" y="2289007"/>
                </a:cubicBezTo>
                <a:cubicBezTo>
                  <a:pt x="1482663" y="2291129"/>
                  <a:pt x="1480026" y="2292229"/>
                  <a:pt x="1476813" y="2292307"/>
                </a:cubicBezTo>
                <a:cubicBezTo>
                  <a:pt x="1473591" y="2292229"/>
                  <a:pt x="1470919" y="2291129"/>
                  <a:pt x="1468798" y="2289007"/>
                </a:cubicBezTo>
                <a:cubicBezTo>
                  <a:pt x="1466676" y="2286885"/>
                  <a:pt x="1465576" y="2284213"/>
                  <a:pt x="1465497" y="2280992"/>
                </a:cubicBezTo>
                <a:cubicBezTo>
                  <a:pt x="1465576" y="2277770"/>
                  <a:pt x="1466676" y="2275098"/>
                  <a:pt x="1468798" y="2272976"/>
                </a:cubicBezTo>
                <a:cubicBezTo>
                  <a:pt x="1470919" y="2270855"/>
                  <a:pt x="1473591" y="2269755"/>
                  <a:pt x="1476813" y="2269676"/>
                </a:cubicBezTo>
                <a:close/>
                <a:moveTo>
                  <a:pt x="1235964" y="2269676"/>
                </a:moveTo>
                <a:lnTo>
                  <a:pt x="1241203" y="2269676"/>
                </a:lnTo>
                <a:cubicBezTo>
                  <a:pt x="1242713" y="2269720"/>
                  <a:pt x="1243988" y="2270261"/>
                  <a:pt x="1245027" y="2271300"/>
                </a:cubicBezTo>
                <a:cubicBezTo>
                  <a:pt x="1246066" y="2272339"/>
                  <a:pt x="1246607" y="2273614"/>
                  <a:pt x="1246651" y="2275124"/>
                </a:cubicBezTo>
                <a:lnTo>
                  <a:pt x="1246651" y="2409446"/>
                </a:lnTo>
                <a:cubicBezTo>
                  <a:pt x="1246607" y="2410956"/>
                  <a:pt x="1246066" y="2412231"/>
                  <a:pt x="1245027" y="2413270"/>
                </a:cubicBezTo>
                <a:cubicBezTo>
                  <a:pt x="1243988" y="2414309"/>
                  <a:pt x="1242713" y="2414851"/>
                  <a:pt x="1241203" y="2414894"/>
                </a:cubicBezTo>
                <a:lnTo>
                  <a:pt x="1235964" y="2414894"/>
                </a:lnTo>
                <a:cubicBezTo>
                  <a:pt x="1234453" y="2414851"/>
                  <a:pt x="1233179" y="2414309"/>
                  <a:pt x="1232139" y="2413270"/>
                </a:cubicBezTo>
                <a:cubicBezTo>
                  <a:pt x="1231101" y="2412231"/>
                  <a:pt x="1230559" y="2410956"/>
                  <a:pt x="1230515" y="2409446"/>
                </a:cubicBezTo>
                <a:lnTo>
                  <a:pt x="1230515" y="2275124"/>
                </a:lnTo>
                <a:cubicBezTo>
                  <a:pt x="1230559" y="2273614"/>
                  <a:pt x="1231101" y="2272339"/>
                  <a:pt x="1232139" y="2271300"/>
                </a:cubicBezTo>
                <a:cubicBezTo>
                  <a:pt x="1233179" y="2270261"/>
                  <a:pt x="1234453" y="2269720"/>
                  <a:pt x="1235964" y="2269676"/>
                </a:cubicBezTo>
                <a:close/>
                <a:moveTo>
                  <a:pt x="733863" y="2269676"/>
                </a:moveTo>
                <a:cubicBezTo>
                  <a:pt x="737076" y="2269755"/>
                  <a:pt x="739713" y="2270855"/>
                  <a:pt x="741773" y="2272976"/>
                </a:cubicBezTo>
                <a:cubicBezTo>
                  <a:pt x="743834" y="2275098"/>
                  <a:pt x="744899" y="2277770"/>
                  <a:pt x="744969" y="2280992"/>
                </a:cubicBezTo>
                <a:cubicBezTo>
                  <a:pt x="744899" y="2284213"/>
                  <a:pt x="743834" y="2286885"/>
                  <a:pt x="741773" y="2289007"/>
                </a:cubicBezTo>
                <a:cubicBezTo>
                  <a:pt x="739713" y="2291129"/>
                  <a:pt x="737076" y="2292229"/>
                  <a:pt x="733863" y="2292307"/>
                </a:cubicBezTo>
                <a:cubicBezTo>
                  <a:pt x="730641" y="2292229"/>
                  <a:pt x="727969" y="2291129"/>
                  <a:pt x="725848" y="2289007"/>
                </a:cubicBezTo>
                <a:cubicBezTo>
                  <a:pt x="723726" y="2286885"/>
                  <a:pt x="722626" y="2284213"/>
                  <a:pt x="722547" y="2280992"/>
                </a:cubicBezTo>
                <a:cubicBezTo>
                  <a:pt x="722626" y="2277770"/>
                  <a:pt x="723726" y="2275098"/>
                  <a:pt x="725848" y="2272976"/>
                </a:cubicBezTo>
                <a:cubicBezTo>
                  <a:pt x="727969" y="2270855"/>
                  <a:pt x="730641" y="2269755"/>
                  <a:pt x="733863" y="2269676"/>
                </a:cubicBezTo>
                <a:close/>
                <a:moveTo>
                  <a:pt x="22003" y="2269676"/>
                </a:moveTo>
                <a:lnTo>
                  <a:pt x="29127" y="2269676"/>
                </a:lnTo>
                <a:cubicBezTo>
                  <a:pt x="30638" y="2269720"/>
                  <a:pt x="31913" y="2270261"/>
                  <a:pt x="32952" y="2271300"/>
                </a:cubicBezTo>
                <a:cubicBezTo>
                  <a:pt x="33991" y="2272339"/>
                  <a:pt x="34532" y="2273614"/>
                  <a:pt x="34576" y="2275124"/>
                </a:cubicBezTo>
                <a:lnTo>
                  <a:pt x="34576" y="2409446"/>
                </a:lnTo>
                <a:cubicBezTo>
                  <a:pt x="34532" y="2410956"/>
                  <a:pt x="33991" y="2412231"/>
                  <a:pt x="32952" y="2413270"/>
                </a:cubicBezTo>
                <a:cubicBezTo>
                  <a:pt x="31913" y="2414309"/>
                  <a:pt x="30638" y="2414851"/>
                  <a:pt x="29127" y="2414894"/>
                </a:cubicBezTo>
                <a:lnTo>
                  <a:pt x="22003" y="2414894"/>
                </a:lnTo>
                <a:cubicBezTo>
                  <a:pt x="20492" y="2414851"/>
                  <a:pt x="19217" y="2414309"/>
                  <a:pt x="18178" y="2413270"/>
                </a:cubicBezTo>
                <a:cubicBezTo>
                  <a:pt x="17139" y="2412231"/>
                  <a:pt x="16598" y="2410956"/>
                  <a:pt x="16554" y="2409446"/>
                </a:cubicBezTo>
                <a:lnTo>
                  <a:pt x="16554" y="2275124"/>
                </a:lnTo>
                <a:cubicBezTo>
                  <a:pt x="16598" y="2273614"/>
                  <a:pt x="17139" y="2272339"/>
                  <a:pt x="18178" y="2271300"/>
                </a:cubicBezTo>
                <a:cubicBezTo>
                  <a:pt x="19217" y="2270261"/>
                  <a:pt x="20492" y="2269720"/>
                  <a:pt x="22003" y="2269676"/>
                </a:cubicBezTo>
                <a:close/>
                <a:moveTo>
                  <a:pt x="1004049" y="2061745"/>
                </a:moveTo>
                <a:cubicBezTo>
                  <a:pt x="996856" y="2061860"/>
                  <a:pt x="990869" y="2063935"/>
                  <a:pt x="986090" y="2067970"/>
                </a:cubicBezTo>
                <a:cubicBezTo>
                  <a:pt x="981310" y="2072004"/>
                  <a:pt x="977730" y="2077308"/>
                  <a:pt x="975349" y="2083880"/>
                </a:cubicBezTo>
                <a:cubicBezTo>
                  <a:pt x="972967" y="2090452"/>
                  <a:pt x="971777" y="2097603"/>
                  <a:pt x="971778" y="2105332"/>
                </a:cubicBezTo>
                <a:cubicBezTo>
                  <a:pt x="971777" y="2113060"/>
                  <a:pt x="972967" y="2120211"/>
                  <a:pt x="975349" y="2126783"/>
                </a:cubicBezTo>
                <a:cubicBezTo>
                  <a:pt x="977730" y="2133356"/>
                  <a:pt x="981310" y="2138659"/>
                  <a:pt x="986090" y="2142694"/>
                </a:cubicBezTo>
                <a:cubicBezTo>
                  <a:pt x="990869" y="2146728"/>
                  <a:pt x="996856" y="2148803"/>
                  <a:pt x="1004049" y="2148918"/>
                </a:cubicBezTo>
                <a:cubicBezTo>
                  <a:pt x="1011242" y="2148803"/>
                  <a:pt x="1017229" y="2146728"/>
                  <a:pt x="1022008" y="2142694"/>
                </a:cubicBezTo>
                <a:cubicBezTo>
                  <a:pt x="1026788" y="2138659"/>
                  <a:pt x="1030368" y="2133356"/>
                  <a:pt x="1032750" y="2126783"/>
                </a:cubicBezTo>
                <a:cubicBezTo>
                  <a:pt x="1035131" y="2120211"/>
                  <a:pt x="1036321" y="2113060"/>
                  <a:pt x="1036320" y="2105332"/>
                </a:cubicBezTo>
                <a:cubicBezTo>
                  <a:pt x="1036321" y="2097603"/>
                  <a:pt x="1035131" y="2090452"/>
                  <a:pt x="1032750" y="2083880"/>
                </a:cubicBezTo>
                <a:cubicBezTo>
                  <a:pt x="1030368" y="2077308"/>
                  <a:pt x="1026788" y="2072004"/>
                  <a:pt x="1022008" y="2067970"/>
                </a:cubicBezTo>
                <a:cubicBezTo>
                  <a:pt x="1017229" y="2063935"/>
                  <a:pt x="1011242" y="2061860"/>
                  <a:pt x="1004049" y="2061745"/>
                </a:cubicBezTo>
                <a:close/>
                <a:moveTo>
                  <a:pt x="757656" y="2061745"/>
                </a:moveTo>
                <a:cubicBezTo>
                  <a:pt x="745808" y="2062090"/>
                  <a:pt x="737234" y="2066430"/>
                  <a:pt x="731934" y="2074764"/>
                </a:cubicBezTo>
                <a:cubicBezTo>
                  <a:pt x="726634" y="2083098"/>
                  <a:pt x="724032" y="2093357"/>
                  <a:pt x="724128" y="2105541"/>
                </a:cubicBezTo>
                <a:cubicBezTo>
                  <a:pt x="724076" y="2117892"/>
                  <a:pt x="726643" y="2128133"/>
                  <a:pt x="731829" y="2136267"/>
                </a:cubicBezTo>
                <a:cubicBezTo>
                  <a:pt x="737016" y="2144400"/>
                  <a:pt x="745136" y="2148617"/>
                  <a:pt x="756190" y="2148918"/>
                </a:cubicBezTo>
                <a:cubicBezTo>
                  <a:pt x="763952" y="2148839"/>
                  <a:pt x="770483" y="2147111"/>
                  <a:pt x="775783" y="2143732"/>
                </a:cubicBezTo>
                <a:cubicBezTo>
                  <a:pt x="781082" y="2140353"/>
                  <a:pt x="783841" y="2135795"/>
                  <a:pt x="784060" y="2130059"/>
                </a:cubicBezTo>
                <a:lnTo>
                  <a:pt x="784060" y="2074528"/>
                </a:lnTo>
                <a:cubicBezTo>
                  <a:pt x="783850" y="2070236"/>
                  <a:pt x="781231" y="2067032"/>
                  <a:pt x="776202" y="2064915"/>
                </a:cubicBezTo>
                <a:cubicBezTo>
                  <a:pt x="771172" y="2062797"/>
                  <a:pt x="764991" y="2061741"/>
                  <a:pt x="757656" y="2061745"/>
                </a:cubicBezTo>
                <a:close/>
                <a:moveTo>
                  <a:pt x="649948" y="2061745"/>
                </a:moveTo>
                <a:cubicBezTo>
                  <a:pt x="641059" y="2062068"/>
                  <a:pt x="633952" y="2065508"/>
                  <a:pt x="628626" y="2072066"/>
                </a:cubicBezTo>
                <a:cubicBezTo>
                  <a:pt x="623300" y="2078623"/>
                  <a:pt x="620279" y="2086359"/>
                  <a:pt x="619563" y="2095273"/>
                </a:cubicBezTo>
                <a:lnTo>
                  <a:pt x="677189" y="2095273"/>
                </a:lnTo>
                <a:cubicBezTo>
                  <a:pt x="677036" y="2084800"/>
                  <a:pt x="674461" y="2076619"/>
                  <a:pt x="669462" y="2070730"/>
                </a:cubicBezTo>
                <a:cubicBezTo>
                  <a:pt x="664463" y="2064841"/>
                  <a:pt x="657959" y="2061846"/>
                  <a:pt x="649948" y="2061745"/>
                </a:cubicBezTo>
                <a:close/>
                <a:moveTo>
                  <a:pt x="309981" y="2061745"/>
                </a:moveTo>
                <a:cubicBezTo>
                  <a:pt x="298133" y="2062090"/>
                  <a:pt x="289559" y="2066430"/>
                  <a:pt x="284259" y="2074764"/>
                </a:cubicBezTo>
                <a:cubicBezTo>
                  <a:pt x="278959" y="2083098"/>
                  <a:pt x="276357" y="2093357"/>
                  <a:pt x="276453" y="2105541"/>
                </a:cubicBezTo>
                <a:cubicBezTo>
                  <a:pt x="276401" y="2117892"/>
                  <a:pt x="278968" y="2128133"/>
                  <a:pt x="284154" y="2136267"/>
                </a:cubicBezTo>
                <a:cubicBezTo>
                  <a:pt x="289341" y="2144400"/>
                  <a:pt x="297461" y="2148617"/>
                  <a:pt x="308515" y="2148918"/>
                </a:cubicBezTo>
                <a:cubicBezTo>
                  <a:pt x="316277" y="2148839"/>
                  <a:pt x="322808" y="2147111"/>
                  <a:pt x="328107" y="2143732"/>
                </a:cubicBezTo>
                <a:cubicBezTo>
                  <a:pt x="333407" y="2140353"/>
                  <a:pt x="336166" y="2135795"/>
                  <a:pt x="336385" y="2130059"/>
                </a:cubicBezTo>
                <a:lnTo>
                  <a:pt x="336385" y="2074528"/>
                </a:lnTo>
                <a:cubicBezTo>
                  <a:pt x="336175" y="2070236"/>
                  <a:pt x="333556" y="2067032"/>
                  <a:pt x="328527" y="2064915"/>
                </a:cubicBezTo>
                <a:cubicBezTo>
                  <a:pt x="323497" y="2062797"/>
                  <a:pt x="317316" y="2061741"/>
                  <a:pt x="309981" y="2061745"/>
                </a:cubicBezTo>
                <a:close/>
                <a:moveTo>
                  <a:pt x="192748" y="2061745"/>
                </a:moveTo>
                <a:cubicBezTo>
                  <a:pt x="183859" y="2062068"/>
                  <a:pt x="176752" y="2065508"/>
                  <a:pt x="171426" y="2072066"/>
                </a:cubicBezTo>
                <a:cubicBezTo>
                  <a:pt x="166100" y="2078623"/>
                  <a:pt x="163079" y="2086359"/>
                  <a:pt x="162363" y="2095273"/>
                </a:cubicBezTo>
                <a:lnTo>
                  <a:pt x="219989" y="2095273"/>
                </a:lnTo>
                <a:cubicBezTo>
                  <a:pt x="219836" y="2084800"/>
                  <a:pt x="217261" y="2076619"/>
                  <a:pt x="212262" y="2070730"/>
                </a:cubicBezTo>
                <a:cubicBezTo>
                  <a:pt x="207263" y="2064841"/>
                  <a:pt x="200759" y="2061846"/>
                  <a:pt x="192748" y="2061745"/>
                </a:cubicBezTo>
                <a:close/>
                <a:moveTo>
                  <a:pt x="397764" y="2052944"/>
                </a:moveTo>
                <a:lnTo>
                  <a:pt x="403003" y="2052944"/>
                </a:lnTo>
                <a:cubicBezTo>
                  <a:pt x="404513" y="2052988"/>
                  <a:pt x="405788" y="2053529"/>
                  <a:pt x="406827" y="2054568"/>
                </a:cubicBezTo>
                <a:cubicBezTo>
                  <a:pt x="407866" y="2055607"/>
                  <a:pt x="408407" y="2056882"/>
                  <a:pt x="408451" y="2058393"/>
                </a:cubicBezTo>
                <a:lnTo>
                  <a:pt x="408451" y="2125868"/>
                </a:lnTo>
                <a:cubicBezTo>
                  <a:pt x="408390" y="2133246"/>
                  <a:pt x="410241" y="2138921"/>
                  <a:pt x="414004" y="2142893"/>
                </a:cubicBezTo>
                <a:cubicBezTo>
                  <a:pt x="417767" y="2146866"/>
                  <a:pt x="423809" y="2148874"/>
                  <a:pt x="432130" y="2148918"/>
                </a:cubicBezTo>
                <a:cubicBezTo>
                  <a:pt x="441088" y="2148896"/>
                  <a:pt x="447637" y="2147892"/>
                  <a:pt x="451775" y="2145906"/>
                </a:cubicBezTo>
                <a:cubicBezTo>
                  <a:pt x="455914" y="2143919"/>
                  <a:pt x="457957" y="2141082"/>
                  <a:pt x="457905" y="2137393"/>
                </a:cubicBezTo>
                <a:lnTo>
                  <a:pt x="457905" y="2058393"/>
                </a:lnTo>
                <a:cubicBezTo>
                  <a:pt x="457948" y="2056882"/>
                  <a:pt x="458490" y="2055607"/>
                  <a:pt x="459529" y="2054568"/>
                </a:cubicBezTo>
                <a:cubicBezTo>
                  <a:pt x="460568" y="2053529"/>
                  <a:pt x="461842" y="2052988"/>
                  <a:pt x="463353" y="2052944"/>
                </a:cubicBezTo>
                <a:lnTo>
                  <a:pt x="468592" y="2052944"/>
                </a:lnTo>
                <a:cubicBezTo>
                  <a:pt x="470102" y="2052988"/>
                  <a:pt x="471377" y="2053529"/>
                  <a:pt x="472416" y="2054568"/>
                </a:cubicBezTo>
                <a:cubicBezTo>
                  <a:pt x="473455" y="2055607"/>
                  <a:pt x="473996" y="2056882"/>
                  <a:pt x="474040" y="2058393"/>
                </a:cubicBezTo>
                <a:lnTo>
                  <a:pt x="474040" y="2152271"/>
                </a:lnTo>
                <a:cubicBezTo>
                  <a:pt x="473996" y="2153781"/>
                  <a:pt x="473455" y="2155056"/>
                  <a:pt x="472416" y="2156095"/>
                </a:cubicBezTo>
                <a:cubicBezTo>
                  <a:pt x="471377" y="2157134"/>
                  <a:pt x="470102" y="2157676"/>
                  <a:pt x="468592" y="2157719"/>
                </a:cubicBezTo>
                <a:lnTo>
                  <a:pt x="463353" y="2157719"/>
                </a:lnTo>
                <a:cubicBezTo>
                  <a:pt x="461842" y="2157676"/>
                  <a:pt x="460568" y="2157134"/>
                  <a:pt x="459529" y="2156095"/>
                </a:cubicBezTo>
                <a:cubicBezTo>
                  <a:pt x="458490" y="2155056"/>
                  <a:pt x="457948" y="2153781"/>
                  <a:pt x="457905" y="2152271"/>
                </a:cubicBezTo>
                <a:lnTo>
                  <a:pt x="457905" y="2151433"/>
                </a:lnTo>
                <a:cubicBezTo>
                  <a:pt x="455106" y="2154192"/>
                  <a:pt x="451378" y="2156374"/>
                  <a:pt x="446720" y="2157981"/>
                </a:cubicBezTo>
                <a:cubicBezTo>
                  <a:pt x="442062" y="2159588"/>
                  <a:pt x="436290" y="2160408"/>
                  <a:pt x="429406" y="2160443"/>
                </a:cubicBezTo>
                <a:cubicBezTo>
                  <a:pt x="416401" y="2160334"/>
                  <a:pt x="406945" y="2157409"/>
                  <a:pt x="401038" y="2151668"/>
                </a:cubicBezTo>
                <a:cubicBezTo>
                  <a:pt x="395131" y="2145928"/>
                  <a:pt x="392224" y="2138026"/>
                  <a:pt x="392315" y="2127963"/>
                </a:cubicBezTo>
                <a:lnTo>
                  <a:pt x="392315" y="2058393"/>
                </a:lnTo>
                <a:cubicBezTo>
                  <a:pt x="392359" y="2056882"/>
                  <a:pt x="392901" y="2055607"/>
                  <a:pt x="393939" y="2054568"/>
                </a:cubicBezTo>
                <a:cubicBezTo>
                  <a:pt x="394979" y="2053529"/>
                  <a:pt x="396253" y="2052988"/>
                  <a:pt x="397764" y="2052944"/>
                </a:cubicBezTo>
                <a:close/>
                <a:moveTo>
                  <a:pt x="1107033" y="2050220"/>
                </a:moveTo>
                <a:cubicBezTo>
                  <a:pt x="1117507" y="2050342"/>
                  <a:pt x="1125688" y="2051722"/>
                  <a:pt x="1131577" y="2054359"/>
                </a:cubicBezTo>
                <a:cubicBezTo>
                  <a:pt x="1137466" y="2056996"/>
                  <a:pt x="1140461" y="2060156"/>
                  <a:pt x="1140561" y="2063841"/>
                </a:cubicBezTo>
                <a:cubicBezTo>
                  <a:pt x="1140527" y="2065762"/>
                  <a:pt x="1139915" y="2067316"/>
                  <a:pt x="1138728" y="2068503"/>
                </a:cubicBezTo>
                <a:cubicBezTo>
                  <a:pt x="1137540" y="2069691"/>
                  <a:pt x="1135986" y="2070302"/>
                  <a:pt x="1134065" y="2070337"/>
                </a:cubicBezTo>
                <a:cubicBezTo>
                  <a:pt x="1131441" y="2070231"/>
                  <a:pt x="1128960" y="2069488"/>
                  <a:pt x="1126623" y="2068109"/>
                </a:cubicBezTo>
                <a:cubicBezTo>
                  <a:pt x="1124285" y="2066731"/>
                  <a:pt x="1121494" y="2065352"/>
                  <a:pt x="1118248" y="2063973"/>
                </a:cubicBezTo>
                <a:cubicBezTo>
                  <a:pt x="1115003" y="2062594"/>
                  <a:pt x="1110706" y="2061851"/>
                  <a:pt x="1105357" y="2061745"/>
                </a:cubicBezTo>
                <a:cubicBezTo>
                  <a:pt x="1099393" y="2061837"/>
                  <a:pt x="1094609" y="2063278"/>
                  <a:pt x="1091003" y="2066067"/>
                </a:cubicBezTo>
                <a:cubicBezTo>
                  <a:pt x="1087397" y="2068857"/>
                  <a:pt x="1085546" y="2072445"/>
                  <a:pt x="1085450" y="2076833"/>
                </a:cubicBezTo>
                <a:cubicBezTo>
                  <a:pt x="1085759" y="2082608"/>
                  <a:pt x="1088847" y="2086997"/>
                  <a:pt x="1094716" y="2089998"/>
                </a:cubicBezTo>
                <a:cubicBezTo>
                  <a:pt x="1100584" y="2093000"/>
                  <a:pt x="1107379" y="2095798"/>
                  <a:pt x="1115101" y="2098390"/>
                </a:cubicBezTo>
                <a:cubicBezTo>
                  <a:pt x="1122823" y="2100983"/>
                  <a:pt x="1129618" y="2104553"/>
                  <a:pt x="1135486" y="2109100"/>
                </a:cubicBezTo>
                <a:cubicBezTo>
                  <a:pt x="1141355" y="2113648"/>
                  <a:pt x="1144443" y="2120354"/>
                  <a:pt x="1144752" y="2129220"/>
                </a:cubicBezTo>
                <a:cubicBezTo>
                  <a:pt x="1144582" y="2138864"/>
                  <a:pt x="1140889" y="2146451"/>
                  <a:pt x="1133673" y="2151983"/>
                </a:cubicBezTo>
                <a:cubicBezTo>
                  <a:pt x="1126456" y="2157514"/>
                  <a:pt x="1116738" y="2160334"/>
                  <a:pt x="1104519" y="2160443"/>
                </a:cubicBezTo>
                <a:cubicBezTo>
                  <a:pt x="1093766" y="2160334"/>
                  <a:pt x="1085149" y="2158824"/>
                  <a:pt x="1078666" y="2155912"/>
                </a:cubicBezTo>
                <a:cubicBezTo>
                  <a:pt x="1072183" y="2153000"/>
                  <a:pt x="1068856" y="2149341"/>
                  <a:pt x="1068686" y="2144937"/>
                </a:cubicBezTo>
                <a:cubicBezTo>
                  <a:pt x="1068716" y="2142824"/>
                  <a:pt x="1069389" y="2141182"/>
                  <a:pt x="1070703" y="2140012"/>
                </a:cubicBezTo>
                <a:cubicBezTo>
                  <a:pt x="1072017" y="2138842"/>
                  <a:pt x="1073789" y="2138249"/>
                  <a:pt x="1076020" y="2138231"/>
                </a:cubicBezTo>
                <a:cubicBezTo>
                  <a:pt x="1078623" y="2138363"/>
                  <a:pt x="1081287" y="2139287"/>
                  <a:pt x="1084014" y="2141002"/>
                </a:cubicBezTo>
                <a:cubicBezTo>
                  <a:pt x="1086741" y="2142717"/>
                  <a:pt x="1089840" y="2144432"/>
                  <a:pt x="1093312" y="2146147"/>
                </a:cubicBezTo>
                <a:cubicBezTo>
                  <a:pt x="1096784" y="2147862"/>
                  <a:pt x="1100938" y="2148786"/>
                  <a:pt x="1105776" y="2148918"/>
                </a:cubicBezTo>
                <a:cubicBezTo>
                  <a:pt x="1113429" y="2148761"/>
                  <a:pt x="1119183" y="2146980"/>
                  <a:pt x="1123038" y="2143574"/>
                </a:cubicBezTo>
                <a:cubicBezTo>
                  <a:pt x="1126893" y="2140169"/>
                  <a:pt x="1128822" y="2136083"/>
                  <a:pt x="1128827" y="2131316"/>
                </a:cubicBezTo>
                <a:cubicBezTo>
                  <a:pt x="1128523" y="2125030"/>
                  <a:pt x="1125489" y="2120327"/>
                  <a:pt x="1119724" y="2117204"/>
                </a:cubicBezTo>
                <a:cubicBezTo>
                  <a:pt x="1113959" y="2114081"/>
                  <a:pt x="1107284" y="2111277"/>
                  <a:pt x="1099699" y="2108789"/>
                </a:cubicBezTo>
                <a:cubicBezTo>
                  <a:pt x="1092114" y="2106302"/>
                  <a:pt x="1085439" y="2102868"/>
                  <a:pt x="1079674" y="2098489"/>
                </a:cubicBezTo>
                <a:cubicBezTo>
                  <a:pt x="1073909" y="2094109"/>
                  <a:pt x="1070875" y="2087519"/>
                  <a:pt x="1070572" y="2078719"/>
                </a:cubicBezTo>
                <a:cubicBezTo>
                  <a:pt x="1070755" y="2069555"/>
                  <a:pt x="1074160" y="2062527"/>
                  <a:pt x="1080787" y="2057633"/>
                </a:cubicBezTo>
                <a:cubicBezTo>
                  <a:pt x="1087414" y="2052739"/>
                  <a:pt x="1096163" y="2050268"/>
                  <a:pt x="1107033" y="2050220"/>
                </a:cubicBezTo>
                <a:close/>
                <a:moveTo>
                  <a:pt x="1004049" y="2050220"/>
                </a:moveTo>
                <a:cubicBezTo>
                  <a:pt x="1014085" y="2050342"/>
                  <a:pt x="1022744" y="2052869"/>
                  <a:pt x="1030025" y="2057803"/>
                </a:cubicBezTo>
                <a:cubicBezTo>
                  <a:pt x="1037307" y="2062736"/>
                  <a:pt x="1042923" y="2069346"/>
                  <a:pt x="1046875" y="2077632"/>
                </a:cubicBezTo>
                <a:cubicBezTo>
                  <a:pt x="1050827" y="2085919"/>
                  <a:pt x="1052826" y="2095152"/>
                  <a:pt x="1052874" y="2105332"/>
                </a:cubicBezTo>
                <a:cubicBezTo>
                  <a:pt x="1052826" y="2115512"/>
                  <a:pt x="1050827" y="2124745"/>
                  <a:pt x="1046875" y="2133031"/>
                </a:cubicBezTo>
                <a:cubicBezTo>
                  <a:pt x="1042923" y="2141317"/>
                  <a:pt x="1037307" y="2147927"/>
                  <a:pt x="1030025" y="2152861"/>
                </a:cubicBezTo>
                <a:cubicBezTo>
                  <a:pt x="1022744" y="2157794"/>
                  <a:pt x="1014085" y="2160322"/>
                  <a:pt x="1004049" y="2160443"/>
                </a:cubicBezTo>
                <a:cubicBezTo>
                  <a:pt x="994015" y="2160322"/>
                  <a:pt x="985375" y="2157794"/>
                  <a:pt x="978127" y="2152861"/>
                </a:cubicBezTo>
                <a:cubicBezTo>
                  <a:pt x="970879" y="2147927"/>
                  <a:pt x="965297" y="2141317"/>
                  <a:pt x="961379" y="2133031"/>
                </a:cubicBezTo>
                <a:cubicBezTo>
                  <a:pt x="957461" y="2124745"/>
                  <a:pt x="955479" y="2115512"/>
                  <a:pt x="955433" y="2105332"/>
                </a:cubicBezTo>
                <a:cubicBezTo>
                  <a:pt x="955479" y="2095152"/>
                  <a:pt x="957461" y="2085919"/>
                  <a:pt x="961379" y="2077632"/>
                </a:cubicBezTo>
                <a:cubicBezTo>
                  <a:pt x="965297" y="2069346"/>
                  <a:pt x="970879" y="2062736"/>
                  <a:pt x="978127" y="2057803"/>
                </a:cubicBezTo>
                <a:cubicBezTo>
                  <a:pt x="985375" y="2052869"/>
                  <a:pt x="994015" y="2050342"/>
                  <a:pt x="1004049" y="2050220"/>
                </a:cubicBezTo>
                <a:close/>
                <a:moveTo>
                  <a:pt x="910056" y="2050220"/>
                </a:moveTo>
                <a:cubicBezTo>
                  <a:pt x="920102" y="2050342"/>
                  <a:pt x="927934" y="2051722"/>
                  <a:pt x="933552" y="2054359"/>
                </a:cubicBezTo>
                <a:cubicBezTo>
                  <a:pt x="939171" y="2056996"/>
                  <a:pt x="942026" y="2060156"/>
                  <a:pt x="942117" y="2063841"/>
                </a:cubicBezTo>
                <a:cubicBezTo>
                  <a:pt x="942083" y="2065762"/>
                  <a:pt x="941471" y="2067316"/>
                  <a:pt x="940284" y="2068503"/>
                </a:cubicBezTo>
                <a:cubicBezTo>
                  <a:pt x="939097" y="2069691"/>
                  <a:pt x="937542" y="2070302"/>
                  <a:pt x="935622" y="2070337"/>
                </a:cubicBezTo>
                <a:cubicBezTo>
                  <a:pt x="932168" y="2069996"/>
                  <a:pt x="928702" y="2068634"/>
                  <a:pt x="925223" y="2066251"/>
                </a:cubicBezTo>
                <a:cubicBezTo>
                  <a:pt x="921743" y="2063867"/>
                  <a:pt x="916339" y="2062505"/>
                  <a:pt x="909009" y="2062164"/>
                </a:cubicBezTo>
                <a:cubicBezTo>
                  <a:pt x="901409" y="2062322"/>
                  <a:pt x="895164" y="2064544"/>
                  <a:pt x="890273" y="2068831"/>
                </a:cubicBezTo>
                <a:cubicBezTo>
                  <a:pt x="885383" y="2073118"/>
                  <a:pt x="881761" y="2078522"/>
                  <a:pt x="879408" y="2085044"/>
                </a:cubicBezTo>
                <a:cubicBezTo>
                  <a:pt x="877055" y="2091566"/>
                  <a:pt x="875885" y="2098259"/>
                  <a:pt x="875900" y="2105122"/>
                </a:cubicBezTo>
                <a:cubicBezTo>
                  <a:pt x="876162" y="2118664"/>
                  <a:pt x="879410" y="2129247"/>
                  <a:pt x="885644" y="2136869"/>
                </a:cubicBezTo>
                <a:cubicBezTo>
                  <a:pt x="891878" y="2144491"/>
                  <a:pt x="899527" y="2148368"/>
                  <a:pt x="908590" y="2148499"/>
                </a:cubicBezTo>
                <a:cubicBezTo>
                  <a:pt x="914152" y="2148388"/>
                  <a:pt x="918581" y="2147609"/>
                  <a:pt x="921877" y="2146163"/>
                </a:cubicBezTo>
                <a:cubicBezTo>
                  <a:pt x="925173" y="2144717"/>
                  <a:pt x="927910" y="2143271"/>
                  <a:pt x="930088" y="2141824"/>
                </a:cubicBezTo>
                <a:cubicBezTo>
                  <a:pt x="932266" y="2140378"/>
                  <a:pt x="934460" y="2139600"/>
                  <a:pt x="936669" y="2139488"/>
                </a:cubicBezTo>
                <a:cubicBezTo>
                  <a:pt x="938682" y="2139510"/>
                  <a:pt x="940262" y="2140095"/>
                  <a:pt x="941410" y="2141243"/>
                </a:cubicBezTo>
                <a:cubicBezTo>
                  <a:pt x="942559" y="2142391"/>
                  <a:pt x="943143" y="2143972"/>
                  <a:pt x="943165" y="2145984"/>
                </a:cubicBezTo>
                <a:cubicBezTo>
                  <a:pt x="943004" y="2149704"/>
                  <a:pt x="939869" y="2153004"/>
                  <a:pt x="933762" y="2155886"/>
                </a:cubicBezTo>
                <a:cubicBezTo>
                  <a:pt x="927654" y="2158767"/>
                  <a:pt x="919543" y="2160286"/>
                  <a:pt x="909428" y="2160443"/>
                </a:cubicBezTo>
                <a:cubicBezTo>
                  <a:pt x="894266" y="2160295"/>
                  <a:pt x="882313" y="2155405"/>
                  <a:pt x="873569" y="2145775"/>
                </a:cubicBezTo>
                <a:cubicBezTo>
                  <a:pt x="864824" y="2136144"/>
                  <a:pt x="860363" y="2122663"/>
                  <a:pt x="860183" y="2105332"/>
                </a:cubicBezTo>
                <a:cubicBezTo>
                  <a:pt x="860389" y="2089100"/>
                  <a:pt x="864955" y="2075934"/>
                  <a:pt x="873883" y="2065831"/>
                </a:cubicBezTo>
                <a:cubicBezTo>
                  <a:pt x="882811" y="2055729"/>
                  <a:pt x="894868" y="2050526"/>
                  <a:pt x="910056" y="2050220"/>
                </a:cubicBezTo>
                <a:close/>
                <a:moveTo>
                  <a:pt x="650576" y="2050220"/>
                </a:moveTo>
                <a:cubicBezTo>
                  <a:pt x="659614" y="2050340"/>
                  <a:pt x="667313" y="2052591"/>
                  <a:pt x="673673" y="2056972"/>
                </a:cubicBezTo>
                <a:cubicBezTo>
                  <a:pt x="680034" y="2061353"/>
                  <a:pt x="684892" y="2067143"/>
                  <a:pt x="688249" y="2074342"/>
                </a:cubicBezTo>
                <a:cubicBezTo>
                  <a:pt x="691605" y="2081540"/>
                  <a:pt x="693297" y="2089425"/>
                  <a:pt x="693325" y="2097997"/>
                </a:cubicBezTo>
                <a:cubicBezTo>
                  <a:pt x="693368" y="2101263"/>
                  <a:pt x="692967" y="2103428"/>
                  <a:pt x="692120" y="2104494"/>
                </a:cubicBezTo>
                <a:cubicBezTo>
                  <a:pt x="691273" y="2105559"/>
                  <a:pt x="689719" y="2106048"/>
                  <a:pt x="687457" y="2105960"/>
                </a:cubicBezTo>
                <a:lnTo>
                  <a:pt x="618934" y="2105960"/>
                </a:lnTo>
                <a:cubicBezTo>
                  <a:pt x="619375" y="2119725"/>
                  <a:pt x="622789" y="2130176"/>
                  <a:pt x="629176" y="2137314"/>
                </a:cubicBezTo>
                <a:cubicBezTo>
                  <a:pt x="635563" y="2144452"/>
                  <a:pt x="643535" y="2148041"/>
                  <a:pt x="653091" y="2148080"/>
                </a:cubicBezTo>
                <a:cubicBezTo>
                  <a:pt x="659277" y="2147971"/>
                  <a:pt x="664205" y="2147211"/>
                  <a:pt x="667876" y="2145798"/>
                </a:cubicBezTo>
                <a:cubicBezTo>
                  <a:pt x="671547" y="2144385"/>
                  <a:pt x="674566" y="2142973"/>
                  <a:pt x="676933" y="2141561"/>
                </a:cubicBezTo>
                <a:cubicBezTo>
                  <a:pt x="679300" y="2140148"/>
                  <a:pt x="681621" y="2139387"/>
                  <a:pt x="683895" y="2139279"/>
                </a:cubicBezTo>
                <a:cubicBezTo>
                  <a:pt x="685807" y="2139305"/>
                  <a:pt x="687326" y="2139881"/>
                  <a:pt x="688453" y="2141007"/>
                </a:cubicBezTo>
                <a:cubicBezTo>
                  <a:pt x="689579" y="2142134"/>
                  <a:pt x="690155" y="2143653"/>
                  <a:pt x="690181" y="2145565"/>
                </a:cubicBezTo>
                <a:cubicBezTo>
                  <a:pt x="690068" y="2149394"/>
                  <a:pt x="686785" y="2152790"/>
                  <a:pt x="680333" y="2155755"/>
                </a:cubicBezTo>
                <a:cubicBezTo>
                  <a:pt x="673880" y="2158719"/>
                  <a:pt x="664939" y="2160282"/>
                  <a:pt x="653510" y="2160443"/>
                </a:cubicBezTo>
                <a:cubicBezTo>
                  <a:pt x="637379" y="2160111"/>
                  <a:pt x="624954" y="2154960"/>
                  <a:pt x="616236" y="2144989"/>
                </a:cubicBezTo>
                <a:cubicBezTo>
                  <a:pt x="607518" y="2135018"/>
                  <a:pt x="603109" y="2122218"/>
                  <a:pt x="603009" y="2106589"/>
                </a:cubicBezTo>
                <a:cubicBezTo>
                  <a:pt x="603314" y="2090122"/>
                  <a:pt x="607889" y="2076693"/>
                  <a:pt x="616734" y="2066303"/>
                </a:cubicBezTo>
                <a:cubicBezTo>
                  <a:pt x="625579" y="2055913"/>
                  <a:pt x="636860" y="2050552"/>
                  <a:pt x="650576" y="2050220"/>
                </a:cubicBezTo>
                <a:close/>
                <a:moveTo>
                  <a:pt x="557631" y="2050220"/>
                </a:moveTo>
                <a:cubicBezTo>
                  <a:pt x="567677" y="2050342"/>
                  <a:pt x="575509" y="2051722"/>
                  <a:pt x="581127" y="2054359"/>
                </a:cubicBezTo>
                <a:cubicBezTo>
                  <a:pt x="586746" y="2056996"/>
                  <a:pt x="589601" y="2060156"/>
                  <a:pt x="589693" y="2063841"/>
                </a:cubicBezTo>
                <a:cubicBezTo>
                  <a:pt x="589658" y="2065762"/>
                  <a:pt x="589046" y="2067316"/>
                  <a:pt x="587859" y="2068503"/>
                </a:cubicBezTo>
                <a:cubicBezTo>
                  <a:pt x="586672" y="2069691"/>
                  <a:pt x="585117" y="2070302"/>
                  <a:pt x="583196" y="2070337"/>
                </a:cubicBezTo>
                <a:cubicBezTo>
                  <a:pt x="579743" y="2069996"/>
                  <a:pt x="576277" y="2068634"/>
                  <a:pt x="572798" y="2066251"/>
                </a:cubicBezTo>
                <a:cubicBezTo>
                  <a:pt x="569318" y="2063867"/>
                  <a:pt x="563913" y="2062505"/>
                  <a:pt x="556584" y="2062164"/>
                </a:cubicBezTo>
                <a:cubicBezTo>
                  <a:pt x="548984" y="2062322"/>
                  <a:pt x="542739" y="2064544"/>
                  <a:pt x="537848" y="2068831"/>
                </a:cubicBezTo>
                <a:cubicBezTo>
                  <a:pt x="532957" y="2073118"/>
                  <a:pt x="529336" y="2078522"/>
                  <a:pt x="526983" y="2085044"/>
                </a:cubicBezTo>
                <a:cubicBezTo>
                  <a:pt x="524630" y="2091566"/>
                  <a:pt x="523461" y="2098259"/>
                  <a:pt x="523475" y="2105122"/>
                </a:cubicBezTo>
                <a:cubicBezTo>
                  <a:pt x="523737" y="2118664"/>
                  <a:pt x="526985" y="2129247"/>
                  <a:pt x="533219" y="2136869"/>
                </a:cubicBezTo>
                <a:cubicBezTo>
                  <a:pt x="539453" y="2144491"/>
                  <a:pt x="547101" y="2148368"/>
                  <a:pt x="556165" y="2148499"/>
                </a:cubicBezTo>
                <a:cubicBezTo>
                  <a:pt x="561727" y="2148388"/>
                  <a:pt x="566156" y="2147609"/>
                  <a:pt x="569452" y="2146163"/>
                </a:cubicBezTo>
                <a:cubicBezTo>
                  <a:pt x="572747" y="2144717"/>
                  <a:pt x="575485" y="2143271"/>
                  <a:pt x="577663" y="2141824"/>
                </a:cubicBezTo>
                <a:cubicBezTo>
                  <a:pt x="579841" y="2140378"/>
                  <a:pt x="582035" y="2139600"/>
                  <a:pt x="584244" y="2139488"/>
                </a:cubicBezTo>
                <a:cubicBezTo>
                  <a:pt x="586257" y="2139510"/>
                  <a:pt x="587837" y="2140095"/>
                  <a:pt x="588985" y="2141243"/>
                </a:cubicBezTo>
                <a:cubicBezTo>
                  <a:pt x="590133" y="2142391"/>
                  <a:pt x="590719" y="2143972"/>
                  <a:pt x="590740" y="2145984"/>
                </a:cubicBezTo>
                <a:cubicBezTo>
                  <a:pt x="590579" y="2149704"/>
                  <a:pt x="587444" y="2153004"/>
                  <a:pt x="581337" y="2155886"/>
                </a:cubicBezTo>
                <a:cubicBezTo>
                  <a:pt x="575229" y="2158767"/>
                  <a:pt x="567118" y="2160286"/>
                  <a:pt x="557003" y="2160443"/>
                </a:cubicBezTo>
                <a:cubicBezTo>
                  <a:pt x="541841" y="2160295"/>
                  <a:pt x="529888" y="2155405"/>
                  <a:pt x="521143" y="2145775"/>
                </a:cubicBezTo>
                <a:cubicBezTo>
                  <a:pt x="512399" y="2136144"/>
                  <a:pt x="507937" y="2122663"/>
                  <a:pt x="507759" y="2105332"/>
                </a:cubicBezTo>
                <a:cubicBezTo>
                  <a:pt x="507964" y="2089100"/>
                  <a:pt x="512530" y="2075934"/>
                  <a:pt x="521458" y="2065831"/>
                </a:cubicBezTo>
                <a:cubicBezTo>
                  <a:pt x="530385" y="2055729"/>
                  <a:pt x="542443" y="2050526"/>
                  <a:pt x="557631" y="2050220"/>
                </a:cubicBezTo>
                <a:close/>
                <a:moveTo>
                  <a:pt x="193376" y="2050220"/>
                </a:moveTo>
                <a:cubicBezTo>
                  <a:pt x="202414" y="2050340"/>
                  <a:pt x="210113" y="2052591"/>
                  <a:pt x="216473" y="2056972"/>
                </a:cubicBezTo>
                <a:cubicBezTo>
                  <a:pt x="222834" y="2061353"/>
                  <a:pt x="227692" y="2067143"/>
                  <a:pt x="231049" y="2074342"/>
                </a:cubicBezTo>
                <a:cubicBezTo>
                  <a:pt x="234405" y="2081540"/>
                  <a:pt x="236097" y="2089425"/>
                  <a:pt x="236125" y="2097997"/>
                </a:cubicBezTo>
                <a:cubicBezTo>
                  <a:pt x="236168" y="2101263"/>
                  <a:pt x="235767" y="2103428"/>
                  <a:pt x="234920" y="2104494"/>
                </a:cubicBezTo>
                <a:cubicBezTo>
                  <a:pt x="234073" y="2105559"/>
                  <a:pt x="232519" y="2106048"/>
                  <a:pt x="230257" y="2105960"/>
                </a:cubicBezTo>
                <a:lnTo>
                  <a:pt x="161734" y="2105960"/>
                </a:lnTo>
                <a:cubicBezTo>
                  <a:pt x="162175" y="2119725"/>
                  <a:pt x="165589" y="2130176"/>
                  <a:pt x="171976" y="2137314"/>
                </a:cubicBezTo>
                <a:cubicBezTo>
                  <a:pt x="178363" y="2144452"/>
                  <a:pt x="186335" y="2148041"/>
                  <a:pt x="195891" y="2148080"/>
                </a:cubicBezTo>
                <a:cubicBezTo>
                  <a:pt x="202077" y="2147971"/>
                  <a:pt x="207005" y="2147211"/>
                  <a:pt x="210676" y="2145798"/>
                </a:cubicBezTo>
                <a:cubicBezTo>
                  <a:pt x="214347" y="2144385"/>
                  <a:pt x="217366" y="2142973"/>
                  <a:pt x="219733" y="2141561"/>
                </a:cubicBezTo>
                <a:cubicBezTo>
                  <a:pt x="222100" y="2140148"/>
                  <a:pt x="224421" y="2139387"/>
                  <a:pt x="226695" y="2139279"/>
                </a:cubicBezTo>
                <a:cubicBezTo>
                  <a:pt x="228607" y="2139305"/>
                  <a:pt x="230126" y="2139881"/>
                  <a:pt x="231253" y="2141007"/>
                </a:cubicBezTo>
                <a:cubicBezTo>
                  <a:pt x="232379" y="2142134"/>
                  <a:pt x="232955" y="2143653"/>
                  <a:pt x="232981" y="2145565"/>
                </a:cubicBezTo>
                <a:cubicBezTo>
                  <a:pt x="232868" y="2149394"/>
                  <a:pt x="229585" y="2152790"/>
                  <a:pt x="223132" y="2155755"/>
                </a:cubicBezTo>
                <a:cubicBezTo>
                  <a:pt x="216680" y="2158719"/>
                  <a:pt x="207739" y="2160282"/>
                  <a:pt x="196310" y="2160443"/>
                </a:cubicBezTo>
                <a:cubicBezTo>
                  <a:pt x="180179" y="2160111"/>
                  <a:pt x="167755" y="2154960"/>
                  <a:pt x="159036" y="2144989"/>
                </a:cubicBezTo>
                <a:cubicBezTo>
                  <a:pt x="150318" y="2135018"/>
                  <a:pt x="145909" y="2122218"/>
                  <a:pt x="145809" y="2106589"/>
                </a:cubicBezTo>
                <a:cubicBezTo>
                  <a:pt x="146114" y="2090122"/>
                  <a:pt x="150689" y="2076693"/>
                  <a:pt x="159534" y="2066303"/>
                </a:cubicBezTo>
                <a:cubicBezTo>
                  <a:pt x="168379" y="2055913"/>
                  <a:pt x="179660" y="2050552"/>
                  <a:pt x="193376" y="2050220"/>
                </a:cubicBezTo>
                <a:close/>
                <a:moveTo>
                  <a:pt x="34576" y="2025074"/>
                </a:moveTo>
                <a:lnTo>
                  <a:pt x="34576" y="2080605"/>
                </a:lnTo>
                <a:lnTo>
                  <a:pt x="66218" y="2080605"/>
                </a:lnTo>
                <a:cubicBezTo>
                  <a:pt x="74268" y="2080714"/>
                  <a:pt x="81270" y="2078505"/>
                  <a:pt x="87225" y="2073978"/>
                </a:cubicBezTo>
                <a:cubicBezTo>
                  <a:pt x="93180" y="2069451"/>
                  <a:pt x="96306" y="2061950"/>
                  <a:pt x="96602" y="2051477"/>
                </a:cubicBezTo>
                <a:cubicBezTo>
                  <a:pt x="96598" y="2042860"/>
                  <a:pt x="94145" y="2036311"/>
                  <a:pt x="89242" y="2031832"/>
                </a:cubicBezTo>
                <a:cubicBezTo>
                  <a:pt x="84339" y="2027353"/>
                  <a:pt x="77014" y="2025100"/>
                  <a:pt x="67265" y="2025074"/>
                </a:cubicBezTo>
                <a:close/>
                <a:moveTo>
                  <a:pt x="1183005" y="2022559"/>
                </a:moveTo>
                <a:lnTo>
                  <a:pt x="1188243" y="2022559"/>
                </a:lnTo>
                <a:cubicBezTo>
                  <a:pt x="1189754" y="2022603"/>
                  <a:pt x="1191029" y="2023144"/>
                  <a:pt x="1192068" y="2024183"/>
                </a:cubicBezTo>
                <a:cubicBezTo>
                  <a:pt x="1193107" y="2025222"/>
                  <a:pt x="1193648" y="2026497"/>
                  <a:pt x="1193692" y="2028008"/>
                </a:cubicBezTo>
                <a:lnTo>
                  <a:pt x="1193692" y="2052944"/>
                </a:lnTo>
                <a:lnTo>
                  <a:pt x="1218209" y="2052944"/>
                </a:lnTo>
                <a:cubicBezTo>
                  <a:pt x="1219720" y="2052988"/>
                  <a:pt x="1220995" y="2053529"/>
                  <a:pt x="1222034" y="2054568"/>
                </a:cubicBezTo>
                <a:cubicBezTo>
                  <a:pt x="1223073" y="2055607"/>
                  <a:pt x="1223614" y="2056882"/>
                  <a:pt x="1223657" y="2058393"/>
                </a:cubicBezTo>
                <a:lnTo>
                  <a:pt x="1223657" y="2059231"/>
                </a:lnTo>
                <a:cubicBezTo>
                  <a:pt x="1223614" y="2060741"/>
                  <a:pt x="1223073" y="2062016"/>
                  <a:pt x="1222034" y="2063055"/>
                </a:cubicBezTo>
                <a:cubicBezTo>
                  <a:pt x="1220995" y="2064094"/>
                  <a:pt x="1219720" y="2064635"/>
                  <a:pt x="1218209" y="2064679"/>
                </a:cubicBezTo>
                <a:lnTo>
                  <a:pt x="1193692" y="2064679"/>
                </a:lnTo>
                <a:lnTo>
                  <a:pt x="1193692" y="2132573"/>
                </a:lnTo>
                <a:cubicBezTo>
                  <a:pt x="1193605" y="2137035"/>
                  <a:pt x="1194670" y="2140580"/>
                  <a:pt x="1196887" y="2143208"/>
                </a:cubicBezTo>
                <a:cubicBezTo>
                  <a:pt x="1199105" y="2145836"/>
                  <a:pt x="1202999" y="2147181"/>
                  <a:pt x="1208570" y="2147242"/>
                </a:cubicBezTo>
                <a:cubicBezTo>
                  <a:pt x="1211185" y="2147198"/>
                  <a:pt x="1213184" y="2147023"/>
                  <a:pt x="1214568" y="2146718"/>
                </a:cubicBezTo>
                <a:cubicBezTo>
                  <a:pt x="1215952" y="2146412"/>
                  <a:pt x="1217375" y="2146238"/>
                  <a:pt x="1218838" y="2146194"/>
                </a:cubicBezTo>
                <a:cubicBezTo>
                  <a:pt x="1219955" y="2146155"/>
                  <a:pt x="1221021" y="2146547"/>
                  <a:pt x="1222034" y="2147373"/>
                </a:cubicBezTo>
                <a:cubicBezTo>
                  <a:pt x="1223046" y="2148198"/>
                  <a:pt x="1223588" y="2149691"/>
                  <a:pt x="1223657" y="2151852"/>
                </a:cubicBezTo>
                <a:lnTo>
                  <a:pt x="1223657" y="2152480"/>
                </a:lnTo>
                <a:cubicBezTo>
                  <a:pt x="1223548" y="2154641"/>
                  <a:pt x="1222876" y="2156187"/>
                  <a:pt x="1221641" y="2157117"/>
                </a:cubicBezTo>
                <a:cubicBezTo>
                  <a:pt x="1220405" y="2158047"/>
                  <a:pt x="1219261" y="2158597"/>
                  <a:pt x="1218209" y="2158767"/>
                </a:cubicBezTo>
                <a:cubicBezTo>
                  <a:pt x="1216550" y="2159077"/>
                  <a:pt x="1214839" y="2159295"/>
                  <a:pt x="1213075" y="2159422"/>
                </a:cubicBezTo>
                <a:cubicBezTo>
                  <a:pt x="1211311" y="2159548"/>
                  <a:pt x="1209391" y="2159609"/>
                  <a:pt x="1207313" y="2159605"/>
                </a:cubicBezTo>
                <a:cubicBezTo>
                  <a:pt x="1197913" y="2159815"/>
                  <a:pt x="1190623" y="2157719"/>
                  <a:pt x="1185441" y="2153319"/>
                </a:cubicBezTo>
                <a:cubicBezTo>
                  <a:pt x="1180259" y="2148918"/>
                  <a:pt x="1177631" y="2140955"/>
                  <a:pt x="1177557" y="2129430"/>
                </a:cubicBezTo>
                <a:lnTo>
                  <a:pt x="1177557" y="2064679"/>
                </a:lnTo>
                <a:lnTo>
                  <a:pt x="1163517" y="2064679"/>
                </a:lnTo>
                <a:cubicBezTo>
                  <a:pt x="1162006" y="2064635"/>
                  <a:pt x="1160731" y="2064094"/>
                  <a:pt x="1159692" y="2063055"/>
                </a:cubicBezTo>
                <a:cubicBezTo>
                  <a:pt x="1158653" y="2062016"/>
                  <a:pt x="1158112" y="2060741"/>
                  <a:pt x="1158068" y="2059231"/>
                </a:cubicBezTo>
                <a:lnTo>
                  <a:pt x="1158068" y="2058393"/>
                </a:lnTo>
                <a:cubicBezTo>
                  <a:pt x="1158112" y="2056882"/>
                  <a:pt x="1158653" y="2055607"/>
                  <a:pt x="1159692" y="2054568"/>
                </a:cubicBezTo>
                <a:cubicBezTo>
                  <a:pt x="1160731" y="2053529"/>
                  <a:pt x="1162006" y="2052988"/>
                  <a:pt x="1163517" y="2052944"/>
                </a:cubicBezTo>
                <a:lnTo>
                  <a:pt x="1177557" y="2052944"/>
                </a:lnTo>
                <a:lnTo>
                  <a:pt x="1177557" y="2028008"/>
                </a:lnTo>
                <a:cubicBezTo>
                  <a:pt x="1177600" y="2026497"/>
                  <a:pt x="1178141" y="2025222"/>
                  <a:pt x="1179181" y="2024183"/>
                </a:cubicBezTo>
                <a:cubicBezTo>
                  <a:pt x="1180219" y="2023144"/>
                  <a:pt x="1181494" y="2022603"/>
                  <a:pt x="1183005" y="2022559"/>
                </a:cubicBezTo>
                <a:close/>
                <a:moveTo>
                  <a:pt x="789508" y="2012501"/>
                </a:moveTo>
                <a:lnTo>
                  <a:pt x="794747" y="2012501"/>
                </a:lnTo>
                <a:cubicBezTo>
                  <a:pt x="796257" y="2012545"/>
                  <a:pt x="797532" y="2013086"/>
                  <a:pt x="798571" y="2014125"/>
                </a:cubicBezTo>
                <a:cubicBezTo>
                  <a:pt x="799610" y="2015164"/>
                  <a:pt x="800151" y="2016439"/>
                  <a:pt x="800195" y="2017949"/>
                </a:cubicBezTo>
                <a:lnTo>
                  <a:pt x="800195" y="2152271"/>
                </a:lnTo>
                <a:cubicBezTo>
                  <a:pt x="800151" y="2153781"/>
                  <a:pt x="799610" y="2155056"/>
                  <a:pt x="798571" y="2156095"/>
                </a:cubicBezTo>
                <a:cubicBezTo>
                  <a:pt x="797532" y="2157134"/>
                  <a:pt x="796257" y="2157676"/>
                  <a:pt x="794747" y="2157719"/>
                </a:cubicBezTo>
                <a:lnTo>
                  <a:pt x="789508" y="2157719"/>
                </a:lnTo>
                <a:cubicBezTo>
                  <a:pt x="787997" y="2157676"/>
                  <a:pt x="786723" y="2157134"/>
                  <a:pt x="785684" y="2156095"/>
                </a:cubicBezTo>
                <a:cubicBezTo>
                  <a:pt x="784645" y="2155056"/>
                  <a:pt x="784103" y="2153781"/>
                  <a:pt x="784060" y="2152271"/>
                </a:cubicBezTo>
                <a:lnTo>
                  <a:pt x="784060" y="2149547"/>
                </a:lnTo>
                <a:cubicBezTo>
                  <a:pt x="781226" y="2153026"/>
                  <a:pt x="777201" y="2155707"/>
                  <a:pt x="771984" y="2157588"/>
                </a:cubicBezTo>
                <a:cubicBezTo>
                  <a:pt x="766767" y="2159470"/>
                  <a:pt x="761014" y="2160421"/>
                  <a:pt x="754723" y="2160443"/>
                </a:cubicBezTo>
                <a:cubicBezTo>
                  <a:pt x="739657" y="2160251"/>
                  <a:pt x="728088" y="2155344"/>
                  <a:pt x="720016" y="2145722"/>
                </a:cubicBezTo>
                <a:cubicBezTo>
                  <a:pt x="711944" y="2136101"/>
                  <a:pt x="707867" y="2122916"/>
                  <a:pt x="707784" y="2106170"/>
                </a:cubicBezTo>
                <a:cubicBezTo>
                  <a:pt x="707893" y="2089445"/>
                  <a:pt x="712284" y="2076008"/>
                  <a:pt x="720959" y="2065858"/>
                </a:cubicBezTo>
                <a:cubicBezTo>
                  <a:pt x="729633" y="2055708"/>
                  <a:pt x="741936" y="2050495"/>
                  <a:pt x="757866" y="2050220"/>
                </a:cubicBezTo>
                <a:cubicBezTo>
                  <a:pt x="763677" y="2050272"/>
                  <a:pt x="768819" y="2051006"/>
                  <a:pt x="773294" y="2052420"/>
                </a:cubicBezTo>
                <a:cubicBezTo>
                  <a:pt x="777769" y="2053835"/>
                  <a:pt x="781287" y="2055616"/>
                  <a:pt x="783850" y="2057764"/>
                </a:cubicBezTo>
                <a:lnTo>
                  <a:pt x="784060" y="2057764"/>
                </a:lnTo>
                <a:lnTo>
                  <a:pt x="784060" y="2017949"/>
                </a:lnTo>
                <a:cubicBezTo>
                  <a:pt x="784103" y="2016439"/>
                  <a:pt x="784645" y="2015164"/>
                  <a:pt x="785684" y="2014125"/>
                </a:cubicBezTo>
                <a:cubicBezTo>
                  <a:pt x="786723" y="2013086"/>
                  <a:pt x="787997" y="2012545"/>
                  <a:pt x="789508" y="2012501"/>
                </a:cubicBezTo>
                <a:close/>
                <a:moveTo>
                  <a:pt x="341833" y="2012501"/>
                </a:moveTo>
                <a:lnTo>
                  <a:pt x="347072" y="2012501"/>
                </a:lnTo>
                <a:cubicBezTo>
                  <a:pt x="348582" y="2012545"/>
                  <a:pt x="349857" y="2013086"/>
                  <a:pt x="350896" y="2014125"/>
                </a:cubicBezTo>
                <a:cubicBezTo>
                  <a:pt x="351935" y="2015164"/>
                  <a:pt x="352476" y="2016439"/>
                  <a:pt x="352520" y="2017949"/>
                </a:cubicBezTo>
                <a:lnTo>
                  <a:pt x="352520" y="2152271"/>
                </a:lnTo>
                <a:cubicBezTo>
                  <a:pt x="352476" y="2153781"/>
                  <a:pt x="351935" y="2155056"/>
                  <a:pt x="350896" y="2156095"/>
                </a:cubicBezTo>
                <a:cubicBezTo>
                  <a:pt x="349857" y="2157134"/>
                  <a:pt x="348582" y="2157676"/>
                  <a:pt x="347072" y="2157719"/>
                </a:cubicBezTo>
                <a:lnTo>
                  <a:pt x="341833" y="2157719"/>
                </a:lnTo>
                <a:cubicBezTo>
                  <a:pt x="340323" y="2157676"/>
                  <a:pt x="339048" y="2157134"/>
                  <a:pt x="338009" y="2156095"/>
                </a:cubicBezTo>
                <a:cubicBezTo>
                  <a:pt x="336970" y="2155056"/>
                  <a:pt x="336428" y="2153781"/>
                  <a:pt x="336385" y="2152271"/>
                </a:cubicBezTo>
                <a:lnTo>
                  <a:pt x="336385" y="2149547"/>
                </a:lnTo>
                <a:cubicBezTo>
                  <a:pt x="333551" y="2153026"/>
                  <a:pt x="329526" y="2155707"/>
                  <a:pt x="324309" y="2157588"/>
                </a:cubicBezTo>
                <a:cubicBezTo>
                  <a:pt x="319092" y="2159470"/>
                  <a:pt x="313339" y="2160421"/>
                  <a:pt x="307048" y="2160443"/>
                </a:cubicBezTo>
                <a:cubicBezTo>
                  <a:pt x="291982" y="2160251"/>
                  <a:pt x="280413" y="2155344"/>
                  <a:pt x="272341" y="2145722"/>
                </a:cubicBezTo>
                <a:cubicBezTo>
                  <a:pt x="264269" y="2136101"/>
                  <a:pt x="260191" y="2122916"/>
                  <a:pt x="260109" y="2106170"/>
                </a:cubicBezTo>
                <a:cubicBezTo>
                  <a:pt x="260218" y="2089445"/>
                  <a:pt x="264609" y="2076008"/>
                  <a:pt x="273284" y="2065858"/>
                </a:cubicBezTo>
                <a:cubicBezTo>
                  <a:pt x="281958" y="2055708"/>
                  <a:pt x="294261" y="2050495"/>
                  <a:pt x="310191" y="2050220"/>
                </a:cubicBezTo>
                <a:cubicBezTo>
                  <a:pt x="316002" y="2050272"/>
                  <a:pt x="321144" y="2051006"/>
                  <a:pt x="325619" y="2052420"/>
                </a:cubicBezTo>
                <a:cubicBezTo>
                  <a:pt x="330094" y="2053835"/>
                  <a:pt x="333613" y="2055616"/>
                  <a:pt x="336175" y="2057764"/>
                </a:cubicBezTo>
                <a:lnTo>
                  <a:pt x="336385" y="2057764"/>
                </a:lnTo>
                <a:lnTo>
                  <a:pt x="336385" y="2017949"/>
                </a:lnTo>
                <a:cubicBezTo>
                  <a:pt x="336428" y="2016439"/>
                  <a:pt x="336970" y="2015164"/>
                  <a:pt x="338009" y="2014125"/>
                </a:cubicBezTo>
                <a:cubicBezTo>
                  <a:pt x="339048" y="2013086"/>
                  <a:pt x="340323" y="2012545"/>
                  <a:pt x="341833" y="2012501"/>
                </a:cubicBezTo>
                <a:close/>
                <a:moveTo>
                  <a:pt x="22003" y="2012501"/>
                </a:moveTo>
                <a:lnTo>
                  <a:pt x="70199" y="2012501"/>
                </a:lnTo>
                <a:cubicBezTo>
                  <a:pt x="86094" y="2012815"/>
                  <a:pt x="97576" y="2016640"/>
                  <a:pt x="104644" y="2023974"/>
                </a:cubicBezTo>
                <a:cubicBezTo>
                  <a:pt x="111712" y="2031308"/>
                  <a:pt x="115178" y="2040266"/>
                  <a:pt x="115043" y="2050849"/>
                </a:cubicBezTo>
                <a:cubicBezTo>
                  <a:pt x="115056" y="2060038"/>
                  <a:pt x="112620" y="2068167"/>
                  <a:pt x="107735" y="2075235"/>
                </a:cubicBezTo>
                <a:cubicBezTo>
                  <a:pt x="102850" y="2082303"/>
                  <a:pt x="95437" y="2087236"/>
                  <a:pt x="85496" y="2090035"/>
                </a:cubicBezTo>
                <a:lnTo>
                  <a:pt x="118186" y="2148918"/>
                </a:lnTo>
                <a:cubicBezTo>
                  <a:pt x="118505" y="2149555"/>
                  <a:pt x="118758" y="2150219"/>
                  <a:pt x="118946" y="2150909"/>
                </a:cubicBezTo>
                <a:cubicBezTo>
                  <a:pt x="119133" y="2151599"/>
                  <a:pt x="119229" y="2152262"/>
                  <a:pt x="119234" y="2152900"/>
                </a:cubicBezTo>
                <a:cubicBezTo>
                  <a:pt x="119247" y="2154292"/>
                  <a:pt x="118749" y="2155436"/>
                  <a:pt x="117741" y="2156331"/>
                </a:cubicBezTo>
                <a:cubicBezTo>
                  <a:pt x="116732" y="2157226"/>
                  <a:pt x="115134" y="2157689"/>
                  <a:pt x="112947" y="2157719"/>
                </a:cubicBezTo>
                <a:lnTo>
                  <a:pt x="107289" y="2157719"/>
                </a:lnTo>
                <a:cubicBezTo>
                  <a:pt x="105408" y="2157710"/>
                  <a:pt x="103775" y="2157256"/>
                  <a:pt x="102391" y="2156357"/>
                </a:cubicBezTo>
                <a:cubicBezTo>
                  <a:pt x="101007" y="2155458"/>
                  <a:pt x="99846" y="2154166"/>
                  <a:pt x="98907" y="2152480"/>
                </a:cubicBezTo>
                <a:lnTo>
                  <a:pt x="66846" y="2092759"/>
                </a:lnTo>
                <a:lnTo>
                  <a:pt x="34576" y="2092759"/>
                </a:lnTo>
                <a:lnTo>
                  <a:pt x="34576" y="2152271"/>
                </a:lnTo>
                <a:cubicBezTo>
                  <a:pt x="34532" y="2153781"/>
                  <a:pt x="33991" y="2155056"/>
                  <a:pt x="32952" y="2156095"/>
                </a:cubicBezTo>
                <a:cubicBezTo>
                  <a:pt x="31913" y="2157134"/>
                  <a:pt x="30638" y="2157676"/>
                  <a:pt x="29127" y="2157719"/>
                </a:cubicBezTo>
                <a:lnTo>
                  <a:pt x="22003" y="2157719"/>
                </a:lnTo>
                <a:cubicBezTo>
                  <a:pt x="20492" y="2157676"/>
                  <a:pt x="19217" y="2157134"/>
                  <a:pt x="18178" y="2156095"/>
                </a:cubicBezTo>
                <a:cubicBezTo>
                  <a:pt x="17139" y="2155056"/>
                  <a:pt x="16598" y="2153781"/>
                  <a:pt x="16554" y="2152271"/>
                </a:cubicBezTo>
                <a:lnTo>
                  <a:pt x="16554" y="2017949"/>
                </a:lnTo>
                <a:cubicBezTo>
                  <a:pt x="16598" y="2016439"/>
                  <a:pt x="17139" y="2015164"/>
                  <a:pt x="18178" y="2014125"/>
                </a:cubicBezTo>
                <a:cubicBezTo>
                  <a:pt x="19217" y="2013086"/>
                  <a:pt x="20492" y="2012545"/>
                  <a:pt x="22003" y="2012501"/>
                </a:cubicBezTo>
                <a:close/>
                <a:moveTo>
                  <a:pt x="1421473" y="1814095"/>
                </a:moveTo>
                <a:cubicBezTo>
                  <a:pt x="1412584" y="1814418"/>
                  <a:pt x="1405477" y="1817858"/>
                  <a:pt x="1400151" y="1824416"/>
                </a:cubicBezTo>
                <a:cubicBezTo>
                  <a:pt x="1394825" y="1830973"/>
                  <a:pt x="1391804" y="1838709"/>
                  <a:pt x="1391088" y="1847623"/>
                </a:cubicBezTo>
                <a:lnTo>
                  <a:pt x="1448714" y="1847623"/>
                </a:lnTo>
                <a:cubicBezTo>
                  <a:pt x="1448561" y="1837150"/>
                  <a:pt x="1445986" y="1828969"/>
                  <a:pt x="1440987" y="1823080"/>
                </a:cubicBezTo>
                <a:cubicBezTo>
                  <a:pt x="1435988" y="1817191"/>
                  <a:pt x="1429483" y="1814196"/>
                  <a:pt x="1421473" y="1814095"/>
                </a:cubicBezTo>
                <a:close/>
                <a:moveTo>
                  <a:pt x="964273" y="1814095"/>
                </a:moveTo>
                <a:cubicBezTo>
                  <a:pt x="955384" y="1814418"/>
                  <a:pt x="948277" y="1817858"/>
                  <a:pt x="942951" y="1824416"/>
                </a:cubicBezTo>
                <a:cubicBezTo>
                  <a:pt x="937625" y="1830973"/>
                  <a:pt x="934604" y="1838709"/>
                  <a:pt x="933888" y="1847623"/>
                </a:cubicBezTo>
                <a:lnTo>
                  <a:pt x="991514" y="1847623"/>
                </a:lnTo>
                <a:cubicBezTo>
                  <a:pt x="991361" y="1837150"/>
                  <a:pt x="988786" y="1828969"/>
                  <a:pt x="983787" y="1823080"/>
                </a:cubicBezTo>
                <a:cubicBezTo>
                  <a:pt x="978788" y="1817191"/>
                  <a:pt x="972284" y="1814196"/>
                  <a:pt x="964273" y="1814095"/>
                </a:cubicBezTo>
                <a:close/>
                <a:moveTo>
                  <a:pt x="805281" y="1814095"/>
                </a:moveTo>
                <a:cubicBezTo>
                  <a:pt x="793433" y="1814440"/>
                  <a:pt x="784859" y="1818780"/>
                  <a:pt x="779559" y="1827114"/>
                </a:cubicBezTo>
                <a:cubicBezTo>
                  <a:pt x="774259" y="1835448"/>
                  <a:pt x="771657" y="1845707"/>
                  <a:pt x="771753" y="1857891"/>
                </a:cubicBezTo>
                <a:cubicBezTo>
                  <a:pt x="771701" y="1870242"/>
                  <a:pt x="774268" y="1880483"/>
                  <a:pt x="779454" y="1888617"/>
                </a:cubicBezTo>
                <a:cubicBezTo>
                  <a:pt x="784641" y="1896750"/>
                  <a:pt x="792761" y="1900967"/>
                  <a:pt x="803815" y="1901268"/>
                </a:cubicBezTo>
                <a:cubicBezTo>
                  <a:pt x="811577" y="1901189"/>
                  <a:pt x="818108" y="1899461"/>
                  <a:pt x="823408" y="1896082"/>
                </a:cubicBezTo>
                <a:cubicBezTo>
                  <a:pt x="828707" y="1892703"/>
                  <a:pt x="831467" y="1888145"/>
                  <a:pt x="831685" y="1882409"/>
                </a:cubicBezTo>
                <a:lnTo>
                  <a:pt x="831685" y="1826878"/>
                </a:lnTo>
                <a:cubicBezTo>
                  <a:pt x="831475" y="1822586"/>
                  <a:pt x="828856" y="1819382"/>
                  <a:pt x="823827" y="1817265"/>
                </a:cubicBezTo>
                <a:cubicBezTo>
                  <a:pt x="818797" y="1815147"/>
                  <a:pt x="812616" y="1814091"/>
                  <a:pt x="805281" y="1814095"/>
                </a:cubicBezTo>
                <a:close/>
                <a:moveTo>
                  <a:pt x="688048" y="1814095"/>
                </a:moveTo>
                <a:cubicBezTo>
                  <a:pt x="679159" y="1814418"/>
                  <a:pt x="672052" y="1817858"/>
                  <a:pt x="666726" y="1824416"/>
                </a:cubicBezTo>
                <a:cubicBezTo>
                  <a:pt x="661400" y="1830973"/>
                  <a:pt x="658379" y="1838709"/>
                  <a:pt x="657663" y="1847623"/>
                </a:cubicBezTo>
                <a:lnTo>
                  <a:pt x="715289" y="1847623"/>
                </a:lnTo>
                <a:cubicBezTo>
                  <a:pt x="715136" y="1837150"/>
                  <a:pt x="712561" y="1828969"/>
                  <a:pt x="707562" y="1823080"/>
                </a:cubicBezTo>
                <a:cubicBezTo>
                  <a:pt x="702563" y="1817191"/>
                  <a:pt x="696059" y="1814196"/>
                  <a:pt x="688048" y="1814095"/>
                </a:cubicBezTo>
                <a:close/>
                <a:moveTo>
                  <a:pt x="480174" y="1814095"/>
                </a:moveTo>
                <a:cubicBezTo>
                  <a:pt x="472981" y="1814210"/>
                  <a:pt x="466994" y="1816285"/>
                  <a:pt x="462215" y="1820320"/>
                </a:cubicBezTo>
                <a:cubicBezTo>
                  <a:pt x="457435" y="1824354"/>
                  <a:pt x="453855" y="1829658"/>
                  <a:pt x="451474" y="1836230"/>
                </a:cubicBezTo>
                <a:cubicBezTo>
                  <a:pt x="449092" y="1842802"/>
                  <a:pt x="447902" y="1849953"/>
                  <a:pt x="447903" y="1857682"/>
                </a:cubicBezTo>
                <a:cubicBezTo>
                  <a:pt x="447902" y="1865410"/>
                  <a:pt x="449092" y="1872561"/>
                  <a:pt x="451473" y="1879133"/>
                </a:cubicBezTo>
                <a:cubicBezTo>
                  <a:pt x="453855" y="1885706"/>
                  <a:pt x="457435" y="1891009"/>
                  <a:pt x="462215" y="1895044"/>
                </a:cubicBezTo>
                <a:cubicBezTo>
                  <a:pt x="466994" y="1899078"/>
                  <a:pt x="472981" y="1901153"/>
                  <a:pt x="480174" y="1901268"/>
                </a:cubicBezTo>
                <a:cubicBezTo>
                  <a:pt x="487367" y="1901153"/>
                  <a:pt x="493354" y="1899078"/>
                  <a:pt x="498133" y="1895044"/>
                </a:cubicBezTo>
                <a:cubicBezTo>
                  <a:pt x="502913" y="1891009"/>
                  <a:pt x="506493" y="1885706"/>
                  <a:pt x="508875" y="1879133"/>
                </a:cubicBezTo>
                <a:cubicBezTo>
                  <a:pt x="511256" y="1872561"/>
                  <a:pt x="512446" y="1865410"/>
                  <a:pt x="512445" y="1857682"/>
                </a:cubicBezTo>
                <a:cubicBezTo>
                  <a:pt x="512446" y="1849953"/>
                  <a:pt x="511256" y="1842802"/>
                  <a:pt x="508875" y="1836230"/>
                </a:cubicBezTo>
                <a:cubicBezTo>
                  <a:pt x="506493" y="1829658"/>
                  <a:pt x="502913" y="1824354"/>
                  <a:pt x="498133" y="1820320"/>
                </a:cubicBezTo>
                <a:cubicBezTo>
                  <a:pt x="493354" y="1816285"/>
                  <a:pt x="487367" y="1814210"/>
                  <a:pt x="480174" y="1814095"/>
                </a:cubicBezTo>
                <a:close/>
                <a:moveTo>
                  <a:pt x="293656" y="1814095"/>
                </a:moveTo>
                <a:cubicBezTo>
                  <a:pt x="286068" y="1814139"/>
                  <a:pt x="279555" y="1815728"/>
                  <a:pt x="274115" y="1818863"/>
                </a:cubicBezTo>
                <a:cubicBezTo>
                  <a:pt x="268675" y="1821997"/>
                  <a:pt x="265829" y="1826415"/>
                  <a:pt x="265576" y="1832117"/>
                </a:cubicBezTo>
                <a:lnTo>
                  <a:pt x="265576" y="1882409"/>
                </a:lnTo>
                <a:cubicBezTo>
                  <a:pt x="265785" y="1888163"/>
                  <a:pt x="268510" y="1892790"/>
                  <a:pt x="273748" y="1896291"/>
                </a:cubicBezTo>
                <a:cubicBezTo>
                  <a:pt x="278987" y="1899792"/>
                  <a:pt x="285483" y="1901591"/>
                  <a:pt x="293236" y="1901687"/>
                </a:cubicBezTo>
                <a:cubicBezTo>
                  <a:pt x="304290" y="1901360"/>
                  <a:pt x="312410" y="1896881"/>
                  <a:pt x="317597" y="1888250"/>
                </a:cubicBezTo>
                <a:cubicBezTo>
                  <a:pt x="322783" y="1879619"/>
                  <a:pt x="325350" y="1868801"/>
                  <a:pt x="325298" y="1855796"/>
                </a:cubicBezTo>
                <a:cubicBezTo>
                  <a:pt x="325472" y="1843699"/>
                  <a:pt x="323185" y="1833789"/>
                  <a:pt x="318435" y="1826066"/>
                </a:cubicBezTo>
                <a:cubicBezTo>
                  <a:pt x="313685" y="1818343"/>
                  <a:pt x="305425" y="1814353"/>
                  <a:pt x="293656" y="1814095"/>
                </a:cubicBezTo>
                <a:close/>
                <a:moveTo>
                  <a:pt x="1697964" y="1805294"/>
                </a:moveTo>
                <a:lnTo>
                  <a:pt x="1705718" y="1805294"/>
                </a:lnTo>
                <a:cubicBezTo>
                  <a:pt x="1707154" y="1805281"/>
                  <a:pt x="1708263" y="1805569"/>
                  <a:pt x="1709044" y="1806159"/>
                </a:cubicBezTo>
                <a:cubicBezTo>
                  <a:pt x="1709826" y="1806748"/>
                  <a:pt x="1710463" y="1807717"/>
                  <a:pt x="1710957" y="1809066"/>
                </a:cubicBezTo>
                <a:lnTo>
                  <a:pt x="1738198" y="1883456"/>
                </a:lnTo>
                <a:lnTo>
                  <a:pt x="1738827" y="1883456"/>
                </a:lnTo>
                <a:lnTo>
                  <a:pt x="1766068" y="1810743"/>
                </a:lnTo>
                <a:cubicBezTo>
                  <a:pt x="1766863" y="1808590"/>
                  <a:pt x="1767683" y="1807132"/>
                  <a:pt x="1768531" y="1806368"/>
                </a:cubicBezTo>
                <a:cubicBezTo>
                  <a:pt x="1769377" y="1805604"/>
                  <a:pt x="1770512" y="1805246"/>
                  <a:pt x="1771936" y="1805294"/>
                </a:cubicBezTo>
                <a:lnTo>
                  <a:pt x="1776546" y="1805294"/>
                </a:lnTo>
                <a:cubicBezTo>
                  <a:pt x="1778340" y="1805281"/>
                  <a:pt x="1779728" y="1805569"/>
                  <a:pt x="1780711" y="1806159"/>
                </a:cubicBezTo>
                <a:cubicBezTo>
                  <a:pt x="1781693" y="1806748"/>
                  <a:pt x="1782190" y="1807717"/>
                  <a:pt x="1782204" y="1809066"/>
                </a:cubicBezTo>
                <a:cubicBezTo>
                  <a:pt x="1782208" y="1809581"/>
                  <a:pt x="1782147" y="1810123"/>
                  <a:pt x="1782020" y="1810690"/>
                </a:cubicBezTo>
                <a:cubicBezTo>
                  <a:pt x="1781893" y="1811258"/>
                  <a:pt x="1781675" y="1811904"/>
                  <a:pt x="1781365" y="1812628"/>
                </a:cubicBezTo>
                <a:lnTo>
                  <a:pt x="1740293" y="1914679"/>
                </a:lnTo>
                <a:cubicBezTo>
                  <a:pt x="1734601" y="1928806"/>
                  <a:pt x="1728908" y="1938324"/>
                  <a:pt x="1723215" y="1943231"/>
                </a:cubicBezTo>
                <a:cubicBezTo>
                  <a:pt x="1717522" y="1948138"/>
                  <a:pt x="1711411" y="1950425"/>
                  <a:pt x="1704879" y="1950093"/>
                </a:cubicBezTo>
                <a:cubicBezTo>
                  <a:pt x="1699938" y="1949993"/>
                  <a:pt x="1696515" y="1949041"/>
                  <a:pt x="1694611" y="1947238"/>
                </a:cubicBezTo>
                <a:cubicBezTo>
                  <a:pt x="1692708" y="1945435"/>
                  <a:pt x="1691800" y="1943383"/>
                  <a:pt x="1691887" y="1941083"/>
                </a:cubicBezTo>
                <a:cubicBezTo>
                  <a:pt x="1691896" y="1938943"/>
                  <a:pt x="1692612" y="1937197"/>
                  <a:pt x="1694035" y="1935844"/>
                </a:cubicBezTo>
                <a:cubicBezTo>
                  <a:pt x="1695459" y="1934491"/>
                  <a:pt x="1697537" y="1933792"/>
                  <a:pt x="1700269" y="1933748"/>
                </a:cubicBezTo>
                <a:cubicBezTo>
                  <a:pt x="1701623" y="1933818"/>
                  <a:pt x="1702950" y="1934098"/>
                  <a:pt x="1704251" y="1934587"/>
                </a:cubicBezTo>
                <a:cubicBezTo>
                  <a:pt x="1705552" y="1935076"/>
                  <a:pt x="1706879" y="1935355"/>
                  <a:pt x="1708232" y="1935425"/>
                </a:cubicBezTo>
                <a:cubicBezTo>
                  <a:pt x="1711830" y="1935595"/>
                  <a:pt x="1714851" y="1934154"/>
                  <a:pt x="1717295" y="1931103"/>
                </a:cubicBezTo>
                <a:cubicBezTo>
                  <a:pt x="1719740" y="1928051"/>
                  <a:pt x="1722656" y="1922367"/>
                  <a:pt x="1726044" y="1914051"/>
                </a:cubicBezTo>
                <a:lnTo>
                  <a:pt x="1727092" y="1911536"/>
                </a:lnTo>
                <a:cubicBezTo>
                  <a:pt x="1727721" y="1909982"/>
                  <a:pt x="1728192" y="1908585"/>
                  <a:pt x="1728506" y="1907345"/>
                </a:cubicBezTo>
                <a:cubicBezTo>
                  <a:pt x="1728821" y="1906105"/>
                  <a:pt x="1728978" y="1904918"/>
                  <a:pt x="1728978" y="1903783"/>
                </a:cubicBezTo>
                <a:cubicBezTo>
                  <a:pt x="1728969" y="1902246"/>
                  <a:pt x="1728725" y="1900657"/>
                  <a:pt x="1728244" y="1899015"/>
                </a:cubicBezTo>
                <a:cubicBezTo>
                  <a:pt x="1727764" y="1897374"/>
                  <a:pt x="1727101" y="1895471"/>
                  <a:pt x="1726254" y="1893305"/>
                </a:cubicBezTo>
                <a:lnTo>
                  <a:pt x="1694402" y="1812628"/>
                </a:lnTo>
                <a:cubicBezTo>
                  <a:pt x="1693808" y="1811162"/>
                  <a:pt x="1693529" y="1809904"/>
                  <a:pt x="1693564" y="1808856"/>
                </a:cubicBezTo>
                <a:cubicBezTo>
                  <a:pt x="1693551" y="1807791"/>
                  <a:pt x="1693891" y="1806936"/>
                  <a:pt x="1694585" y="1806289"/>
                </a:cubicBezTo>
                <a:cubicBezTo>
                  <a:pt x="1695279" y="1805643"/>
                  <a:pt x="1696406" y="1805312"/>
                  <a:pt x="1697964" y="1805294"/>
                </a:cubicBezTo>
                <a:close/>
                <a:moveTo>
                  <a:pt x="1340739" y="1805294"/>
                </a:moveTo>
                <a:lnTo>
                  <a:pt x="1345977" y="1805294"/>
                </a:lnTo>
                <a:cubicBezTo>
                  <a:pt x="1347488" y="1805338"/>
                  <a:pt x="1348763" y="1805879"/>
                  <a:pt x="1349802" y="1806918"/>
                </a:cubicBezTo>
                <a:cubicBezTo>
                  <a:pt x="1350841" y="1807957"/>
                  <a:pt x="1351382" y="1809232"/>
                  <a:pt x="1351426" y="1810743"/>
                </a:cubicBezTo>
                <a:lnTo>
                  <a:pt x="1351426" y="1904621"/>
                </a:lnTo>
                <a:cubicBezTo>
                  <a:pt x="1351382" y="1906131"/>
                  <a:pt x="1350841" y="1907406"/>
                  <a:pt x="1349802" y="1908445"/>
                </a:cubicBezTo>
                <a:cubicBezTo>
                  <a:pt x="1348763" y="1909484"/>
                  <a:pt x="1347488" y="1910026"/>
                  <a:pt x="1345977" y="1910069"/>
                </a:cubicBezTo>
                <a:lnTo>
                  <a:pt x="1340739" y="1910069"/>
                </a:lnTo>
                <a:cubicBezTo>
                  <a:pt x="1339228" y="1910026"/>
                  <a:pt x="1337953" y="1909484"/>
                  <a:pt x="1336915" y="1908445"/>
                </a:cubicBezTo>
                <a:cubicBezTo>
                  <a:pt x="1335875" y="1907406"/>
                  <a:pt x="1335334" y="1906131"/>
                  <a:pt x="1335291" y="1904621"/>
                </a:cubicBezTo>
                <a:lnTo>
                  <a:pt x="1335291" y="1810743"/>
                </a:lnTo>
                <a:cubicBezTo>
                  <a:pt x="1335334" y="1809232"/>
                  <a:pt x="1335875" y="1807957"/>
                  <a:pt x="1336915" y="1806918"/>
                </a:cubicBezTo>
                <a:cubicBezTo>
                  <a:pt x="1337953" y="1805879"/>
                  <a:pt x="1339228" y="1805338"/>
                  <a:pt x="1340739" y="1805294"/>
                </a:cubicBezTo>
                <a:close/>
                <a:moveTo>
                  <a:pt x="1197864" y="1805294"/>
                </a:moveTo>
                <a:lnTo>
                  <a:pt x="1203103" y="1805294"/>
                </a:lnTo>
                <a:cubicBezTo>
                  <a:pt x="1204613" y="1805338"/>
                  <a:pt x="1205888" y="1805879"/>
                  <a:pt x="1206927" y="1806918"/>
                </a:cubicBezTo>
                <a:cubicBezTo>
                  <a:pt x="1207966" y="1807957"/>
                  <a:pt x="1208507" y="1809232"/>
                  <a:pt x="1208551" y="1810743"/>
                </a:cubicBezTo>
                <a:lnTo>
                  <a:pt x="1208551" y="1904621"/>
                </a:lnTo>
                <a:cubicBezTo>
                  <a:pt x="1208507" y="1906131"/>
                  <a:pt x="1207966" y="1907406"/>
                  <a:pt x="1206927" y="1908445"/>
                </a:cubicBezTo>
                <a:cubicBezTo>
                  <a:pt x="1205888" y="1909484"/>
                  <a:pt x="1204613" y="1910026"/>
                  <a:pt x="1203103" y="1910069"/>
                </a:cubicBezTo>
                <a:lnTo>
                  <a:pt x="1197864" y="1910069"/>
                </a:lnTo>
                <a:cubicBezTo>
                  <a:pt x="1196353" y="1910026"/>
                  <a:pt x="1195079" y="1909484"/>
                  <a:pt x="1194039" y="1908445"/>
                </a:cubicBezTo>
                <a:cubicBezTo>
                  <a:pt x="1193001" y="1907406"/>
                  <a:pt x="1192459" y="1906131"/>
                  <a:pt x="1192415" y="1904621"/>
                </a:cubicBezTo>
                <a:lnTo>
                  <a:pt x="1192415" y="1810743"/>
                </a:lnTo>
                <a:cubicBezTo>
                  <a:pt x="1192459" y="1809232"/>
                  <a:pt x="1193001" y="1807957"/>
                  <a:pt x="1194039" y="1806918"/>
                </a:cubicBezTo>
                <a:cubicBezTo>
                  <a:pt x="1195079" y="1805879"/>
                  <a:pt x="1196353" y="1805338"/>
                  <a:pt x="1197864" y="1805294"/>
                </a:cubicBezTo>
                <a:close/>
                <a:moveTo>
                  <a:pt x="545020" y="1805294"/>
                </a:moveTo>
                <a:lnTo>
                  <a:pt x="551516" y="1805294"/>
                </a:lnTo>
                <a:cubicBezTo>
                  <a:pt x="552957" y="1805351"/>
                  <a:pt x="554057" y="1805918"/>
                  <a:pt x="554817" y="1806997"/>
                </a:cubicBezTo>
                <a:cubicBezTo>
                  <a:pt x="555576" y="1808075"/>
                  <a:pt x="556153" y="1809324"/>
                  <a:pt x="556546" y="1810743"/>
                </a:cubicBezTo>
                <a:lnTo>
                  <a:pt x="583997" y="1892886"/>
                </a:lnTo>
                <a:lnTo>
                  <a:pt x="584625" y="1892886"/>
                </a:lnTo>
                <a:lnTo>
                  <a:pt x="614381" y="1810743"/>
                </a:lnTo>
                <a:cubicBezTo>
                  <a:pt x="614901" y="1809324"/>
                  <a:pt x="615643" y="1808075"/>
                  <a:pt x="616608" y="1806997"/>
                </a:cubicBezTo>
                <a:cubicBezTo>
                  <a:pt x="617573" y="1805918"/>
                  <a:pt x="618786" y="1805351"/>
                  <a:pt x="620249" y="1805294"/>
                </a:cubicBezTo>
                <a:lnTo>
                  <a:pt x="624440" y="1805294"/>
                </a:lnTo>
                <a:cubicBezTo>
                  <a:pt x="626225" y="1805307"/>
                  <a:pt x="627579" y="1805700"/>
                  <a:pt x="628500" y="1806473"/>
                </a:cubicBezTo>
                <a:cubicBezTo>
                  <a:pt x="629421" y="1807246"/>
                  <a:pt x="629884" y="1808320"/>
                  <a:pt x="629888" y="1809695"/>
                </a:cubicBezTo>
                <a:cubicBezTo>
                  <a:pt x="629888" y="1810568"/>
                  <a:pt x="629679" y="1811546"/>
                  <a:pt x="629259" y="1812628"/>
                </a:cubicBezTo>
                <a:lnTo>
                  <a:pt x="594265" y="1903364"/>
                </a:lnTo>
                <a:cubicBezTo>
                  <a:pt x="593033" y="1906564"/>
                  <a:pt x="591514" y="1908807"/>
                  <a:pt x="589707" y="1910095"/>
                </a:cubicBezTo>
                <a:cubicBezTo>
                  <a:pt x="587899" y="1911383"/>
                  <a:pt x="585647" y="1912003"/>
                  <a:pt x="582949" y="1911955"/>
                </a:cubicBezTo>
                <a:cubicBezTo>
                  <a:pt x="580539" y="1912016"/>
                  <a:pt x="578444" y="1911423"/>
                  <a:pt x="576662" y="1910174"/>
                </a:cubicBezTo>
                <a:cubicBezTo>
                  <a:pt x="574881" y="1908925"/>
                  <a:pt x="573414" y="1906655"/>
                  <a:pt x="572262" y="1903364"/>
                </a:cubicBezTo>
                <a:lnTo>
                  <a:pt x="540201" y="1812628"/>
                </a:lnTo>
                <a:cubicBezTo>
                  <a:pt x="539782" y="1811546"/>
                  <a:pt x="539572" y="1810568"/>
                  <a:pt x="539572" y="1809695"/>
                </a:cubicBezTo>
                <a:cubicBezTo>
                  <a:pt x="539576" y="1808411"/>
                  <a:pt x="540039" y="1807364"/>
                  <a:pt x="540960" y="1806552"/>
                </a:cubicBezTo>
                <a:cubicBezTo>
                  <a:pt x="541881" y="1805740"/>
                  <a:pt x="543235" y="1805320"/>
                  <a:pt x="545020" y="1805294"/>
                </a:cubicBezTo>
                <a:close/>
                <a:moveTo>
                  <a:pt x="1653006" y="1802570"/>
                </a:moveTo>
                <a:cubicBezTo>
                  <a:pt x="1663052" y="1802692"/>
                  <a:pt x="1670884" y="1804072"/>
                  <a:pt x="1676502" y="1806709"/>
                </a:cubicBezTo>
                <a:cubicBezTo>
                  <a:pt x="1682121" y="1809346"/>
                  <a:pt x="1684976" y="1812506"/>
                  <a:pt x="1685067" y="1816191"/>
                </a:cubicBezTo>
                <a:cubicBezTo>
                  <a:pt x="1685033" y="1818112"/>
                  <a:pt x="1684421" y="1819666"/>
                  <a:pt x="1683234" y="1820853"/>
                </a:cubicBezTo>
                <a:cubicBezTo>
                  <a:pt x="1682047" y="1822041"/>
                  <a:pt x="1680492" y="1822652"/>
                  <a:pt x="1678571" y="1822687"/>
                </a:cubicBezTo>
                <a:cubicBezTo>
                  <a:pt x="1675118" y="1822346"/>
                  <a:pt x="1671652" y="1820984"/>
                  <a:pt x="1668173" y="1818601"/>
                </a:cubicBezTo>
                <a:cubicBezTo>
                  <a:pt x="1664693" y="1816217"/>
                  <a:pt x="1659289" y="1814855"/>
                  <a:pt x="1651959" y="1814514"/>
                </a:cubicBezTo>
                <a:cubicBezTo>
                  <a:pt x="1644359" y="1814672"/>
                  <a:pt x="1638114" y="1816894"/>
                  <a:pt x="1633223" y="1821181"/>
                </a:cubicBezTo>
                <a:cubicBezTo>
                  <a:pt x="1628333" y="1825468"/>
                  <a:pt x="1624711" y="1830872"/>
                  <a:pt x="1622358" y="1837394"/>
                </a:cubicBezTo>
                <a:cubicBezTo>
                  <a:pt x="1620005" y="1843916"/>
                  <a:pt x="1618835" y="1850609"/>
                  <a:pt x="1618850" y="1857472"/>
                </a:cubicBezTo>
                <a:cubicBezTo>
                  <a:pt x="1619112" y="1871014"/>
                  <a:pt x="1622360" y="1881597"/>
                  <a:pt x="1628594" y="1889219"/>
                </a:cubicBezTo>
                <a:cubicBezTo>
                  <a:pt x="1634828" y="1896841"/>
                  <a:pt x="1642477" y="1900718"/>
                  <a:pt x="1651540" y="1900849"/>
                </a:cubicBezTo>
                <a:cubicBezTo>
                  <a:pt x="1657102" y="1900738"/>
                  <a:pt x="1661531" y="1899959"/>
                  <a:pt x="1664827" y="1898513"/>
                </a:cubicBezTo>
                <a:cubicBezTo>
                  <a:pt x="1668123" y="1897067"/>
                  <a:pt x="1670859" y="1895621"/>
                  <a:pt x="1673038" y="1894174"/>
                </a:cubicBezTo>
                <a:cubicBezTo>
                  <a:pt x="1675216" y="1892728"/>
                  <a:pt x="1677410" y="1891950"/>
                  <a:pt x="1679619" y="1891838"/>
                </a:cubicBezTo>
                <a:cubicBezTo>
                  <a:pt x="1681632" y="1891860"/>
                  <a:pt x="1683212" y="1892445"/>
                  <a:pt x="1684360" y="1893593"/>
                </a:cubicBezTo>
                <a:cubicBezTo>
                  <a:pt x="1685509" y="1894741"/>
                  <a:pt x="1686093" y="1896322"/>
                  <a:pt x="1686115" y="1898334"/>
                </a:cubicBezTo>
                <a:cubicBezTo>
                  <a:pt x="1685954" y="1902054"/>
                  <a:pt x="1682819" y="1905354"/>
                  <a:pt x="1676712" y="1908236"/>
                </a:cubicBezTo>
                <a:cubicBezTo>
                  <a:pt x="1670604" y="1911117"/>
                  <a:pt x="1662493" y="1912636"/>
                  <a:pt x="1652378" y="1912793"/>
                </a:cubicBezTo>
                <a:cubicBezTo>
                  <a:pt x="1637216" y="1912645"/>
                  <a:pt x="1625263" y="1907755"/>
                  <a:pt x="1616519" y="1898125"/>
                </a:cubicBezTo>
                <a:cubicBezTo>
                  <a:pt x="1607774" y="1888494"/>
                  <a:pt x="1603313" y="1875013"/>
                  <a:pt x="1603133" y="1857682"/>
                </a:cubicBezTo>
                <a:cubicBezTo>
                  <a:pt x="1603339" y="1841450"/>
                  <a:pt x="1607905" y="1828284"/>
                  <a:pt x="1616833" y="1818181"/>
                </a:cubicBezTo>
                <a:cubicBezTo>
                  <a:pt x="1625761" y="1808079"/>
                  <a:pt x="1637818" y="1802876"/>
                  <a:pt x="1653006" y="1802570"/>
                </a:cubicBezTo>
                <a:close/>
                <a:moveTo>
                  <a:pt x="1541850" y="1802570"/>
                </a:moveTo>
                <a:cubicBezTo>
                  <a:pt x="1554855" y="1802714"/>
                  <a:pt x="1564311" y="1805779"/>
                  <a:pt x="1570217" y="1811764"/>
                </a:cubicBezTo>
                <a:cubicBezTo>
                  <a:pt x="1576124" y="1817749"/>
                  <a:pt x="1579032" y="1825791"/>
                  <a:pt x="1578940" y="1835889"/>
                </a:cubicBezTo>
                <a:lnTo>
                  <a:pt x="1578940" y="1904621"/>
                </a:lnTo>
                <a:cubicBezTo>
                  <a:pt x="1578896" y="1906131"/>
                  <a:pt x="1578355" y="1907406"/>
                  <a:pt x="1577316" y="1908445"/>
                </a:cubicBezTo>
                <a:cubicBezTo>
                  <a:pt x="1576277" y="1909484"/>
                  <a:pt x="1575002" y="1910026"/>
                  <a:pt x="1573492" y="1910069"/>
                </a:cubicBezTo>
                <a:lnTo>
                  <a:pt x="1568253" y="1910069"/>
                </a:lnTo>
                <a:cubicBezTo>
                  <a:pt x="1566743" y="1910026"/>
                  <a:pt x="1565468" y="1909484"/>
                  <a:pt x="1564429" y="1908445"/>
                </a:cubicBezTo>
                <a:cubicBezTo>
                  <a:pt x="1563390" y="1907406"/>
                  <a:pt x="1562848" y="1906131"/>
                  <a:pt x="1562805" y="1904621"/>
                </a:cubicBezTo>
                <a:lnTo>
                  <a:pt x="1562805" y="1837984"/>
                </a:lnTo>
                <a:cubicBezTo>
                  <a:pt x="1562857" y="1830571"/>
                  <a:pt x="1560971" y="1824756"/>
                  <a:pt x="1557147" y="1820539"/>
                </a:cubicBezTo>
                <a:cubicBezTo>
                  <a:pt x="1553323" y="1816322"/>
                  <a:pt x="1547245" y="1814174"/>
                  <a:pt x="1538916" y="1814095"/>
                </a:cubicBezTo>
                <a:cubicBezTo>
                  <a:pt x="1529966" y="1814100"/>
                  <a:pt x="1523453" y="1815034"/>
                  <a:pt x="1519375" y="1816898"/>
                </a:cubicBezTo>
                <a:cubicBezTo>
                  <a:pt x="1515298" y="1818762"/>
                  <a:pt x="1513290" y="1821530"/>
                  <a:pt x="1513351" y="1825201"/>
                </a:cubicBezTo>
                <a:lnTo>
                  <a:pt x="1513351" y="1904621"/>
                </a:lnTo>
                <a:cubicBezTo>
                  <a:pt x="1513307" y="1906131"/>
                  <a:pt x="1512766" y="1907406"/>
                  <a:pt x="1511727" y="1908445"/>
                </a:cubicBezTo>
                <a:cubicBezTo>
                  <a:pt x="1510688" y="1909484"/>
                  <a:pt x="1509413" y="1910026"/>
                  <a:pt x="1507903" y="1910069"/>
                </a:cubicBezTo>
                <a:lnTo>
                  <a:pt x="1502664" y="1910069"/>
                </a:lnTo>
                <a:cubicBezTo>
                  <a:pt x="1501153" y="1910026"/>
                  <a:pt x="1499879" y="1909484"/>
                  <a:pt x="1498839" y="1908445"/>
                </a:cubicBezTo>
                <a:cubicBezTo>
                  <a:pt x="1497801" y="1907406"/>
                  <a:pt x="1497259" y="1906131"/>
                  <a:pt x="1497215" y="1904621"/>
                </a:cubicBezTo>
                <a:lnTo>
                  <a:pt x="1497215" y="1810743"/>
                </a:lnTo>
                <a:cubicBezTo>
                  <a:pt x="1497259" y="1809232"/>
                  <a:pt x="1497801" y="1807957"/>
                  <a:pt x="1498839" y="1806918"/>
                </a:cubicBezTo>
                <a:cubicBezTo>
                  <a:pt x="1499879" y="1805879"/>
                  <a:pt x="1501153" y="1805338"/>
                  <a:pt x="1502664" y="1805294"/>
                </a:cubicBezTo>
                <a:lnTo>
                  <a:pt x="1507903" y="1805294"/>
                </a:lnTo>
                <a:cubicBezTo>
                  <a:pt x="1509413" y="1805338"/>
                  <a:pt x="1510688" y="1805879"/>
                  <a:pt x="1511727" y="1806918"/>
                </a:cubicBezTo>
                <a:cubicBezTo>
                  <a:pt x="1512766" y="1807957"/>
                  <a:pt x="1513307" y="1809232"/>
                  <a:pt x="1513351" y="1810743"/>
                </a:cubicBezTo>
                <a:lnTo>
                  <a:pt x="1513351" y="1811581"/>
                </a:lnTo>
                <a:cubicBezTo>
                  <a:pt x="1516149" y="1808822"/>
                  <a:pt x="1519877" y="1806639"/>
                  <a:pt x="1524536" y="1805032"/>
                </a:cubicBezTo>
                <a:cubicBezTo>
                  <a:pt x="1529194" y="1803426"/>
                  <a:pt x="1534965" y="1802605"/>
                  <a:pt x="1541850" y="1802570"/>
                </a:cubicBezTo>
                <a:close/>
                <a:moveTo>
                  <a:pt x="1422101" y="1802570"/>
                </a:moveTo>
                <a:cubicBezTo>
                  <a:pt x="1431139" y="1802690"/>
                  <a:pt x="1438838" y="1804941"/>
                  <a:pt x="1445198" y="1809322"/>
                </a:cubicBezTo>
                <a:cubicBezTo>
                  <a:pt x="1451559" y="1813703"/>
                  <a:pt x="1456417" y="1819493"/>
                  <a:pt x="1459774" y="1826692"/>
                </a:cubicBezTo>
                <a:cubicBezTo>
                  <a:pt x="1463131" y="1833890"/>
                  <a:pt x="1464822" y="1841775"/>
                  <a:pt x="1464849" y="1850347"/>
                </a:cubicBezTo>
                <a:cubicBezTo>
                  <a:pt x="1464893" y="1853613"/>
                  <a:pt x="1464492" y="1855778"/>
                  <a:pt x="1463645" y="1856844"/>
                </a:cubicBezTo>
                <a:cubicBezTo>
                  <a:pt x="1462798" y="1857909"/>
                  <a:pt x="1461243" y="1858398"/>
                  <a:pt x="1458982" y="1858310"/>
                </a:cubicBezTo>
                <a:lnTo>
                  <a:pt x="1390459" y="1858310"/>
                </a:lnTo>
                <a:cubicBezTo>
                  <a:pt x="1390900" y="1872075"/>
                  <a:pt x="1394314" y="1882526"/>
                  <a:pt x="1400701" y="1889664"/>
                </a:cubicBezTo>
                <a:cubicBezTo>
                  <a:pt x="1407088" y="1896802"/>
                  <a:pt x="1415060" y="1900391"/>
                  <a:pt x="1424616" y="1900430"/>
                </a:cubicBezTo>
                <a:cubicBezTo>
                  <a:pt x="1430802" y="1900321"/>
                  <a:pt x="1435730" y="1899561"/>
                  <a:pt x="1439401" y="1898148"/>
                </a:cubicBezTo>
                <a:cubicBezTo>
                  <a:pt x="1443072" y="1896736"/>
                  <a:pt x="1446091" y="1895323"/>
                  <a:pt x="1448458" y="1893911"/>
                </a:cubicBezTo>
                <a:cubicBezTo>
                  <a:pt x="1450825" y="1892498"/>
                  <a:pt x="1453146" y="1891737"/>
                  <a:pt x="1455420" y="1891629"/>
                </a:cubicBezTo>
                <a:cubicBezTo>
                  <a:pt x="1457332" y="1891655"/>
                  <a:pt x="1458851" y="1892231"/>
                  <a:pt x="1459977" y="1893358"/>
                </a:cubicBezTo>
                <a:cubicBezTo>
                  <a:pt x="1461104" y="1894484"/>
                  <a:pt x="1461680" y="1896003"/>
                  <a:pt x="1461706" y="1897915"/>
                </a:cubicBezTo>
                <a:cubicBezTo>
                  <a:pt x="1461593" y="1901744"/>
                  <a:pt x="1458310" y="1905140"/>
                  <a:pt x="1451857" y="1908105"/>
                </a:cubicBezTo>
                <a:cubicBezTo>
                  <a:pt x="1445405" y="1911069"/>
                  <a:pt x="1436464" y="1912632"/>
                  <a:pt x="1425035" y="1912793"/>
                </a:cubicBezTo>
                <a:cubicBezTo>
                  <a:pt x="1408904" y="1912461"/>
                  <a:pt x="1396479" y="1907310"/>
                  <a:pt x="1387761" y="1897339"/>
                </a:cubicBezTo>
                <a:cubicBezTo>
                  <a:pt x="1379043" y="1887368"/>
                  <a:pt x="1374634" y="1874568"/>
                  <a:pt x="1374533" y="1858939"/>
                </a:cubicBezTo>
                <a:cubicBezTo>
                  <a:pt x="1374839" y="1842472"/>
                  <a:pt x="1379414" y="1829043"/>
                  <a:pt x="1388259" y="1818653"/>
                </a:cubicBezTo>
                <a:cubicBezTo>
                  <a:pt x="1397104" y="1808263"/>
                  <a:pt x="1408385" y="1802902"/>
                  <a:pt x="1422101" y="1802570"/>
                </a:cubicBezTo>
                <a:close/>
                <a:moveTo>
                  <a:pt x="1281531" y="1802570"/>
                </a:moveTo>
                <a:cubicBezTo>
                  <a:pt x="1291577" y="1802692"/>
                  <a:pt x="1299409" y="1804072"/>
                  <a:pt x="1305027" y="1806709"/>
                </a:cubicBezTo>
                <a:cubicBezTo>
                  <a:pt x="1310646" y="1809346"/>
                  <a:pt x="1313501" y="1812506"/>
                  <a:pt x="1313593" y="1816191"/>
                </a:cubicBezTo>
                <a:cubicBezTo>
                  <a:pt x="1313558" y="1818112"/>
                  <a:pt x="1312947" y="1819666"/>
                  <a:pt x="1311759" y="1820853"/>
                </a:cubicBezTo>
                <a:cubicBezTo>
                  <a:pt x="1310571" y="1822041"/>
                  <a:pt x="1309017" y="1822652"/>
                  <a:pt x="1307097" y="1822687"/>
                </a:cubicBezTo>
                <a:cubicBezTo>
                  <a:pt x="1303643" y="1822346"/>
                  <a:pt x="1300177" y="1820984"/>
                  <a:pt x="1296698" y="1818601"/>
                </a:cubicBezTo>
                <a:cubicBezTo>
                  <a:pt x="1293218" y="1816217"/>
                  <a:pt x="1287813" y="1814855"/>
                  <a:pt x="1280484" y="1814514"/>
                </a:cubicBezTo>
                <a:cubicBezTo>
                  <a:pt x="1272884" y="1814672"/>
                  <a:pt x="1266639" y="1816894"/>
                  <a:pt x="1261748" y="1821181"/>
                </a:cubicBezTo>
                <a:cubicBezTo>
                  <a:pt x="1256858" y="1825468"/>
                  <a:pt x="1253236" y="1830872"/>
                  <a:pt x="1250883" y="1837394"/>
                </a:cubicBezTo>
                <a:cubicBezTo>
                  <a:pt x="1248530" y="1843916"/>
                  <a:pt x="1247361" y="1850609"/>
                  <a:pt x="1247375" y="1857472"/>
                </a:cubicBezTo>
                <a:cubicBezTo>
                  <a:pt x="1247637" y="1871014"/>
                  <a:pt x="1250885" y="1881597"/>
                  <a:pt x="1257119" y="1889219"/>
                </a:cubicBezTo>
                <a:cubicBezTo>
                  <a:pt x="1263353" y="1896841"/>
                  <a:pt x="1271001" y="1900718"/>
                  <a:pt x="1280065" y="1900849"/>
                </a:cubicBezTo>
                <a:cubicBezTo>
                  <a:pt x="1285627" y="1900738"/>
                  <a:pt x="1290056" y="1899959"/>
                  <a:pt x="1293352" y="1898513"/>
                </a:cubicBezTo>
                <a:cubicBezTo>
                  <a:pt x="1296647" y="1897067"/>
                  <a:pt x="1299385" y="1895621"/>
                  <a:pt x="1301563" y="1894174"/>
                </a:cubicBezTo>
                <a:cubicBezTo>
                  <a:pt x="1303741" y="1892728"/>
                  <a:pt x="1305935" y="1891950"/>
                  <a:pt x="1308144" y="1891838"/>
                </a:cubicBezTo>
                <a:cubicBezTo>
                  <a:pt x="1310157" y="1891860"/>
                  <a:pt x="1311737" y="1892445"/>
                  <a:pt x="1312885" y="1893593"/>
                </a:cubicBezTo>
                <a:cubicBezTo>
                  <a:pt x="1314033" y="1894741"/>
                  <a:pt x="1314619" y="1896322"/>
                  <a:pt x="1314640" y="1898334"/>
                </a:cubicBezTo>
                <a:cubicBezTo>
                  <a:pt x="1314479" y="1902054"/>
                  <a:pt x="1311344" y="1905354"/>
                  <a:pt x="1305237" y="1908236"/>
                </a:cubicBezTo>
                <a:cubicBezTo>
                  <a:pt x="1299129" y="1911117"/>
                  <a:pt x="1291018" y="1912636"/>
                  <a:pt x="1280903" y="1912793"/>
                </a:cubicBezTo>
                <a:cubicBezTo>
                  <a:pt x="1265741" y="1912645"/>
                  <a:pt x="1253788" y="1907755"/>
                  <a:pt x="1245043" y="1898125"/>
                </a:cubicBezTo>
                <a:cubicBezTo>
                  <a:pt x="1236299" y="1888494"/>
                  <a:pt x="1231837" y="1875013"/>
                  <a:pt x="1231658" y="1857682"/>
                </a:cubicBezTo>
                <a:cubicBezTo>
                  <a:pt x="1231864" y="1841450"/>
                  <a:pt x="1236430" y="1828284"/>
                  <a:pt x="1245358" y="1818181"/>
                </a:cubicBezTo>
                <a:cubicBezTo>
                  <a:pt x="1254285" y="1808079"/>
                  <a:pt x="1266343" y="1802876"/>
                  <a:pt x="1281531" y="1802570"/>
                </a:cubicBezTo>
                <a:close/>
                <a:moveTo>
                  <a:pt x="964901" y="1802570"/>
                </a:moveTo>
                <a:cubicBezTo>
                  <a:pt x="973939" y="1802690"/>
                  <a:pt x="981638" y="1804941"/>
                  <a:pt x="987998" y="1809322"/>
                </a:cubicBezTo>
                <a:cubicBezTo>
                  <a:pt x="994359" y="1813703"/>
                  <a:pt x="999217" y="1819493"/>
                  <a:pt x="1002574" y="1826692"/>
                </a:cubicBezTo>
                <a:cubicBezTo>
                  <a:pt x="1005931" y="1833890"/>
                  <a:pt x="1007622" y="1841775"/>
                  <a:pt x="1007650" y="1850347"/>
                </a:cubicBezTo>
                <a:cubicBezTo>
                  <a:pt x="1007693" y="1853613"/>
                  <a:pt x="1007292" y="1855778"/>
                  <a:pt x="1006445" y="1856844"/>
                </a:cubicBezTo>
                <a:cubicBezTo>
                  <a:pt x="1005598" y="1857909"/>
                  <a:pt x="1004044" y="1858398"/>
                  <a:pt x="1001782" y="1858310"/>
                </a:cubicBezTo>
                <a:lnTo>
                  <a:pt x="933259" y="1858310"/>
                </a:lnTo>
                <a:cubicBezTo>
                  <a:pt x="933700" y="1872075"/>
                  <a:pt x="937114" y="1882526"/>
                  <a:pt x="943501" y="1889664"/>
                </a:cubicBezTo>
                <a:cubicBezTo>
                  <a:pt x="949888" y="1896802"/>
                  <a:pt x="957860" y="1900391"/>
                  <a:pt x="967416" y="1900430"/>
                </a:cubicBezTo>
                <a:cubicBezTo>
                  <a:pt x="973602" y="1900321"/>
                  <a:pt x="978530" y="1899561"/>
                  <a:pt x="982201" y="1898148"/>
                </a:cubicBezTo>
                <a:cubicBezTo>
                  <a:pt x="985872" y="1896736"/>
                  <a:pt x="988891" y="1895323"/>
                  <a:pt x="991258" y="1893911"/>
                </a:cubicBezTo>
                <a:cubicBezTo>
                  <a:pt x="993625" y="1892498"/>
                  <a:pt x="995946" y="1891737"/>
                  <a:pt x="998220" y="1891629"/>
                </a:cubicBezTo>
                <a:cubicBezTo>
                  <a:pt x="1000132" y="1891655"/>
                  <a:pt x="1001651" y="1892231"/>
                  <a:pt x="1002777" y="1893358"/>
                </a:cubicBezTo>
                <a:cubicBezTo>
                  <a:pt x="1003904" y="1894484"/>
                  <a:pt x="1004480" y="1896003"/>
                  <a:pt x="1004506" y="1897915"/>
                </a:cubicBezTo>
                <a:cubicBezTo>
                  <a:pt x="1004393" y="1901744"/>
                  <a:pt x="1001110" y="1905140"/>
                  <a:pt x="994657" y="1908105"/>
                </a:cubicBezTo>
                <a:cubicBezTo>
                  <a:pt x="988205" y="1911069"/>
                  <a:pt x="979264" y="1912632"/>
                  <a:pt x="967835" y="1912793"/>
                </a:cubicBezTo>
                <a:cubicBezTo>
                  <a:pt x="951704" y="1912461"/>
                  <a:pt x="939279" y="1907310"/>
                  <a:pt x="930561" y="1897339"/>
                </a:cubicBezTo>
                <a:cubicBezTo>
                  <a:pt x="921843" y="1887368"/>
                  <a:pt x="917434" y="1874568"/>
                  <a:pt x="917333" y="1858939"/>
                </a:cubicBezTo>
                <a:cubicBezTo>
                  <a:pt x="917639" y="1842472"/>
                  <a:pt x="922214" y="1829043"/>
                  <a:pt x="931059" y="1818653"/>
                </a:cubicBezTo>
                <a:cubicBezTo>
                  <a:pt x="939904" y="1808263"/>
                  <a:pt x="951185" y="1802902"/>
                  <a:pt x="964901" y="1802570"/>
                </a:cubicBezTo>
                <a:close/>
                <a:moveTo>
                  <a:pt x="688676" y="1802570"/>
                </a:moveTo>
                <a:cubicBezTo>
                  <a:pt x="697714" y="1802690"/>
                  <a:pt x="705413" y="1804941"/>
                  <a:pt x="711773" y="1809322"/>
                </a:cubicBezTo>
                <a:cubicBezTo>
                  <a:pt x="718134" y="1813703"/>
                  <a:pt x="722992" y="1819493"/>
                  <a:pt x="726349" y="1826692"/>
                </a:cubicBezTo>
                <a:cubicBezTo>
                  <a:pt x="729706" y="1833890"/>
                  <a:pt x="731397" y="1841775"/>
                  <a:pt x="731425" y="1850347"/>
                </a:cubicBezTo>
                <a:cubicBezTo>
                  <a:pt x="731468" y="1853613"/>
                  <a:pt x="731067" y="1855778"/>
                  <a:pt x="730220" y="1856844"/>
                </a:cubicBezTo>
                <a:cubicBezTo>
                  <a:pt x="729373" y="1857909"/>
                  <a:pt x="727819" y="1858398"/>
                  <a:pt x="725557" y="1858310"/>
                </a:cubicBezTo>
                <a:lnTo>
                  <a:pt x="657034" y="1858310"/>
                </a:lnTo>
                <a:cubicBezTo>
                  <a:pt x="657475" y="1872075"/>
                  <a:pt x="660889" y="1882526"/>
                  <a:pt x="667276" y="1889664"/>
                </a:cubicBezTo>
                <a:cubicBezTo>
                  <a:pt x="673663" y="1896802"/>
                  <a:pt x="681635" y="1900391"/>
                  <a:pt x="691191" y="1900430"/>
                </a:cubicBezTo>
                <a:cubicBezTo>
                  <a:pt x="697377" y="1900321"/>
                  <a:pt x="702305" y="1899561"/>
                  <a:pt x="705976" y="1898148"/>
                </a:cubicBezTo>
                <a:cubicBezTo>
                  <a:pt x="709647" y="1896736"/>
                  <a:pt x="712666" y="1895323"/>
                  <a:pt x="715033" y="1893911"/>
                </a:cubicBezTo>
                <a:cubicBezTo>
                  <a:pt x="717400" y="1892498"/>
                  <a:pt x="719721" y="1891737"/>
                  <a:pt x="721995" y="1891629"/>
                </a:cubicBezTo>
                <a:cubicBezTo>
                  <a:pt x="723907" y="1891655"/>
                  <a:pt x="725426" y="1892231"/>
                  <a:pt x="726553" y="1893358"/>
                </a:cubicBezTo>
                <a:cubicBezTo>
                  <a:pt x="727679" y="1894484"/>
                  <a:pt x="728255" y="1896003"/>
                  <a:pt x="728281" y="1897915"/>
                </a:cubicBezTo>
                <a:cubicBezTo>
                  <a:pt x="728168" y="1901744"/>
                  <a:pt x="724885" y="1905140"/>
                  <a:pt x="718433" y="1908105"/>
                </a:cubicBezTo>
                <a:cubicBezTo>
                  <a:pt x="711980" y="1911069"/>
                  <a:pt x="703039" y="1912632"/>
                  <a:pt x="691610" y="1912793"/>
                </a:cubicBezTo>
                <a:cubicBezTo>
                  <a:pt x="675479" y="1912461"/>
                  <a:pt x="663055" y="1907310"/>
                  <a:pt x="654336" y="1897339"/>
                </a:cubicBezTo>
                <a:cubicBezTo>
                  <a:pt x="645618" y="1887368"/>
                  <a:pt x="641209" y="1874568"/>
                  <a:pt x="641109" y="1858939"/>
                </a:cubicBezTo>
                <a:cubicBezTo>
                  <a:pt x="641414" y="1842472"/>
                  <a:pt x="645989" y="1829043"/>
                  <a:pt x="654834" y="1818653"/>
                </a:cubicBezTo>
                <a:cubicBezTo>
                  <a:pt x="663679" y="1808263"/>
                  <a:pt x="674960" y="1802902"/>
                  <a:pt x="688676" y="1802570"/>
                </a:cubicBezTo>
                <a:close/>
                <a:moveTo>
                  <a:pt x="480174" y="1802570"/>
                </a:moveTo>
                <a:cubicBezTo>
                  <a:pt x="490211" y="1802692"/>
                  <a:pt x="498869" y="1805219"/>
                  <a:pt x="506151" y="1810153"/>
                </a:cubicBezTo>
                <a:cubicBezTo>
                  <a:pt x="513432" y="1815086"/>
                  <a:pt x="519048" y="1821696"/>
                  <a:pt x="523000" y="1829982"/>
                </a:cubicBezTo>
                <a:cubicBezTo>
                  <a:pt x="526952" y="1838269"/>
                  <a:pt x="528951" y="1847502"/>
                  <a:pt x="528999" y="1857682"/>
                </a:cubicBezTo>
                <a:cubicBezTo>
                  <a:pt x="528951" y="1867862"/>
                  <a:pt x="526952" y="1877095"/>
                  <a:pt x="523000" y="1885381"/>
                </a:cubicBezTo>
                <a:cubicBezTo>
                  <a:pt x="519048" y="1893667"/>
                  <a:pt x="513432" y="1900277"/>
                  <a:pt x="506151" y="1905211"/>
                </a:cubicBezTo>
                <a:cubicBezTo>
                  <a:pt x="498869" y="1910144"/>
                  <a:pt x="490211" y="1912672"/>
                  <a:pt x="480174" y="1912793"/>
                </a:cubicBezTo>
                <a:cubicBezTo>
                  <a:pt x="470140" y="1912672"/>
                  <a:pt x="461500" y="1910144"/>
                  <a:pt x="454252" y="1905211"/>
                </a:cubicBezTo>
                <a:cubicBezTo>
                  <a:pt x="447004" y="1900277"/>
                  <a:pt x="441422" y="1893667"/>
                  <a:pt x="437504" y="1885381"/>
                </a:cubicBezTo>
                <a:cubicBezTo>
                  <a:pt x="433585" y="1877095"/>
                  <a:pt x="431604" y="1867862"/>
                  <a:pt x="431559" y="1857682"/>
                </a:cubicBezTo>
                <a:cubicBezTo>
                  <a:pt x="431604" y="1847502"/>
                  <a:pt x="433585" y="1838269"/>
                  <a:pt x="437504" y="1829982"/>
                </a:cubicBezTo>
                <a:cubicBezTo>
                  <a:pt x="441422" y="1821696"/>
                  <a:pt x="447004" y="1815086"/>
                  <a:pt x="454252" y="1810153"/>
                </a:cubicBezTo>
                <a:cubicBezTo>
                  <a:pt x="461500" y="1805219"/>
                  <a:pt x="470140" y="1802692"/>
                  <a:pt x="480174" y="1802570"/>
                </a:cubicBezTo>
                <a:close/>
                <a:moveTo>
                  <a:pt x="418947" y="1802570"/>
                </a:moveTo>
                <a:cubicBezTo>
                  <a:pt x="422811" y="1802596"/>
                  <a:pt x="425666" y="1803277"/>
                  <a:pt x="427513" y="1804613"/>
                </a:cubicBezTo>
                <a:cubicBezTo>
                  <a:pt x="429359" y="1805949"/>
                  <a:pt x="430276" y="1807783"/>
                  <a:pt x="430263" y="1810114"/>
                </a:cubicBezTo>
                <a:cubicBezTo>
                  <a:pt x="430267" y="1812345"/>
                  <a:pt x="429630" y="1814117"/>
                  <a:pt x="428351" y="1815431"/>
                </a:cubicBezTo>
                <a:cubicBezTo>
                  <a:pt x="427072" y="1816745"/>
                  <a:pt x="425125" y="1817418"/>
                  <a:pt x="422510" y="1817448"/>
                </a:cubicBezTo>
                <a:cubicBezTo>
                  <a:pt x="420327" y="1817361"/>
                  <a:pt x="417620" y="1817011"/>
                  <a:pt x="414390" y="1816400"/>
                </a:cubicBezTo>
                <a:cubicBezTo>
                  <a:pt x="411159" y="1815789"/>
                  <a:pt x="407300" y="1815440"/>
                  <a:pt x="402812" y="1815353"/>
                </a:cubicBezTo>
                <a:cubicBezTo>
                  <a:pt x="398861" y="1815357"/>
                  <a:pt x="395657" y="1816448"/>
                  <a:pt x="393199" y="1818627"/>
                </a:cubicBezTo>
                <a:cubicBezTo>
                  <a:pt x="390741" y="1820805"/>
                  <a:pt x="389475" y="1824044"/>
                  <a:pt x="389401" y="1828345"/>
                </a:cubicBezTo>
                <a:lnTo>
                  <a:pt x="389401" y="1904621"/>
                </a:lnTo>
                <a:cubicBezTo>
                  <a:pt x="389357" y="1906131"/>
                  <a:pt x="388816" y="1907406"/>
                  <a:pt x="387777" y="1908445"/>
                </a:cubicBezTo>
                <a:cubicBezTo>
                  <a:pt x="386738" y="1909484"/>
                  <a:pt x="385463" y="1910026"/>
                  <a:pt x="383953" y="1910069"/>
                </a:cubicBezTo>
                <a:lnTo>
                  <a:pt x="378714" y="1910069"/>
                </a:lnTo>
                <a:cubicBezTo>
                  <a:pt x="377203" y="1910026"/>
                  <a:pt x="375929" y="1909484"/>
                  <a:pt x="374890" y="1908445"/>
                </a:cubicBezTo>
                <a:cubicBezTo>
                  <a:pt x="373851" y="1907406"/>
                  <a:pt x="373309" y="1906131"/>
                  <a:pt x="373265" y="1904621"/>
                </a:cubicBezTo>
                <a:lnTo>
                  <a:pt x="373265" y="1810743"/>
                </a:lnTo>
                <a:cubicBezTo>
                  <a:pt x="373309" y="1809232"/>
                  <a:pt x="373851" y="1807957"/>
                  <a:pt x="374890" y="1806918"/>
                </a:cubicBezTo>
                <a:cubicBezTo>
                  <a:pt x="375929" y="1805879"/>
                  <a:pt x="377203" y="1805338"/>
                  <a:pt x="378714" y="1805294"/>
                </a:cubicBezTo>
                <a:lnTo>
                  <a:pt x="383953" y="1805294"/>
                </a:lnTo>
                <a:cubicBezTo>
                  <a:pt x="385463" y="1805338"/>
                  <a:pt x="386738" y="1805879"/>
                  <a:pt x="387777" y="1806918"/>
                </a:cubicBezTo>
                <a:cubicBezTo>
                  <a:pt x="388816" y="1807957"/>
                  <a:pt x="389357" y="1809232"/>
                  <a:pt x="389401" y="1810743"/>
                </a:cubicBezTo>
                <a:lnTo>
                  <a:pt x="389401" y="1812628"/>
                </a:lnTo>
                <a:cubicBezTo>
                  <a:pt x="392858" y="1809367"/>
                  <a:pt x="397049" y="1806879"/>
                  <a:pt x="401974" y="1805163"/>
                </a:cubicBezTo>
                <a:cubicBezTo>
                  <a:pt x="406898" y="1803447"/>
                  <a:pt x="412556" y="1802583"/>
                  <a:pt x="418947" y="1802570"/>
                </a:cubicBezTo>
                <a:close/>
                <a:moveTo>
                  <a:pt x="295332" y="1802570"/>
                </a:moveTo>
                <a:cubicBezTo>
                  <a:pt x="310380" y="1802732"/>
                  <a:pt x="321879" y="1807490"/>
                  <a:pt x="329829" y="1816846"/>
                </a:cubicBezTo>
                <a:cubicBezTo>
                  <a:pt x="337779" y="1826201"/>
                  <a:pt x="341787" y="1839185"/>
                  <a:pt x="341852" y="1855796"/>
                </a:cubicBezTo>
                <a:cubicBezTo>
                  <a:pt x="341695" y="1873114"/>
                  <a:pt x="337451" y="1886883"/>
                  <a:pt x="329122" y="1897103"/>
                </a:cubicBezTo>
                <a:cubicBezTo>
                  <a:pt x="320792" y="1907323"/>
                  <a:pt x="309319" y="1912553"/>
                  <a:pt x="294703" y="1912793"/>
                </a:cubicBezTo>
                <a:cubicBezTo>
                  <a:pt x="288421" y="1912771"/>
                  <a:pt x="282702" y="1911820"/>
                  <a:pt x="277546" y="1909938"/>
                </a:cubicBezTo>
                <a:cubicBezTo>
                  <a:pt x="272391" y="1908057"/>
                  <a:pt x="268400" y="1905376"/>
                  <a:pt x="265576" y="1901897"/>
                </a:cubicBezTo>
                <a:lnTo>
                  <a:pt x="265576" y="1942759"/>
                </a:lnTo>
                <a:cubicBezTo>
                  <a:pt x="265532" y="1944269"/>
                  <a:pt x="264991" y="1945544"/>
                  <a:pt x="263952" y="1946583"/>
                </a:cubicBezTo>
                <a:cubicBezTo>
                  <a:pt x="262913" y="1947622"/>
                  <a:pt x="261638" y="1948164"/>
                  <a:pt x="260128" y="1948207"/>
                </a:cubicBezTo>
                <a:lnTo>
                  <a:pt x="254889" y="1948207"/>
                </a:lnTo>
                <a:cubicBezTo>
                  <a:pt x="253378" y="1948164"/>
                  <a:pt x="252104" y="1947622"/>
                  <a:pt x="251065" y="1946583"/>
                </a:cubicBezTo>
                <a:cubicBezTo>
                  <a:pt x="250025" y="1945544"/>
                  <a:pt x="249484" y="1944269"/>
                  <a:pt x="249441" y="1942759"/>
                </a:cubicBezTo>
                <a:lnTo>
                  <a:pt x="249441" y="1810743"/>
                </a:lnTo>
                <a:cubicBezTo>
                  <a:pt x="249484" y="1809232"/>
                  <a:pt x="250025" y="1807957"/>
                  <a:pt x="251065" y="1806918"/>
                </a:cubicBezTo>
                <a:cubicBezTo>
                  <a:pt x="252104" y="1805879"/>
                  <a:pt x="253378" y="1805338"/>
                  <a:pt x="254889" y="1805294"/>
                </a:cubicBezTo>
                <a:lnTo>
                  <a:pt x="260128" y="1805294"/>
                </a:lnTo>
                <a:cubicBezTo>
                  <a:pt x="261638" y="1805338"/>
                  <a:pt x="262913" y="1805879"/>
                  <a:pt x="263952" y="1806918"/>
                </a:cubicBezTo>
                <a:cubicBezTo>
                  <a:pt x="264991" y="1807957"/>
                  <a:pt x="265532" y="1809232"/>
                  <a:pt x="265576" y="1810743"/>
                </a:cubicBezTo>
                <a:lnTo>
                  <a:pt x="265576" y="1812628"/>
                </a:lnTo>
                <a:cubicBezTo>
                  <a:pt x="269029" y="1809276"/>
                  <a:pt x="273386" y="1806761"/>
                  <a:pt x="278647" y="1805085"/>
                </a:cubicBezTo>
                <a:cubicBezTo>
                  <a:pt x="283907" y="1803408"/>
                  <a:pt x="289469" y="1802570"/>
                  <a:pt x="295332" y="1802570"/>
                </a:cubicBezTo>
                <a:close/>
                <a:moveTo>
                  <a:pt x="121996" y="1802570"/>
                </a:moveTo>
                <a:cubicBezTo>
                  <a:pt x="129042" y="1802601"/>
                  <a:pt x="134700" y="1803640"/>
                  <a:pt x="138970" y="1805687"/>
                </a:cubicBezTo>
                <a:cubicBezTo>
                  <a:pt x="143239" y="1807735"/>
                  <a:pt x="146592" y="1810607"/>
                  <a:pt x="149028" y="1814305"/>
                </a:cubicBezTo>
                <a:lnTo>
                  <a:pt x="149866" y="1814305"/>
                </a:lnTo>
                <a:cubicBezTo>
                  <a:pt x="152765" y="1810240"/>
                  <a:pt x="156659" y="1807263"/>
                  <a:pt x="161549" y="1805373"/>
                </a:cubicBezTo>
                <a:cubicBezTo>
                  <a:pt x="166438" y="1803482"/>
                  <a:pt x="172532" y="1802548"/>
                  <a:pt x="179832" y="1802570"/>
                </a:cubicBezTo>
                <a:cubicBezTo>
                  <a:pt x="192916" y="1802732"/>
                  <a:pt x="202005" y="1805761"/>
                  <a:pt x="207099" y="1811659"/>
                </a:cubicBezTo>
                <a:cubicBezTo>
                  <a:pt x="212194" y="1817557"/>
                  <a:pt x="214630" y="1825354"/>
                  <a:pt x="214408" y="1835050"/>
                </a:cubicBezTo>
                <a:lnTo>
                  <a:pt x="214408" y="1904621"/>
                </a:lnTo>
                <a:cubicBezTo>
                  <a:pt x="214364" y="1906131"/>
                  <a:pt x="213823" y="1907406"/>
                  <a:pt x="212784" y="1908445"/>
                </a:cubicBezTo>
                <a:cubicBezTo>
                  <a:pt x="211745" y="1909484"/>
                  <a:pt x="210470" y="1910026"/>
                  <a:pt x="208959" y="1910069"/>
                </a:cubicBezTo>
                <a:lnTo>
                  <a:pt x="203721" y="1910069"/>
                </a:lnTo>
                <a:cubicBezTo>
                  <a:pt x="202210" y="1910026"/>
                  <a:pt x="200935" y="1909484"/>
                  <a:pt x="199896" y="1908445"/>
                </a:cubicBezTo>
                <a:cubicBezTo>
                  <a:pt x="198857" y="1907406"/>
                  <a:pt x="198316" y="1906131"/>
                  <a:pt x="198272" y="1904621"/>
                </a:cubicBezTo>
                <a:lnTo>
                  <a:pt x="198272" y="1836936"/>
                </a:lnTo>
                <a:cubicBezTo>
                  <a:pt x="198394" y="1830026"/>
                  <a:pt x="196736" y="1824516"/>
                  <a:pt x="193295" y="1820408"/>
                </a:cubicBezTo>
                <a:cubicBezTo>
                  <a:pt x="189855" y="1816300"/>
                  <a:pt x="183901" y="1814196"/>
                  <a:pt x="175431" y="1814095"/>
                </a:cubicBezTo>
                <a:cubicBezTo>
                  <a:pt x="168590" y="1814126"/>
                  <a:pt x="163360" y="1815217"/>
                  <a:pt x="159741" y="1817369"/>
                </a:cubicBezTo>
                <a:cubicBezTo>
                  <a:pt x="156122" y="1819522"/>
                  <a:pt x="154297" y="1822552"/>
                  <a:pt x="154267" y="1826459"/>
                </a:cubicBezTo>
                <a:lnTo>
                  <a:pt x="154267" y="1904621"/>
                </a:lnTo>
                <a:cubicBezTo>
                  <a:pt x="154223" y="1906131"/>
                  <a:pt x="153682" y="1907406"/>
                  <a:pt x="152643" y="1908445"/>
                </a:cubicBezTo>
                <a:cubicBezTo>
                  <a:pt x="151604" y="1909484"/>
                  <a:pt x="150329" y="1910026"/>
                  <a:pt x="148818" y="1910069"/>
                </a:cubicBezTo>
                <a:lnTo>
                  <a:pt x="143580" y="1910069"/>
                </a:lnTo>
                <a:cubicBezTo>
                  <a:pt x="142069" y="1910026"/>
                  <a:pt x="140794" y="1909484"/>
                  <a:pt x="139755" y="1908445"/>
                </a:cubicBezTo>
                <a:cubicBezTo>
                  <a:pt x="138716" y="1907406"/>
                  <a:pt x="138175" y="1906131"/>
                  <a:pt x="138131" y="1904621"/>
                </a:cubicBezTo>
                <a:lnTo>
                  <a:pt x="138131" y="1834631"/>
                </a:lnTo>
                <a:cubicBezTo>
                  <a:pt x="138206" y="1827725"/>
                  <a:pt x="136486" y="1822573"/>
                  <a:pt x="132971" y="1819177"/>
                </a:cubicBezTo>
                <a:cubicBezTo>
                  <a:pt x="129457" y="1815780"/>
                  <a:pt x="123703" y="1814087"/>
                  <a:pt x="115710" y="1814095"/>
                </a:cubicBezTo>
                <a:cubicBezTo>
                  <a:pt x="108484" y="1814117"/>
                  <a:pt x="103080" y="1815174"/>
                  <a:pt x="99496" y="1817265"/>
                </a:cubicBezTo>
                <a:cubicBezTo>
                  <a:pt x="95911" y="1819356"/>
                  <a:pt x="94122" y="1822351"/>
                  <a:pt x="94126" y="1826249"/>
                </a:cubicBezTo>
                <a:lnTo>
                  <a:pt x="94126" y="1904621"/>
                </a:lnTo>
                <a:cubicBezTo>
                  <a:pt x="94082" y="1906131"/>
                  <a:pt x="93541" y="1907406"/>
                  <a:pt x="92502" y="1908445"/>
                </a:cubicBezTo>
                <a:cubicBezTo>
                  <a:pt x="91463" y="1909484"/>
                  <a:pt x="90188" y="1910026"/>
                  <a:pt x="88678" y="1910069"/>
                </a:cubicBezTo>
                <a:lnTo>
                  <a:pt x="83439" y="1910069"/>
                </a:lnTo>
                <a:cubicBezTo>
                  <a:pt x="81928" y="1910026"/>
                  <a:pt x="80654" y="1909484"/>
                  <a:pt x="79615" y="1908445"/>
                </a:cubicBezTo>
                <a:cubicBezTo>
                  <a:pt x="78576" y="1907406"/>
                  <a:pt x="78034" y="1906131"/>
                  <a:pt x="77991" y="1904621"/>
                </a:cubicBezTo>
                <a:lnTo>
                  <a:pt x="77991" y="1810743"/>
                </a:lnTo>
                <a:cubicBezTo>
                  <a:pt x="78034" y="1809232"/>
                  <a:pt x="78576" y="1807957"/>
                  <a:pt x="79615" y="1806918"/>
                </a:cubicBezTo>
                <a:cubicBezTo>
                  <a:pt x="80654" y="1805879"/>
                  <a:pt x="81928" y="1805338"/>
                  <a:pt x="83439" y="1805294"/>
                </a:cubicBezTo>
                <a:lnTo>
                  <a:pt x="88678" y="1805294"/>
                </a:lnTo>
                <a:cubicBezTo>
                  <a:pt x="90188" y="1805338"/>
                  <a:pt x="91463" y="1805879"/>
                  <a:pt x="92502" y="1806918"/>
                </a:cubicBezTo>
                <a:cubicBezTo>
                  <a:pt x="93541" y="1807957"/>
                  <a:pt x="94082" y="1809232"/>
                  <a:pt x="94126" y="1810743"/>
                </a:cubicBezTo>
                <a:lnTo>
                  <a:pt x="94126" y="1812628"/>
                </a:lnTo>
                <a:cubicBezTo>
                  <a:pt x="97330" y="1808726"/>
                  <a:pt x="101504" y="1806054"/>
                  <a:pt x="106646" y="1804613"/>
                </a:cubicBezTo>
                <a:cubicBezTo>
                  <a:pt x="111789" y="1803173"/>
                  <a:pt x="116906" y="1802491"/>
                  <a:pt x="121996" y="1802570"/>
                </a:cubicBezTo>
                <a:close/>
                <a:moveTo>
                  <a:pt x="1343463" y="1764851"/>
                </a:moveTo>
                <a:cubicBezTo>
                  <a:pt x="1346676" y="1764930"/>
                  <a:pt x="1349313" y="1766030"/>
                  <a:pt x="1351373" y="1768151"/>
                </a:cubicBezTo>
                <a:cubicBezTo>
                  <a:pt x="1353434" y="1770273"/>
                  <a:pt x="1354499" y="1772945"/>
                  <a:pt x="1354569" y="1776167"/>
                </a:cubicBezTo>
                <a:cubicBezTo>
                  <a:pt x="1354499" y="1779389"/>
                  <a:pt x="1353434" y="1782060"/>
                  <a:pt x="1351373" y="1784182"/>
                </a:cubicBezTo>
                <a:cubicBezTo>
                  <a:pt x="1349313" y="1786304"/>
                  <a:pt x="1346676" y="1787404"/>
                  <a:pt x="1343463" y="1787482"/>
                </a:cubicBezTo>
                <a:cubicBezTo>
                  <a:pt x="1340241" y="1787404"/>
                  <a:pt x="1337569" y="1786304"/>
                  <a:pt x="1335448" y="1784182"/>
                </a:cubicBezTo>
                <a:cubicBezTo>
                  <a:pt x="1333326" y="1782060"/>
                  <a:pt x="1332226" y="1779389"/>
                  <a:pt x="1332147" y="1776167"/>
                </a:cubicBezTo>
                <a:cubicBezTo>
                  <a:pt x="1332226" y="1772945"/>
                  <a:pt x="1333326" y="1770273"/>
                  <a:pt x="1335448" y="1768151"/>
                </a:cubicBezTo>
                <a:cubicBezTo>
                  <a:pt x="1337569" y="1766030"/>
                  <a:pt x="1340241" y="1764930"/>
                  <a:pt x="1343463" y="1764851"/>
                </a:cubicBezTo>
                <a:close/>
                <a:moveTo>
                  <a:pt x="1200588" y="1764851"/>
                </a:moveTo>
                <a:cubicBezTo>
                  <a:pt x="1203801" y="1764930"/>
                  <a:pt x="1206438" y="1766030"/>
                  <a:pt x="1208499" y="1768151"/>
                </a:cubicBezTo>
                <a:cubicBezTo>
                  <a:pt x="1210559" y="1770273"/>
                  <a:pt x="1211624" y="1772945"/>
                  <a:pt x="1211694" y="1776167"/>
                </a:cubicBezTo>
                <a:cubicBezTo>
                  <a:pt x="1211624" y="1779389"/>
                  <a:pt x="1210559" y="1782060"/>
                  <a:pt x="1208499" y="1784182"/>
                </a:cubicBezTo>
                <a:cubicBezTo>
                  <a:pt x="1206438" y="1786304"/>
                  <a:pt x="1203801" y="1787404"/>
                  <a:pt x="1200588" y="1787482"/>
                </a:cubicBezTo>
                <a:cubicBezTo>
                  <a:pt x="1197366" y="1787404"/>
                  <a:pt x="1194694" y="1786304"/>
                  <a:pt x="1192573" y="1784182"/>
                </a:cubicBezTo>
                <a:cubicBezTo>
                  <a:pt x="1190451" y="1782060"/>
                  <a:pt x="1189351" y="1779389"/>
                  <a:pt x="1189272" y="1776167"/>
                </a:cubicBezTo>
                <a:cubicBezTo>
                  <a:pt x="1189351" y="1772945"/>
                  <a:pt x="1190451" y="1770273"/>
                  <a:pt x="1192573" y="1768151"/>
                </a:cubicBezTo>
                <a:cubicBezTo>
                  <a:pt x="1194694" y="1766030"/>
                  <a:pt x="1197366" y="1764930"/>
                  <a:pt x="1200588" y="1764851"/>
                </a:cubicBezTo>
                <a:close/>
                <a:moveTo>
                  <a:pt x="837133" y="1764851"/>
                </a:moveTo>
                <a:lnTo>
                  <a:pt x="842372" y="1764851"/>
                </a:lnTo>
                <a:cubicBezTo>
                  <a:pt x="843882" y="1764895"/>
                  <a:pt x="845157" y="1765436"/>
                  <a:pt x="846196" y="1766475"/>
                </a:cubicBezTo>
                <a:cubicBezTo>
                  <a:pt x="847235" y="1767514"/>
                  <a:pt x="847776" y="1768789"/>
                  <a:pt x="847820" y="1770299"/>
                </a:cubicBezTo>
                <a:lnTo>
                  <a:pt x="847820" y="1904621"/>
                </a:lnTo>
                <a:cubicBezTo>
                  <a:pt x="847776" y="1906131"/>
                  <a:pt x="847235" y="1907406"/>
                  <a:pt x="846196" y="1908445"/>
                </a:cubicBezTo>
                <a:cubicBezTo>
                  <a:pt x="845157" y="1909484"/>
                  <a:pt x="843882" y="1910026"/>
                  <a:pt x="842372" y="1910069"/>
                </a:cubicBezTo>
                <a:lnTo>
                  <a:pt x="837133" y="1910069"/>
                </a:lnTo>
                <a:cubicBezTo>
                  <a:pt x="835623" y="1910026"/>
                  <a:pt x="834348" y="1909484"/>
                  <a:pt x="833309" y="1908445"/>
                </a:cubicBezTo>
                <a:cubicBezTo>
                  <a:pt x="832270" y="1907406"/>
                  <a:pt x="831728" y="1906131"/>
                  <a:pt x="831685" y="1904621"/>
                </a:cubicBezTo>
                <a:lnTo>
                  <a:pt x="831685" y="1901897"/>
                </a:lnTo>
                <a:cubicBezTo>
                  <a:pt x="828851" y="1905376"/>
                  <a:pt x="824826" y="1908057"/>
                  <a:pt x="819609" y="1909938"/>
                </a:cubicBezTo>
                <a:cubicBezTo>
                  <a:pt x="814392" y="1911820"/>
                  <a:pt x="808639" y="1912771"/>
                  <a:pt x="802348" y="1912793"/>
                </a:cubicBezTo>
                <a:cubicBezTo>
                  <a:pt x="787282" y="1912601"/>
                  <a:pt x="775713" y="1907694"/>
                  <a:pt x="767641" y="1898072"/>
                </a:cubicBezTo>
                <a:cubicBezTo>
                  <a:pt x="759569" y="1888451"/>
                  <a:pt x="755492" y="1875266"/>
                  <a:pt x="755409" y="1858520"/>
                </a:cubicBezTo>
                <a:cubicBezTo>
                  <a:pt x="755518" y="1841795"/>
                  <a:pt x="759909" y="1828358"/>
                  <a:pt x="768584" y="1818208"/>
                </a:cubicBezTo>
                <a:cubicBezTo>
                  <a:pt x="777258" y="1808058"/>
                  <a:pt x="789561" y="1802845"/>
                  <a:pt x="805491" y="1802570"/>
                </a:cubicBezTo>
                <a:cubicBezTo>
                  <a:pt x="811302" y="1802622"/>
                  <a:pt x="816444" y="1803356"/>
                  <a:pt x="820919" y="1804770"/>
                </a:cubicBezTo>
                <a:cubicBezTo>
                  <a:pt x="825394" y="1806185"/>
                  <a:pt x="828913" y="1807966"/>
                  <a:pt x="831475" y="1810114"/>
                </a:cubicBezTo>
                <a:lnTo>
                  <a:pt x="831685" y="1810114"/>
                </a:lnTo>
                <a:lnTo>
                  <a:pt x="831685" y="1770299"/>
                </a:lnTo>
                <a:cubicBezTo>
                  <a:pt x="831728" y="1768789"/>
                  <a:pt x="832270" y="1767514"/>
                  <a:pt x="833309" y="1766475"/>
                </a:cubicBezTo>
                <a:cubicBezTo>
                  <a:pt x="834348" y="1765436"/>
                  <a:pt x="835623" y="1764895"/>
                  <a:pt x="837133" y="1764851"/>
                </a:cubicBezTo>
                <a:close/>
                <a:moveTo>
                  <a:pt x="22003" y="1764851"/>
                </a:moveTo>
                <a:lnTo>
                  <a:pt x="29127" y="1764851"/>
                </a:lnTo>
                <a:cubicBezTo>
                  <a:pt x="30638" y="1764895"/>
                  <a:pt x="31913" y="1765436"/>
                  <a:pt x="32952" y="1766475"/>
                </a:cubicBezTo>
                <a:cubicBezTo>
                  <a:pt x="33991" y="1767514"/>
                  <a:pt x="34532" y="1768789"/>
                  <a:pt x="34576" y="1770299"/>
                </a:cubicBezTo>
                <a:lnTo>
                  <a:pt x="34576" y="1904621"/>
                </a:lnTo>
                <a:cubicBezTo>
                  <a:pt x="34532" y="1906131"/>
                  <a:pt x="33991" y="1907406"/>
                  <a:pt x="32952" y="1908445"/>
                </a:cubicBezTo>
                <a:cubicBezTo>
                  <a:pt x="31913" y="1909484"/>
                  <a:pt x="30638" y="1910026"/>
                  <a:pt x="29127" y="1910069"/>
                </a:cubicBezTo>
                <a:lnTo>
                  <a:pt x="22003" y="1910069"/>
                </a:lnTo>
                <a:cubicBezTo>
                  <a:pt x="20492" y="1910026"/>
                  <a:pt x="19217" y="1909484"/>
                  <a:pt x="18178" y="1908445"/>
                </a:cubicBezTo>
                <a:cubicBezTo>
                  <a:pt x="17139" y="1907406"/>
                  <a:pt x="16598" y="1906131"/>
                  <a:pt x="16554" y="1904621"/>
                </a:cubicBezTo>
                <a:lnTo>
                  <a:pt x="16554" y="1770299"/>
                </a:lnTo>
                <a:cubicBezTo>
                  <a:pt x="16598" y="1768789"/>
                  <a:pt x="17139" y="1767514"/>
                  <a:pt x="18178" y="1766475"/>
                </a:cubicBezTo>
                <a:cubicBezTo>
                  <a:pt x="19217" y="1765436"/>
                  <a:pt x="20492" y="1764895"/>
                  <a:pt x="22003" y="1764851"/>
                </a:cubicBezTo>
                <a:close/>
                <a:moveTo>
                  <a:pt x="1151420" y="1762127"/>
                </a:moveTo>
                <a:cubicBezTo>
                  <a:pt x="1153568" y="1762127"/>
                  <a:pt x="1155768" y="1762232"/>
                  <a:pt x="1158021" y="1762441"/>
                </a:cubicBezTo>
                <a:cubicBezTo>
                  <a:pt x="1160273" y="1762651"/>
                  <a:pt x="1162264" y="1762965"/>
                  <a:pt x="1163993" y="1763384"/>
                </a:cubicBezTo>
                <a:cubicBezTo>
                  <a:pt x="1165687" y="1763773"/>
                  <a:pt x="1167014" y="1764410"/>
                  <a:pt x="1167974" y="1765296"/>
                </a:cubicBezTo>
                <a:cubicBezTo>
                  <a:pt x="1168935" y="1766183"/>
                  <a:pt x="1169424" y="1767501"/>
                  <a:pt x="1169441" y="1769252"/>
                </a:cubicBezTo>
                <a:lnTo>
                  <a:pt x="1169441" y="1770509"/>
                </a:lnTo>
                <a:cubicBezTo>
                  <a:pt x="1169380" y="1772569"/>
                  <a:pt x="1168874" y="1774001"/>
                  <a:pt x="1167922" y="1774805"/>
                </a:cubicBezTo>
                <a:cubicBezTo>
                  <a:pt x="1166970" y="1775608"/>
                  <a:pt x="1165940" y="1775992"/>
                  <a:pt x="1164831" y="1775957"/>
                </a:cubicBezTo>
                <a:cubicBezTo>
                  <a:pt x="1162722" y="1775879"/>
                  <a:pt x="1160496" y="1775564"/>
                  <a:pt x="1158152" y="1775014"/>
                </a:cubicBezTo>
                <a:cubicBezTo>
                  <a:pt x="1155807" y="1774464"/>
                  <a:pt x="1153424" y="1774150"/>
                  <a:pt x="1151001" y="1774071"/>
                </a:cubicBezTo>
                <a:cubicBezTo>
                  <a:pt x="1145448" y="1774124"/>
                  <a:pt x="1141623" y="1775433"/>
                  <a:pt x="1139528" y="1778000"/>
                </a:cubicBezTo>
                <a:cubicBezTo>
                  <a:pt x="1137432" y="1780567"/>
                  <a:pt x="1136437" y="1784077"/>
                  <a:pt x="1136542" y="1788530"/>
                </a:cubicBezTo>
                <a:lnTo>
                  <a:pt x="1136542" y="1805294"/>
                </a:lnTo>
                <a:lnTo>
                  <a:pt x="1161059" y="1805294"/>
                </a:lnTo>
                <a:cubicBezTo>
                  <a:pt x="1162570" y="1805338"/>
                  <a:pt x="1163845" y="1805879"/>
                  <a:pt x="1164883" y="1806918"/>
                </a:cubicBezTo>
                <a:cubicBezTo>
                  <a:pt x="1165923" y="1807957"/>
                  <a:pt x="1166464" y="1809232"/>
                  <a:pt x="1166507" y="1810743"/>
                </a:cubicBezTo>
                <a:lnTo>
                  <a:pt x="1166507" y="1811581"/>
                </a:lnTo>
                <a:cubicBezTo>
                  <a:pt x="1166464" y="1813091"/>
                  <a:pt x="1165923" y="1814366"/>
                  <a:pt x="1164883" y="1815405"/>
                </a:cubicBezTo>
                <a:cubicBezTo>
                  <a:pt x="1163845" y="1816444"/>
                  <a:pt x="1162570" y="1816985"/>
                  <a:pt x="1161059" y="1817029"/>
                </a:cubicBezTo>
                <a:lnTo>
                  <a:pt x="1136542" y="1817029"/>
                </a:lnTo>
                <a:lnTo>
                  <a:pt x="1136542" y="1904621"/>
                </a:lnTo>
                <a:cubicBezTo>
                  <a:pt x="1136498" y="1906131"/>
                  <a:pt x="1135957" y="1907406"/>
                  <a:pt x="1134918" y="1908445"/>
                </a:cubicBezTo>
                <a:cubicBezTo>
                  <a:pt x="1133879" y="1909484"/>
                  <a:pt x="1132604" y="1910026"/>
                  <a:pt x="1131093" y="1910069"/>
                </a:cubicBezTo>
                <a:lnTo>
                  <a:pt x="1125855" y="1910069"/>
                </a:lnTo>
                <a:cubicBezTo>
                  <a:pt x="1124344" y="1910026"/>
                  <a:pt x="1123069" y="1909484"/>
                  <a:pt x="1122031" y="1908445"/>
                </a:cubicBezTo>
                <a:cubicBezTo>
                  <a:pt x="1120991" y="1907406"/>
                  <a:pt x="1120450" y="1906131"/>
                  <a:pt x="1120407" y="1904621"/>
                </a:cubicBezTo>
                <a:lnTo>
                  <a:pt x="1120407" y="1817029"/>
                </a:lnTo>
                <a:lnTo>
                  <a:pt x="1106367" y="1817029"/>
                </a:lnTo>
                <a:cubicBezTo>
                  <a:pt x="1104856" y="1816985"/>
                  <a:pt x="1103581" y="1816444"/>
                  <a:pt x="1102542" y="1815405"/>
                </a:cubicBezTo>
                <a:cubicBezTo>
                  <a:pt x="1101503" y="1814366"/>
                  <a:pt x="1100962" y="1813091"/>
                  <a:pt x="1100918" y="1811581"/>
                </a:cubicBezTo>
                <a:lnTo>
                  <a:pt x="1100918" y="1810743"/>
                </a:lnTo>
                <a:cubicBezTo>
                  <a:pt x="1100962" y="1809232"/>
                  <a:pt x="1101503" y="1807957"/>
                  <a:pt x="1102542" y="1806918"/>
                </a:cubicBezTo>
                <a:cubicBezTo>
                  <a:pt x="1103581" y="1805879"/>
                  <a:pt x="1104856" y="1805338"/>
                  <a:pt x="1106367" y="1805294"/>
                </a:cubicBezTo>
                <a:lnTo>
                  <a:pt x="1120407" y="1805294"/>
                </a:lnTo>
                <a:lnTo>
                  <a:pt x="1120407" y="1792302"/>
                </a:lnTo>
                <a:cubicBezTo>
                  <a:pt x="1120533" y="1780777"/>
                  <a:pt x="1123371" y="1772814"/>
                  <a:pt x="1128919" y="1768413"/>
                </a:cubicBezTo>
                <a:cubicBezTo>
                  <a:pt x="1134468" y="1764013"/>
                  <a:pt x="1141968" y="1761917"/>
                  <a:pt x="1151420" y="1762127"/>
                </a:cubicBezTo>
                <a:close/>
                <a:moveTo>
                  <a:pt x="1075220" y="1762127"/>
                </a:moveTo>
                <a:cubicBezTo>
                  <a:pt x="1077368" y="1762127"/>
                  <a:pt x="1079568" y="1762232"/>
                  <a:pt x="1081821" y="1762441"/>
                </a:cubicBezTo>
                <a:cubicBezTo>
                  <a:pt x="1084073" y="1762651"/>
                  <a:pt x="1086064" y="1762965"/>
                  <a:pt x="1087793" y="1763384"/>
                </a:cubicBezTo>
                <a:cubicBezTo>
                  <a:pt x="1089487" y="1763773"/>
                  <a:pt x="1090814" y="1764410"/>
                  <a:pt x="1091774" y="1765296"/>
                </a:cubicBezTo>
                <a:cubicBezTo>
                  <a:pt x="1092735" y="1766183"/>
                  <a:pt x="1093224" y="1767501"/>
                  <a:pt x="1093241" y="1769252"/>
                </a:cubicBezTo>
                <a:lnTo>
                  <a:pt x="1093241" y="1770509"/>
                </a:lnTo>
                <a:cubicBezTo>
                  <a:pt x="1093180" y="1772569"/>
                  <a:pt x="1092674" y="1774001"/>
                  <a:pt x="1091722" y="1774805"/>
                </a:cubicBezTo>
                <a:cubicBezTo>
                  <a:pt x="1090770" y="1775608"/>
                  <a:pt x="1089740" y="1775992"/>
                  <a:pt x="1088631" y="1775957"/>
                </a:cubicBezTo>
                <a:cubicBezTo>
                  <a:pt x="1086523" y="1775879"/>
                  <a:pt x="1084296" y="1775564"/>
                  <a:pt x="1081952" y="1775014"/>
                </a:cubicBezTo>
                <a:cubicBezTo>
                  <a:pt x="1079607" y="1774464"/>
                  <a:pt x="1077224" y="1774150"/>
                  <a:pt x="1074801" y="1774071"/>
                </a:cubicBezTo>
                <a:cubicBezTo>
                  <a:pt x="1069248" y="1774124"/>
                  <a:pt x="1065423" y="1775433"/>
                  <a:pt x="1063328" y="1778000"/>
                </a:cubicBezTo>
                <a:cubicBezTo>
                  <a:pt x="1061232" y="1780567"/>
                  <a:pt x="1060237" y="1784077"/>
                  <a:pt x="1060342" y="1788530"/>
                </a:cubicBezTo>
                <a:lnTo>
                  <a:pt x="1060342" y="1805294"/>
                </a:lnTo>
                <a:lnTo>
                  <a:pt x="1084859" y="1805294"/>
                </a:lnTo>
                <a:cubicBezTo>
                  <a:pt x="1086370" y="1805338"/>
                  <a:pt x="1087644" y="1805879"/>
                  <a:pt x="1088683" y="1806918"/>
                </a:cubicBezTo>
                <a:cubicBezTo>
                  <a:pt x="1089723" y="1807957"/>
                  <a:pt x="1090264" y="1809232"/>
                  <a:pt x="1090307" y="1810743"/>
                </a:cubicBezTo>
                <a:lnTo>
                  <a:pt x="1090307" y="1811581"/>
                </a:lnTo>
                <a:cubicBezTo>
                  <a:pt x="1090264" y="1813091"/>
                  <a:pt x="1089723" y="1814366"/>
                  <a:pt x="1088683" y="1815405"/>
                </a:cubicBezTo>
                <a:cubicBezTo>
                  <a:pt x="1087644" y="1816444"/>
                  <a:pt x="1086370" y="1816985"/>
                  <a:pt x="1084859" y="1817029"/>
                </a:cubicBezTo>
                <a:lnTo>
                  <a:pt x="1060342" y="1817029"/>
                </a:lnTo>
                <a:lnTo>
                  <a:pt x="1060342" y="1904621"/>
                </a:lnTo>
                <a:cubicBezTo>
                  <a:pt x="1060298" y="1906131"/>
                  <a:pt x="1059757" y="1907406"/>
                  <a:pt x="1058718" y="1908445"/>
                </a:cubicBezTo>
                <a:cubicBezTo>
                  <a:pt x="1057679" y="1909484"/>
                  <a:pt x="1056404" y="1910026"/>
                  <a:pt x="1054893" y="1910069"/>
                </a:cubicBezTo>
                <a:lnTo>
                  <a:pt x="1049655" y="1910069"/>
                </a:lnTo>
                <a:cubicBezTo>
                  <a:pt x="1048144" y="1910026"/>
                  <a:pt x="1046869" y="1909484"/>
                  <a:pt x="1045831" y="1908445"/>
                </a:cubicBezTo>
                <a:cubicBezTo>
                  <a:pt x="1044791" y="1907406"/>
                  <a:pt x="1044250" y="1906131"/>
                  <a:pt x="1044207" y="1904621"/>
                </a:cubicBezTo>
                <a:lnTo>
                  <a:pt x="1044207" y="1817029"/>
                </a:lnTo>
                <a:lnTo>
                  <a:pt x="1030167" y="1817029"/>
                </a:lnTo>
                <a:cubicBezTo>
                  <a:pt x="1028656" y="1816985"/>
                  <a:pt x="1027381" y="1816444"/>
                  <a:pt x="1026342" y="1815405"/>
                </a:cubicBezTo>
                <a:cubicBezTo>
                  <a:pt x="1025303" y="1814366"/>
                  <a:pt x="1024762" y="1813091"/>
                  <a:pt x="1024718" y="1811581"/>
                </a:cubicBezTo>
                <a:lnTo>
                  <a:pt x="1024718" y="1810743"/>
                </a:lnTo>
                <a:cubicBezTo>
                  <a:pt x="1024762" y="1809232"/>
                  <a:pt x="1025303" y="1807957"/>
                  <a:pt x="1026342" y="1806918"/>
                </a:cubicBezTo>
                <a:cubicBezTo>
                  <a:pt x="1027381" y="1805879"/>
                  <a:pt x="1028656" y="1805338"/>
                  <a:pt x="1030167" y="1805294"/>
                </a:cubicBezTo>
                <a:lnTo>
                  <a:pt x="1044207" y="1805294"/>
                </a:lnTo>
                <a:lnTo>
                  <a:pt x="1044207" y="1792302"/>
                </a:lnTo>
                <a:cubicBezTo>
                  <a:pt x="1044333" y="1780777"/>
                  <a:pt x="1047171" y="1772814"/>
                  <a:pt x="1052719" y="1768413"/>
                </a:cubicBezTo>
                <a:cubicBezTo>
                  <a:pt x="1058268" y="1764013"/>
                  <a:pt x="1065768" y="1761917"/>
                  <a:pt x="1075220" y="1762127"/>
                </a:cubicBezTo>
                <a:close/>
                <a:moveTo>
                  <a:pt x="462172" y="1574618"/>
                </a:moveTo>
                <a:cubicBezTo>
                  <a:pt x="455807" y="1574504"/>
                  <a:pt x="450778" y="1577141"/>
                  <a:pt x="447084" y="1582528"/>
                </a:cubicBezTo>
                <a:cubicBezTo>
                  <a:pt x="443391" y="1587915"/>
                  <a:pt x="441505" y="1596734"/>
                  <a:pt x="441426" y="1608984"/>
                </a:cubicBezTo>
                <a:cubicBezTo>
                  <a:pt x="441374" y="1619876"/>
                  <a:pt x="442998" y="1628372"/>
                  <a:pt x="446298" y="1634470"/>
                </a:cubicBezTo>
                <a:cubicBezTo>
                  <a:pt x="449599" y="1640569"/>
                  <a:pt x="454890" y="1643669"/>
                  <a:pt x="462172" y="1643769"/>
                </a:cubicBezTo>
                <a:cubicBezTo>
                  <a:pt x="469554" y="1643669"/>
                  <a:pt x="474906" y="1640569"/>
                  <a:pt x="478229" y="1634470"/>
                </a:cubicBezTo>
                <a:cubicBezTo>
                  <a:pt x="481551" y="1628372"/>
                  <a:pt x="483184" y="1619876"/>
                  <a:pt x="483127" y="1608984"/>
                </a:cubicBezTo>
                <a:cubicBezTo>
                  <a:pt x="483053" y="1596734"/>
                  <a:pt x="481158" y="1587915"/>
                  <a:pt x="477443" y="1582528"/>
                </a:cubicBezTo>
                <a:cubicBezTo>
                  <a:pt x="473728" y="1577141"/>
                  <a:pt x="468637" y="1574504"/>
                  <a:pt x="462172" y="1574618"/>
                </a:cubicBezTo>
                <a:close/>
                <a:moveTo>
                  <a:pt x="754723" y="1574199"/>
                </a:moveTo>
                <a:cubicBezTo>
                  <a:pt x="749563" y="1574133"/>
                  <a:pt x="745267" y="1575993"/>
                  <a:pt x="741835" y="1579778"/>
                </a:cubicBezTo>
                <a:cubicBezTo>
                  <a:pt x="738404" y="1583563"/>
                  <a:pt x="736623" y="1589666"/>
                  <a:pt x="736492" y="1598087"/>
                </a:cubicBezTo>
                <a:lnTo>
                  <a:pt x="773373" y="1598087"/>
                </a:lnTo>
                <a:cubicBezTo>
                  <a:pt x="773552" y="1592141"/>
                  <a:pt x="772355" y="1586745"/>
                  <a:pt x="769784" y="1581900"/>
                </a:cubicBezTo>
                <a:cubicBezTo>
                  <a:pt x="767213" y="1577054"/>
                  <a:pt x="762192" y="1574487"/>
                  <a:pt x="754723" y="1574199"/>
                </a:cubicBezTo>
                <a:close/>
                <a:moveTo>
                  <a:pt x="116510" y="1555968"/>
                </a:moveTo>
                <a:lnTo>
                  <a:pt x="135160" y="1555968"/>
                </a:lnTo>
                <a:cubicBezTo>
                  <a:pt x="136989" y="1556016"/>
                  <a:pt x="138517" y="1556653"/>
                  <a:pt x="139743" y="1557880"/>
                </a:cubicBezTo>
                <a:cubicBezTo>
                  <a:pt x="140970" y="1559107"/>
                  <a:pt x="141608" y="1560635"/>
                  <a:pt x="141656" y="1562464"/>
                </a:cubicBezTo>
                <a:lnTo>
                  <a:pt x="141656" y="1630148"/>
                </a:lnTo>
                <a:cubicBezTo>
                  <a:pt x="141520" y="1634383"/>
                  <a:pt x="142629" y="1637701"/>
                  <a:pt x="144982" y="1640102"/>
                </a:cubicBezTo>
                <a:cubicBezTo>
                  <a:pt x="147335" y="1642503"/>
                  <a:pt x="151745" y="1643726"/>
                  <a:pt x="158210" y="1643769"/>
                </a:cubicBezTo>
                <a:cubicBezTo>
                  <a:pt x="162855" y="1643726"/>
                  <a:pt x="166452" y="1643184"/>
                  <a:pt x="169002" y="1642145"/>
                </a:cubicBezTo>
                <a:cubicBezTo>
                  <a:pt x="171551" y="1641106"/>
                  <a:pt x="172844" y="1639831"/>
                  <a:pt x="172879" y="1638321"/>
                </a:cubicBezTo>
                <a:lnTo>
                  <a:pt x="172879" y="1562464"/>
                </a:lnTo>
                <a:cubicBezTo>
                  <a:pt x="172940" y="1560635"/>
                  <a:pt x="173603" y="1559107"/>
                  <a:pt x="174869" y="1557880"/>
                </a:cubicBezTo>
                <a:cubicBezTo>
                  <a:pt x="176135" y="1556653"/>
                  <a:pt x="177637" y="1556016"/>
                  <a:pt x="179375" y="1555968"/>
                </a:cubicBezTo>
                <a:lnTo>
                  <a:pt x="198025" y="1555968"/>
                </a:lnTo>
                <a:cubicBezTo>
                  <a:pt x="199854" y="1556016"/>
                  <a:pt x="201382" y="1556653"/>
                  <a:pt x="202608" y="1557880"/>
                </a:cubicBezTo>
                <a:cubicBezTo>
                  <a:pt x="203835" y="1559107"/>
                  <a:pt x="204473" y="1560635"/>
                  <a:pt x="204521" y="1562464"/>
                </a:cubicBezTo>
                <a:lnTo>
                  <a:pt x="204521" y="1655923"/>
                </a:lnTo>
                <a:cubicBezTo>
                  <a:pt x="204473" y="1657752"/>
                  <a:pt x="203835" y="1659280"/>
                  <a:pt x="202608" y="1660507"/>
                </a:cubicBezTo>
                <a:cubicBezTo>
                  <a:pt x="201382" y="1661734"/>
                  <a:pt x="199854" y="1662371"/>
                  <a:pt x="198025" y="1662419"/>
                </a:cubicBezTo>
                <a:lnTo>
                  <a:pt x="181261" y="1662419"/>
                </a:lnTo>
                <a:cubicBezTo>
                  <a:pt x="179523" y="1662371"/>
                  <a:pt x="178021" y="1661734"/>
                  <a:pt x="176755" y="1660507"/>
                </a:cubicBezTo>
                <a:cubicBezTo>
                  <a:pt x="175489" y="1659280"/>
                  <a:pt x="174826" y="1657752"/>
                  <a:pt x="174765" y="1655923"/>
                </a:cubicBezTo>
                <a:lnTo>
                  <a:pt x="174765" y="1654247"/>
                </a:lnTo>
                <a:cubicBezTo>
                  <a:pt x="171796" y="1657442"/>
                  <a:pt x="168094" y="1660009"/>
                  <a:pt x="163658" y="1661948"/>
                </a:cubicBezTo>
                <a:cubicBezTo>
                  <a:pt x="159223" y="1663886"/>
                  <a:pt x="153635" y="1664881"/>
                  <a:pt x="146894" y="1664934"/>
                </a:cubicBezTo>
                <a:cubicBezTo>
                  <a:pt x="135548" y="1664860"/>
                  <a:pt x="126599" y="1661655"/>
                  <a:pt x="120046" y="1655321"/>
                </a:cubicBezTo>
                <a:cubicBezTo>
                  <a:pt x="113493" y="1648986"/>
                  <a:pt x="110149" y="1639967"/>
                  <a:pt x="110014" y="1628263"/>
                </a:cubicBezTo>
                <a:lnTo>
                  <a:pt x="110014" y="1562464"/>
                </a:lnTo>
                <a:cubicBezTo>
                  <a:pt x="110075" y="1560635"/>
                  <a:pt x="110738" y="1559107"/>
                  <a:pt x="112004" y="1557880"/>
                </a:cubicBezTo>
                <a:cubicBezTo>
                  <a:pt x="113270" y="1556653"/>
                  <a:pt x="114772" y="1556016"/>
                  <a:pt x="116510" y="1555968"/>
                </a:cubicBezTo>
                <a:close/>
                <a:moveTo>
                  <a:pt x="942079" y="1553453"/>
                </a:moveTo>
                <a:cubicBezTo>
                  <a:pt x="953007" y="1553506"/>
                  <a:pt x="961642" y="1555077"/>
                  <a:pt x="967985" y="1558168"/>
                </a:cubicBezTo>
                <a:cubicBezTo>
                  <a:pt x="974328" y="1561259"/>
                  <a:pt x="977568" y="1565555"/>
                  <a:pt x="977703" y="1571055"/>
                </a:cubicBezTo>
                <a:cubicBezTo>
                  <a:pt x="977668" y="1574487"/>
                  <a:pt x="976638" y="1577316"/>
                  <a:pt x="974612" y="1579542"/>
                </a:cubicBezTo>
                <a:cubicBezTo>
                  <a:pt x="972586" y="1581769"/>
                  <a:pt x="969775" y="1582921"/>
                  <a:pt x="966178" y="1583000"/>
                </a:cubicBezTo>
                <a:cubicBezTo>
                  <a:pt x="962697" y="1582888"/>
                  <a:pt x="959856" y="1582110"/>
                  <a:pt x="957656" y="1580664"/>
                </a:cubicBezTo>
                <a:cubicBezTo>
                  <a:pt x="955456" y="1579217"/>
                  <a:pt x="952988" y="1577771"/>
                  <a:pt x="950252" y="1576325"/>
                </a:cubicBezTo>
                <a:cubicBezTo>
                  <a:pt x="947516" y="1574879"/>
                  <a:pt x="943605" y="1574100"/>
                  <a:pt x="938517" y="1573989"/>
                </a:cubicBezTo>
                <a:cubicBezTo>
                  <a:pt x="933925" y="1574050"/>
                  <a:pt x="930537" y="1574923"/>
                  <a:pt x="928354" y="1576608"/>
                </a:cubicBezTo>
                <a:cubicBezTo>
                  <a:pt x="926171" y="1578294"/>
                  <a:pt x="925088" y="1580424"/>
                  <a:pt x="925106" y="1583000"/>
                </a:cubicBezTo>
                <a:cubicBezTo>
                  <a:pt x="925019" y="1585785"/>
                  <a:pt x="926398" y="1588073"/>
                  <a:pt x="929244" y="1589863"/>
                </a:cubicBezTo>
                <a:cubicBezTo>
                  <a:pt x="932091" y="1591652"/>
                  <a:pt x="936928" y="1593207"/>
                  <a:pt x="943756" y="1594525"/>
                </a:cubicBezTo>
                <a:cubicBezTo>
                  <a:pt x="956840" y="1596991"/>
                  <a:pt x="966610" y="1600755"/>
                  <a:pt x="973067" y="1605815"/>
                </a:cubicBezTo>
                <a:cubicBezTo>
                  <a:pt x="979523" y="1610874"/>
                  <a:pt x="982745" y="1618147"/>
                  <a:pt x="982732" y="1627634"/>
                </a:cubicBezTo>
                <a:cubicBezTo>
                  <a:pt x="982540" y="1638906"/>
                  <a:pt x="978367" y="1647899"/>
                  <a:pt x="970211" y="1654613"/>
                </a:cubicBezTo>
                <a:cubicBezTo>
                  <a:pt x="962057" y="1661328"/>
                  <a:pt x="951073" y="1664768"/>
                  <a:pt x="937260" y="1664934"/>
                </a:cubicBezTo>
                <a:cubicBezTo>
                  <a:pt x="924761" y="1664868"/>
                  <a:pt x="914607" y="1662956"/>
                  <a:pt x="906796" y="1659197"/>
                </a:cubicBezTo>
                <a:cubicBezTo>
                  <a:pt x="898986" y="1655439"/>
                  <a:pt x="894961" y="1650226"/>
                  <a:pt x="894721" y="1643560"/>
                </a:cubicBezTo>
                <a:cubicBezTo>
                  <a:pt x="894791" y="1640329"/>
                  <a:pt x="895961" y="1637622"/>
                  <a:pt x="898231" y="1635440"/>
                </a:cubicBezTo>
                <a:cubicBezTo>
                  <a:pt x="900501" y="1633257"/>
                  <a:pt x="903452" y="1632122"/>
                  <a:pt x="907085" y="1632034"/>
                </a:cubicBezTo>
                <a:cubicBezTo>
                  <a:pt x="910555" y="1632187"/>
                  <a:pt x="913719" y="1633256"/>
                  <a:pt x="916576" y="1635240"/>
                </a:cubicBezTo>
                <a:cubicBezTo>
                  <a:pt x="919434" y="1637224"/>
                  <a:pt x="922536" y="1639208"/>
                  <a:pt x="925882" y="1641193"/>
                </a:cubicBezTo>
                <a:cubicBezTo>
                  <a:pt x="929228" y="1643177"/>
                  <a:pt x="933370" y="1644245"/>
                  <a:pt x="938307" y="1644398"/>
                </a:cubicBezTo>
                <a:cubicBezTo>
                  <a:pt x="942451" y="1644394"/>
                  <a:pt x="945742" y="1643459"/>
                  <a:pt x="948183" y="1641595"/>
                </a:cubicBezTo>
                <a:cubicBezTo>
                  <a:pt x="950623" y="1639731"/>
                  <a:pt x="951872" y="1636963"/>
                  <a:pt x="951928" y="1633292"/>
                </a:cubicBezTo>
                <a:cubicBezTo>
                  <a:pt x="952046" y="1629463"/>
                  <a:pt x="950553" y="1626433"/>
                  <a:pt x="947449" y="1624202"/>
                </a:cubicBezTo>
                <a:cubicBezTo>
                  <a:pt x="944345" y="1621972"/>
                  <a:pt x="938923" y="1620252"/>
                  <a:pt x="931183" y="1619042"/>
                </a:cubicBezTo>
                <a:cubicBezTo>
                  <a:pt x="919038" y="1617052"/>
                  <a:pt x="909957" y="1613332"/>
                  <a:pt x="903941" y="1607884"/>
                </a:cubicBezTo>
                <a:cubicBezTo>
                  <a:pt x="897925" y="1602435"/>
                  <a:pt x="894922" y="1595258"/>
                  <a:pt x="894931" y="1586353"/>
                </a:cubicBezTo>
                <a:cubicBezTo>
                  <a:pt x="894905" y="1576456"/>
                  <a:pt x="898781" y="1568536"/>
                  <a:pt x="906561" y="1562595"/>
                </a:cubicBezTo>
                <a:cubicBezTo>
                  <a:pt x="914340" y="1556653"/>
                  <a:pt x="926180" y="1553606"/>
                  <a:pt x="942079" y="1553453"/>
                </a:cubicBezTo>
                <a:close/>
                <a:moveTo>
                  <a:pt x="866413" y="1553453"/>
                </a:moveTo>
                <a:cubicBezTo>
                  <a:pt x="871477" y="1553510"/>
                  <a:pt x="875389" y="1554811"/>
                  <a:pt x="878148" y="1557356"/>
                </a:cubicBezTo>
                <a:cubicBezTo>
                  <a:pt x="880907" y="1559901"/>
                  <a:pt x="882304" y="1563350"/>
                  <a:pt x="882339" y="1567703"/>
                </a:cubicBezTo>
                <a:cubicBezTo>
                  <a:pt x="882295" y="1572265"/>
                  <a:pt x="881020" y="1575871"/>
                  <a:pt x="878514" y="1578521"/>
                </a:cubicBezTo>
                <a:cubicBezTo>
                  <a:pt x="876009" y="1581171"/>
                  <a:pt x="872533" y="1582524"/>
                  <a:pt x="868089" y="1582581"/>
                </a:cubicBezTo>
                <a:cubicBezTo>
                  <a:pt x="864383" y="1582371"/>
                  <a:pt x="861266" y="1581533"/>
                  <a:pt x="858738" y="1580066"/>
                </a:cubicBezTo>
                <a:cubicBezTo>
                  <a:pt x="856210" y="1578599"/>
                  <a:pt x="853879" y="1577761"/>
                  <a:pt x="851744" y="1577551"/>
                </a:cubicBezTo>
                <a:cubicBezTo>
                  <a:pt x="850059" y="1577569"/>
                  <a:pt x="848767" y="1578058"/>
                  <a:pt x="847868" y="1579018"/>
                </a:cubicBezTo>
                <a:cubicBezTo>
                  <a:pt x="846968" y="1579979"/>
                  <a:pt x="846514" y="1581306"/>
                  <a:pt x="846506" y="1583000"/>
                </a:cubicBezTo>
                <a:lnTo>
                  <a:pt x="846506" y="1655923"/>
                </a:lnTo>
                <a:cubicBezTo>
                  <a:pt x="846445" y="1657752"/>
                  <a:pt x="845781" y="1659280"/>
                  <a:pt x="844515" y="1660507"/>
                </a:cubicBezTo>
                <a:cubicBezTo>
                  <a:pt x="843249" y="1661734"/>
                  <a:pt x="841747" y="1662371"/>
                  <a:pt x="840010" y="1662419"/>
                </a:cubicBezTo>
                <a:lnTo>
                  <a:pt x="821360" y="1662419"/>
                </a:lnTo>
                <a:cubicBezTo>
                  <a:pt x="819530" y="1662371"/>
                  <a:pt x="818002" y="1661734"/>
                  <a:pt x="816776" y="1660507"/>
                </a:cubicBezTo>
                <a:cubicBezTo>
                  <a:pt x="815549" y="1659280"/>
                  <a:pt x="814912" y="1657752"/>
                  <a:pt x="814864" y="1655923"/>
                </a:cubicBezTo>
                <a:lnTo>
                  <a:pt x="814864" y="1562464"/>
                </a:lnTo>
                <a:cubicBezTo>
                  <a:pt x="814912" y="1560635"/>
                  <a:pt x="815549" y="1559107"/>
                  <a:pt x="816776" y="1557880"/>
                </a:cubicBezTo>
                <a:cubicBezTo>
                  <a:pt x="818002" y="1556653"/>
                  <a:pt x="819530" y="1556016"/>
                  <a:pt x="821360" y="1555968"/>
                </a:cubicBezTo>
                <a:lnTo>
                  <a:pt x="838124" y="1555968"/>
                </a:lnTo>
                <a:cubicBezTo>
                  <a:pt x="839861" y="1556016"/>
                  <a:pt x="841363" y="1556653"/>
                  <a:pt x="842629" y="1557880"/>
                </a:cubicBezTo>
                <a:cubicBezTo>
                  <a:pt x="843895" y="1559107"/>
                  <a:pt x="844559" y="1560635"/>
                  <a:pt x="844620" y="1562464"/>
                </a:cubicBezTo>
                <a:lnTo>
                  <a:pt x="844620" y="1564978"/>
                </a:lnTo>
                <a:cubicBezTo>
                  <a:pt x="847309" y="1561748"/>
                  <a:pt x="850574" y="1559041"/>
                  <a:pt x="854416" y="1556858"/>
                </a:cubicBezTo>
                <a:cubicBezTo>
                  <a:pt x="858258" y="1554676"/>
                  <a:pt x="862257" y="1553541"/>
                  <a:pt x="866413" y="1553453"/>
                </a:cubicBezTo>
                <a:close/>
                <a:moveTo>
                  <a:pt x="755561" y="1553453"/>
                </a:moveTo>
                <a:cubicBezTo>
                  <a:pt x="770797" y="1553680"/>
                  <a:pt x="782706" y="1558675"/>
                  <a:pt x="791289" y="1568436"/>
                </a:cubicBezTo>
                <a:cubicBezTo>
                  <a:pt x="799872" y="1578198"/>
                  <a:pt x="804238" y="1591364"/>
                  <a:pt x="804386" y="1607936"/>
                </a:cubicBezTo>
                <a:cubicBezTo>
                  <a:pt x="804465" y="1610652"/>
                  <a:pt x="803993" y="1612660"/>
                  <a:pt x="802972" y="1613961"/>
                </a:cubicBezTo>
                <a:cubicBezTo>
                  <a:pt x="801950" y="1615262"/>
                  <a:pt x="799907" y="1615908"/>
                  <a:pt x="796842" y="1615899"/>
                </a:cubicBezTo>
                <a:lnTo>
                  <a:pt x="736701" y="1615899"/>
                </a:lnTo>
                <a:cubicBezTo>
                  <a:pt x="736841" y="1625119"/>
                  <a:pt x="739129" y="1632034"/>
                  <a:pt x="743564" y="1636645"/>
                </a:cubicBezTo>
                <a:cubicBezTo>
                  <a:pt x="748000" y="1641255"/>
                  <a:pt x="753745" y="1643560"/>
                  <a:pt x="760800" y="1643560"/>
                </a:cubicBezTo>
                <a:cubicBezTo>
                  <a:pt x="765663" y="1643441"/>
                  <a:pt x="769673" y="1642608"/>
                  <a:pt x="772829" y="1641061"/>
                </a:cubicBezTo>
                <a:cubicBezTo>
                  <a:pt x="775986" y="1639514"/>
                  <a:pt x="778862" y="1637966"/>
                  <a:pt x="781460" y="1636419"/>
                </a:cubicBezTo>
                <a:cubicBezTo>
                  <a:pt x="784057" y="1634872"/>
                  <a:pt x="786949" y="1634039"/>
                  <a:pt x="790137" y="1633920"/>
                </a:cubicBezTo>
                <a:cubicBezTo>
                  <a:pt x="793524" y="1633999"/>
                  <a:pt x="796179" y="1635099"/>
                  <a:pt x="798100" y="1637221"/>
                </a:cubicBezTo>
                <a:cubicBezTo>
                  <a:pt x="800020" y="1639343"/>
                  <a:pt x="800998" y="1642014"/>
                  <a:pt x="801033" y="1645236"/>
                </a:cubicBezTo>
                <a:cubicBezTo>
                  <a:pt x="800920" y="1650916"/>
                  <a:pt x="797322" y="1655587"/>
                  <a:pt x="790241" y="1659250"/>
                </a:cubicBezTo>
                <a:cubicBezTo>
                  <a:pt x="783160" y="1662912"/>
                  <a:pt x="773277" y="1664807"/>
                  <a:pt x="760590" y="1664934"/>
                </a:cubicBezTo>
                <a:cubicBezTo>
                  <a:pt x="742691" y="1664829"/>
                  <a:pt x="728983" y="1660009"/>
                  <a:pt x="719466" y="1650475"/>
                </a:cubicBezTo>
                <a:cubicBezTo>
                  <a:pt x="709949" y="1640940"/>
                  <a:pt x="705147" y="1627320"/>
                  <a:pt x="705059" y="1609613"/>
                </a:cubicBezTo>
                <a:cubicBezTo>
                  <a:pt x="705291" y="1591871"/>
                  <a:pt x="709962" y="1578110"/>
                  <a:pt x="719073" y="1568331"/>
                </a:cubicBezTo>
                <a:cubicBezTo>
                  <a:pt x="728184" y="1558552"/>
                  <a:pt x="740347" y="1553593"/>
                  <a:pt x="755561" y="1553453"/>
                </a:cubicBezTo>
                <a:close/>
                <a:moveTo>
                  <a:pt x="595217" y="1553453"/>
                </a:moveTo>
                <a:cubicBezTo>
                  <a:pt x="601512" y="1553462"/>
                  <a:pt x="606995" y="1554492"/>
                  <a:pt x="611667" y="1556544"/>
                </a:cubicBezTo>
                <a:cubicBezTo>
                  <a:pt x="616338" y="1558596"/>
                  <a:pt x="620145" y="1561617"/>
                  <a:pt x="623087" y="1565607"/>
                </a:cubicBezTo>
                <a:lnTo>
                  <a:pt x="623716" y="1565607"/>
                </a:lnTo>
                <a:cubicBezTo>
                  <a:pt x="626881" y="1561984"/>
                  <a:pt x="630871" y="1559067"/>
                  <a:pt x="635686" y="1556858"/>
                </a:cubicBezTo>
                <a:cubicBezTo>
                  <a:pt x="640502" y="1554649"/>
                  <a:pt x="646640" y="1553514"/>
                  <a:pt x="654101" y="1553453"/>
                </a:cubicBezTo>
                <a:cubicBezTo>
                  <a:pt x="665761" y="1553527"/>
                  <a:pt x="674606" y="1556732"/>
                  <a:pt x="680635" y="1563066"/>
                </a:cubicBezTo>
                <a:cubicBezTo>
                  <a:pt x="686664" y="1569401"/>
                  <a:pt x="689694" y="1578420"/>
                  <a:pt x="689724" y="1590124"/>
                </a:cubicBezTo>
                <a:lnTo>
                  <a:pt x="689724" y="1655923"/>
                </a:lnTo>
                <a:cubicBezTo>
                  <a:pt x="689663" y="1657752"/>
                  <a:pt x="688999" y="1659280"/>
                  <a:pt x="687733" y="1660507"/>
                </a:cubicBezTo>
                <a:cubicBezTo>
                  <a:pt x="686467" y="1661734"/>
                  <a:pt x="684966" y="1662371"/>
                  <a:pt x="683228" y="1662419"/>
                </a:cubicBezTo>
                <a:lnTo>
                  <a:pt x="664578" y="1662419"/>
                </a:lnTo>
                <a:cubicBezTo>
                  <a:pt x="662749" y="1662371"/>
                  <a:pt x="661221" y="1661734"/>
                  <a:pt x="659994" y="1660507"/>
                </a:cubicBezTo>
                <a:cubicBezTo>
                  <a:pt x="658767" y="1659280"/>
                  <a:pt x="658130" y="1657752"/>
                  <a:pt x="658082" y="1655923"/>
                </a:cubicBezTo>
                <a:lnTo>
                  <a:pt x="658082" y="1588239"/>
                </a:lnTo>
                <a:cubicBezTo>
                  <a:pt x="658305" y="1584004"/>
                  <a:pt x="657545" y="1580686"/>
                  <a:pt x="655803" y="1578285"/>
                </a:cubicBezTo>
                <a:cubicBezTo>
                  <a:pt x="654061" y="1575884"/>
                  <a:pt x="650001" y="1574661"/>
                  <a:pt x="643623" y="1574618"/>
                </a:cubicBezTo>
                <a:cubicBezTo>
                  <a:pt x="639022" y="1574661"/>
                  <a:pt x="635599" y="1575203"/>
                  <a:pt x="633355" y="1576242"/>
                </a:cubicBezTo>
                <a:cubicBezTo>
                  <a:pt x="631111" y="1577281"/>
                  <a:pt x="629994" y="1578556"/>
                  <a:pt x="630002" y="1580066"/>
                </a:cubicBezTo>
                <a:lnTo>
                  <a:pt x="630002" y="1655923"/>
                </a:lnTo>
                <a:cubicBezTo>
                  <a:pt x="629941" y="1657752"/>
                  <a:pt x="629278" y="1659280"/>
                  <a:pt x="628012" y="1660507"/>
                </a:cubicBezTo>
                <a:cubicBezTo>
                  <a:pt x="626746" y="1661734"/>
                  <a:pt x="625244" y="1662371"/>
                  <a:pt x="623506" y="1662419"/>
                </a:cubicBezTo>
                <a:lnTo>
                  <a:pt x="604856" y="1662419"/>
                </a:lnTo>
                <a:cubicBezTo>
                  <a:pt x="603027" y="1662371"/>
                  <a:pt x="601499" y="1661734"/>
                  <a:pt x="600272" y="1660507"/>
                </a:cubicBezTo>
                <a:cubicBezTo>
                  <a:pt x="599046" y="1659280"/>
                  <a:pt x="598408" y="1657752"/>
                  <a:pt x="598360" y="1655923"/>
                </a:cubicBezTo>
                <a:lnTo>
                  <a:pt x="598360" y="1588239"/>
                </a:lnTo>
                <a:cubicBezTo>
                  <a:pt x="598583" y="1584004"/>
                  <a:pt x="597823" y="1580686"/>
                  <a:pt x="596081" y="1578285"/>
                </a:cubicBezTo>
                <a:cubicBezTo>
                  <a:pt x="594340" y="1575884"/>
                  <a:pt x="590280" y="1574661"/>
                  <a:pt x="583901" y="1574618"/>
                </a:cubicBezTo>
                <a:cubicBezTo>
                  <a:pt x="579300" y="1574661"/>
                  <a:pt x="575877" y="1575203"/>
                  <a:pt x="573633" y="1576242"/>
                </a:cubicBezTo>
                <a:cubicBezTo>
                  <a:pt x="571389" y="1577281"/>
                  <a:pt x="570272" y="1578556"/>
                  <a:pt x="570281" y="1580066"/>
                </a:cubicBezTo>
                <a:lnTo>
                  <a:pt x="570281" y="1655923"/>
                </a:lnTo>
                <a:cubicBezTo>
                  <a:pt x="570219" y="1657752"/>
                  <a:pt x="569556" y="1659280"/>
                  <a:pt x="568290" y="1660507"/>
                </a:cubicBezTo>
                <a:cubicBezTo>
                  <a:pt x="567024" y="1661734"/>
                  <a:pt x="565522" y="1662371"/>
                  <a:pt x="563785" y="1662419"/>
                </a:cubicBezTo>
                <a:lnTo>
                  <a:pt x="545135" y="1662419"/>
                </a:lnTo>
                <a:cubicBezTo>
                  <a:pt x="543305" y="1662371"/>
                  <a:pt x="541777" y="1661734"/>
                  <a:pt x="540551" y="1660507"/>
                </a:cubicBezTo>
                <a:cubicBezTo>
                  <a:pt x="539324" y="1659280"/>
                  <a:pt x="538687" y="1657752"/>
                  <a:pt x="538639" y="1655923"/>
                </a:cubicBezTo>
                <a:lnTo>
                  <a:pt x="538639" y="1562464"/>
                </a:lnTo>
                <a:cubicBezTo>
                  <a:pt x="538687" y="1560635"/>
                  <a:pt x="539324" y="1559107"/>
                  <a:pt x="540551" y="1557880"/>
                </a:cubicBezTo>
                <a:cubicBezTo>
                  <a:pt x="541777" y="1556653"/>
                  <a:pt x="543305" y="1556016"/>
                  <a:pt x="545135" y="1555968"/>
                </a:cubicBezTo>
                <a:lnTo>
                  <a:pt x="561899" y="1555968"/>
                </a:lnTo>
                <a:cubicBezTo>
                  <a:pt x="563636" y="1556016"/>
                  <a:pt x="565138" y="1556653"/>
                  <a:pt x="566404" y="1557880"/>
                </a:cubicBezTo>
                <a:cubicBezTo>
                  <a:pt x="567670" y="1559107"/>
                  <a:pt x="568333" y="1560635"/>
                  <a:pt x="568395" y="1562464"/>
                </a:cubicBezTo>
                <a:lnTo>
                  <a:pt x="568395" y="1564140"/>
                </a:lnTo>
                <a:cubicBezTo>
                  <a:pt x="570770" y="1561128"/>
                  <a:pt x="573983" y="1558613"/>
                  <a:pt x="578034" y="1556596"/>
                </a:cubicBezTo>
                <a:cubicBezTo>
                  <a:pt x="582085" y="1554580"/>
                  <a:pt x="587813" y="1553532"/>
                  <a:pt x="595217" y="1553453"/>
                </a:cubicBezTo>
                <a:close/>
                <a:moveTo>
                  <a:pt x="462172" y="1553453"/>
                </a:moveTo>
                <a:cubicBezTo>
                  <a:pt x="477840" y="1553436"/>
                  <a:pt x="490457" y="1558028"/>
                  <a:pt x="500022" y="1567231"/>
                </a:cubicBezTo>
                <a:cubicBezTo>
                  <a:pt x="509587" y="1576434"/>
                  <a:pt x="514503" y="1590351"/>
                  <a:pt x="514769" y="1608984"/>
                </a:cubicBezTo>
                <a:cubicBezTo>
                  <a:pt x="514503" y="1627359"/>
                  <a:pt x="509587" y="1641268"/>
                  <a:pt x="500022" y="1650711"/>
                </a:cubicBezTo>
                <a:cubicBezTo>
                  <a:pt x="490457" y="1660153"/>
                  <a:pt x="477840" y="1664894"/>
                  <a:pt x="462172" y="1664934"/>
                </a:cubicBezTo>
                <a:cubicBezTo>
                  <a:pt x="446604" y="1664960"/>
                  <a:pt x="434049" y="1660350"/>
                  <a:pt x="424505" y="1651103"/>
                </a:cubicBezTo>
                <a:cubicBezTo>
                  <a:pt x="414962" y="1641857"/>
                  <a:pt x="410055" y="1627817"/>
                  <a:pt x="409784" y="1608984"/>
                </a:cubicBezTo>
                <a:cubicBezTo>
                  <a:pt x="410055" y="1590351"/>
                  <a:pt x="414962" y="1576434"/>
                  <a:pt x="424505" y="1567231"/>
                </a:cubicBezTo>
                <a:cubicBezTo>
                  <a:pt x="434049" y="1558028"/>
                  <a:pt x="446604" y="1553436"/>
                  <a:pt x="462172" y="1553453"/>
                </a:cubicBezTo>
                <a:close/>
                <a:moveTo>
                  <a:pt x="275329" y="1553453"/>
                </a:moveTo>
                <a:cubicBezTo>
                  <a:pt x="286257" y="1553506"/>
                  <a:pt x="294892" y="1555077"/>
                  <a:pt x="301235" y="1558168"/>
                </a:cubicBezTo>
                <a:cubicBezTo>
                  <a:pt x="307578" y="1561259"/>
                  <a:pt x="310818" y="1565555"/>
                  <a:pt x="310953" y="1571055"/>
                </a:cubicBezTo>
                <a:cubicBezTo>
                  <a:pt x="310918" y="1574487"/>
                  <a:pt x="309888" y="1577316"/>
                  <a:pt x="307862" y="1579542"/>
                </a:cubicBezTo>
                <a:cubicBezTo>
                  <a:pt x="305836" y="1581769"/>
                  <a:pt x="303025" y="1582921"/>
                  <a:pt x="299428" y="1583000"/>
                </a:cubicBezTo>
                <a:cubicBezTo>
                  <a:pt x="295947" y="1582888"/>
                  <a:pt x="293106" y="1582110"/>
                  <a:pt x="290906" y="1580664"/>
                </a:cubicBezTo>
                <a:cubicBezTo>
                  <a:pt x="288706" y="1579217"/>
                  <a:pt x="286238" y="1577771"/>
                  <a:pt x="283502" y="1576325"/>
                </a:cubicBezTo>
                <a:cubicBezTo>
                  <a:pt x="280766" y="1574879"/>
                  <a:pt x="276855" y="1574100"/>
                  <a:pt x="271767" y="1573989"/>
                </a:cubicBezTo>
                <a:cubicBezTo>
                  <a:pt x="267174" y="1574050"/>
                  <a:pt x="263787" y="1574923"/>
                  <a:pt x="261604" y="1576608"/>
                </a:cubicBezTo>
                <a:cubicBezTo>
                  <a:pt x="259421" y="1578294"/>
                  <a:pt x="258338" y="1580424"/>
                  <a:pt x="258356" y="1583000"/>
                </a:cubicBezTo>
                <a:cubicBezTo>
                  <a:pt x="258269" y="1585785"/>
                  <a:pt x="259648" y="1588073"/>
                  <a:pt x="262495" y="1589863"/>
                </a:cubicBezTo>
                <a:cubicBezTo>
                  <a:pt x="265341" y="1591652"/>
                  <a:pt x="270178" y="1593207"/>
                  <a:pt x="277006" y="1594525"/>
                </a:cubicBezTo>
                <a:cubicBezTo>
                  <a:pt x="290090" y="1596991"/>
                  <a:pt x="299860" y="1600755"/>
                  <a:pt x="306317" y="1605815"/>
                </a:cubicBezTo>
                <a:cubicBezTo>
                  <a:pt x="312773" y="1610874"/>
                  <a:pt x="315995" y="1618147"/>
                  <a:pt x="315982" y="1627634"/>
                </a:cubicBezTo>
                <a:cubicBezTo>
                  <a:pt x="315790" y="1638906"/>
                  <a:pt x="311617" y="1647899"/>
                  <a:pt x="303462" y="1654613"/>
                </a:cubicBezTo>
                <a:cubicBezTo>
                  <a:pt x="295307" y="1661328"/>
                  <a:pt x="284323" y="1664768"/>
                  <a:pt x="270510" y="1664934"/>
                </a:cubicBezTo>
                <a:cubicBezTo>
                  <a:pt x="258011" y="1664868"/>
                  <a:pt x="247857" y="1662956"/>
                  <a:pt x="240046" y="1659197"/>
                </a:cubicBezTo>
                <a:cubicBezTo>
                  <a:pt x="232236" y="1655439"/>
                  <a:pt x="228211" y="1650226"/>
                  <a:pt x="227971" y="1643560"/>
                </a:cubicBezTo>
                <a:cubicBezTo>
                  <a:pt x="228041" y="1640329"/>
                  <a:pt x="229211" y="1637622"/>
                  <a:pt x="231481" y="1635440"/>
                </a:cubicBezTo>
                <a:cubicBezTo>
                  <a:pt x="233751" y="1633257"/>
                  <a:pt x="236702" y="1632122"/>
                  <a:pt x="240335" y="1632034"/>
                </a:cubicBezTo>
                <a:cubicBezTo>
                  <a:pt x="243805" y="1632187"/>
                  <a:pt x="246969" y="1633256"/>
                  <a:pt x="249826" y="1635240"/>
                </a:cubicBezTo>
                <a:cubicBezTo>
                  <a:pt x="252684" y="1637224"/>
                  <a:pt x="255786" y="1639208"/>
                  <a:pt x="259132" y="1641193"/>
                </a:cubicBezTo>
                <a:cubicBezTo>
                  <a:pt x="262478" y="1643177"/>
                  <a:pt x="266620" y="1644245"/>
                  <a:pt x="271558" y="1644398"/>
                </a:cubicBezTo>
                <a:cubicBezTo>
                  <a:pt x="275701" y="1644394"/>
                  <a:pt x="278992" y="1643459"/>
                  <a:pt x="281433" y="1641595"/>
                </a:cubicBezTo>
                <a:cubicBezTo>
                  <a:pt x="283873" y="1639731"/>
                  <a:pt x="285122" y="1636963"/>
                  <a:pt x="285178" y="1633292"/>
                </a:cubicBezTo>
                <a:cubicBezTo>
                  <a:pt x="285296" y="1629463"/>
                  <a:pt x="283803" y="1626433"/>
                  <a:pt x="280699" y="1624202"/>
                </a:cubicBezTo>
                <a:cubicBezTo>
                  <a:pt x="277595" y="1621972"/>
                  <a:pt x="272173" y="1620252"/>
                  <a:pt x="264433" y="1619042"/>
                </a:cubicBezTo>
                <a:cubicBezTo>
                  <a:pt x="252288" y="1617052"/>
                  <a:pt x="243207" y="1613332"/>
                  <a:pt x="237191" y="1607884"/>
                </a:cubicBezTo>
                <a:cubicBezTo>
                  <a:pt x="231176" y="1602435"/>
                  <a:pt x="228172" y="1595258"/>
                  <a:pt x="228181" y="1586353"/>
                </a:cubicBezTo>
                <a:cubicBezTo>
                  <a:pt x="228155" y="1576456"/>
                  <a:pt x="232031" y="1568536"/>
                  <a:pt x="239811" y="1562595"/>
                </a:cubicBezTo>
                <a:cubicBezTo>
                  <a:pt x="247590" y="1556653"/>
                  <a:pt x="259430" y="1553606"/>
                  <a:pt x="275329" y="1553453"/>
                </a:cubicBezTo>
                <a:close/>
                <a:moveTo>
                  <a:pt x="54902" y="1553453"/>
                </a:moveTo>
                <a:cubicBezTo>
                  <a:pt x="65419" y="1553562"/>
                  <a:pt x="73775" y="1555387"/>
                  <a:pt x="79969" y="1558928"/>
                </a:cubicBezTo>
                <a:cubicBezTo>
                  <a:pt x="86164" y="1562468"/>
                  <a:pt x="89334" y="1567070"/>
                  <a:pt x="89478" y="1572732"/>
                </a:cubicBezTo>
                <a:cubicBezTo>
                  <a:pt x="89443" y="1575652"/>
                  <a:pt x="88517" y="1578141"/>
                  <a:pt x="86701" y="1580197"/>
                </a:cubicBezTo>
                <a:cubicBezTo>
                  <a:pt x="84885" y="1582253"/>
                  <a:pt x="82388" y="1583327"/>
                  <a:pt x="79210" y="1583419"/>
                </a:cubicBezTo>
                <a:cubicBezTo>
                  <a:pt x="75773" y="1583313"/>
                  <a:pt x="72984" y="1582570"/>
                  <a:pt x="70843" y="1581191"/>
                </a:cubicBezTo>
                <a:cubicBezTo>
                  <a:pt x="68702" y="1579812"/>
                  <a:pt x="66457" y="1578434"/>
                  <a:pt x="64107" y="1577055"/>
                </a:cubicBezTo>
                <a:cubicBezTo>
                  <a:pt x="61756" y="1575676"/>
                  <a:pt x="58548" y="1574933"/>
                  <a:pt x="54483" y="1574827"/>
                </a:cubicBezTo>
                <a:cubicBezTo>
                  <a:pt x="47214" y="1574888"/>
                  <a:pt x="41635" y="1577909"/>
                  <a:pt x="37745" y="1583890"/>
                </a:cubicBezTo>
                <a:cubicBezTo>
                  <a:pt x="33855" y="1589871"/>
                  <a:pt x="31891" y="1598445"/>
                  <a:pt x="31851" y="1609613"/>
                </a:cubicBezTo>
                <a:cubicBezTo>
                  <a:pt x="31795" y="1619645"/>
                  <a:pt x="33532" y="1627765"/>
                  <a:pt x="37064" y="1633973"/>
                </a:cubicBezTo>
                <a:cubicBezTo>
                  <a:pt x="40596" y="1640181"/>
                  <a:pt x="46262" y="1643376"/>
                  <a:pt x="54064" y="1643560"/>
                </a:cubicBezTo>
                <a:cubicBezTo>
                  <a:pt x="57964" y="1643451"/>
                  <a:pt x="61223" y="1642690"/>
                  <a:pt x="63843" y="1641278"/>
                </a:cubicBezTo>
                <a:cubicBezTo>
                  <a:pt x="66462" y="1639865"/>
                  <a:pt x="68930" y="1638453"/>
                  <a:pt x="71247" y="1637040"/>
                </a:cubicBezTo>
                <a:cubicBezTo>
                  <a:pt x="73564" y="1635628"/>
                  <a:pt x="76218" y="1634867"/>
                  <a:pt x="79210" y="1634759"/>
                </a:cubicBezTo>
                <a:cubicBezTo>
                  <a:pt x="82597" y="1634828"/>
                  <a:pt x="85252" y="1635841"/>
                  <a:pt x="87173" y="1637797"/>
                </a:cubicBezTo>
                <a:cubicBezTo>
                  <a:pt x="89093" y="1639753"/>
                  <a:pt x="90071" y="1642232"/>
                  <a:pt x="90106" y="1645236"/>
                </a:cubicBezTo>
                <a:cubicBezTo>
                  <a:pt x="89949" y="1650916"/>
                  <a:pt x="86544" y="1655587"/>
                  <a:pt x="79891" y="1659250"/>
                </a:cubicBezTo>
                <a:cubicBezTo>
                  <a:pt x="73238" y="1662912"/>
                  <a:pt x="64279" y="1664807"/>
                  <a:pt x="53016" y="1664934"/>
                </a:cubicBezTo>
                <a:cubicBezTo>
                  <a:pt x="36514" y="1664825"/>
                  <a:pt x="23627" y="1660066"/>
                  <a:pt x="14354" y="1650658"/>
                </a:cubicBezTo>
                <a:cubicBezTo>
                  <a:pt x="5081" y="1641250"/>
                  <a:pt x="367" y="1627848"/>
                  <a:pt x="209" y="1610451"/>
                </a:cubicBezTo>
                <a:cubicBezTo>
                  <a:pt x="484" y="1592032"/>
                  <a:pt x="5592" y="1577949"/>
                  <a:pt x="15533" y="1568200"/>
                </a:cubicBezTo>
                <a:cubicBezTo>
                  <a:pt x="25473" y="1558452"/>
                  <a:pt x="38596" y="1553536"/>
                  <a:pt x="54902" y="1553453"/>
                </a:cubicBezTo>
                <a:close/>
                <a:moveTo>
                  <a:pt x="349510" y="1528517"/>
                </a:moveTo>
                <a:lnTo>
                  <a:pt x="368160" y="1528517"/>
                </a:lnTo>
                <a:cubicBezTo>
                  <a:pt x="369898" y="1528565"/>
                  <a:pt x="371399" y="1529202"/>
                  <a:pt x="372665" y="1530429"/>
                </a:cubicBezTo>
                <a:cubicBezTo>
                  <a:pt x="373931" y="1531656"/>
                  <a:pt x="374595" y="1533184"/>
                  <a:pt x="374656" y="1535013"/>
                </a:cubicBezTo>
                <a:lnTo>
                  <a:pt x="374656" y="1555968"/>
                </a:lnTo>
                <a:lnTo>
                  <a:pt x="388486" y="1555968"/>
                </a:lnTo>
                <a:cubicBezTo>
                  <a:pt x="390316" y="1556029"/>
                  <a:pt x="391844" y="1556693"/>
                  <a:pt x="393070" y="1557959"/>
                </a:cubicBezTo>
                <a:cubicBezTo>
                  <a:pt x="394297" y="1559225"/>
                  <a:pt x="394935" y="1560726"/>
                  <a:pt x="394982" y="1562464"/>
                </a:cubicBezTo>
                <a:lnTo>
                  <a:pt x="394982" y="1570636"/>
                </a:lnTo>
                <a:cubicBezTo>
                  <a:pt x="394935" y="1572466"/>
                  <a:pt x="394297" y="1573993"/>
                  <a:pt x="393070" y="1575220"/>
                </a:cubicBezTo>
                <a:cubicBezTo>
                  <a:pt x="391844" y="1576447"/>
                  <a:pt x="390316" y="1577084"/>
                  <a:pt x="388486" y="1577132"/>
                </a:cubicBezTo>
                <a:lnTo>
                  <a:pt x="374656" y="1577132"/>
                </a:lnTo>
                <a:lnTo>
                  <a:pt x="374656" y="1635387"/>
                </a:lnTo>
                <a:cubicBezTo>
                  <a:pt x="374643" y="1637592"/>
                  <a:pt x="375245" y="1639260"/>
                  <a:pt x="376464" y="1640390"/>
                </a:cubicBezTo>
                <a:cubicBezTo>
                  <a:pt x="377681" y="1641521"/>
                  <a:pt x="379594" y="1642088"/>
                  <a:pt x="382200" y="1642093"/>
                </a:cubicBezTo>
                <a:cubicBezTo>
                  <a:pt x="383143" y="1642058"/>
                  <a:pt x="384400" y="1641918"/>
                  <a:pt x="385972" y="1641674"/>
                </a:cubicBezTo>
                <a:cubicBezTo>
                  <a:pt x="387543" y="1641429"/>
                  <a:pt x="388801" y="1641290"/>
                  <a:pt x="389744" y="1641255"/>
                </a:cubicBezTo>
                <a:cubicBezTo>
                  <a:pt x="391521" y="1641298"/>
                  <a:pt x="392839" y="1641892"/>
                  <a:pt x="393699" y="1643036"/>
                </a:cubicBezTo>
                <a:cubicBezTo>
                  <a:pt x="394559" y="1644180"/>
                  <a:pt x="394987" y="1645611"/>
                  <a:pt x="394982" y="1647332"/>
                </a:cubicBezTo>
                <a:lnTo>
                  <a:pt x="394982" y="1655923"/>
                </a:lnTo>
                <a:cubicBezTo>
                  <a:pt x="395000" y="1657595"/>
                  <a:pt x="394598" y="1658966"/>
                  <a:pt x="393778" y="1660036"/>
                </a:cubicBezTo>
                <a:cubicBezTo>
                  <a:pt x="392957" y="1661105"/>
                  <a:pt x="391612" y="1661900"/>
                  <a:pt x="389744" y="1662419"/>
                </a:cubicBezTo>
                <a:cubicBezTo>
                  <a:pt x="388067" y="1662930"/>
                  <a:pt x="385867" y="1663270"/>
                  <a:pt x="383143" y="1663441"/>
                </a:cubicBezTo>
                <a:cubicBezTo>
                  <a:pt x="380419" y="1663611"/>
                  <a:pt x="377171" y="1663690"/>
                  <a:pt x="373399" y="1663677"/>
                </a:cubicBezTo>
                <a:cubicBezTo>
                  <a:pt x="363882" y="1663917"/>
                  <a:pt x="356460" y="1661812"/>
                  <a:pt x="351134" y="1657364"/>
                </a:cubicBezTo>
                <a:cubicBezTo>
                  <a:pt x="345808" y="1652915"/>
                  <a:pt x="343101" y="1644682"/>
                  <a:pt x="343014" y="1632663"/>
                </a:cubicBezTo>
                <a:lnTo>
                  <a:pt x="343014" y="1577132"/>
                </a:lnTo>
                <a:lnTo>
                  <a:pt x="334213" y="1577132"/>
                </a:lnTo>
                <a:cubicBezTo>
                  <a:pt x="332384" y="1577084"/>
                  <a:pt x="330856" y="1576447"/>
                  <a:pt x="329629" y="1575220"/>
                </a:cubicBezTo>
                <a:cubicBezTo>
                  <a:pt x="328402" y="1573993"/>
                  <a:pt x="327765" y="1572466"/>
                  <a:pt x="327717" y="1570636"/>
                </a:cubicBezTo>
                <a:lnTo>
                  <a:pt x="327717" y="1562464"/>
                </a:lnTo>
                <a:cubicBezTo>
                  <a:pt x="327765" y="1560726"/>
                  <a:pt x="328402" y="1559225"/>
                  <a:pt x="329629" y="1557959"/>
                </a:cubicBezTo>
                <a:cubicBezTo>
                  <a:pt x="330856" y="1556693"/>
                  <a:pt x="332384" y="1556029"/>
                  <a:pt x="334213" y="1555968"/>
                </a:cubicBezTo>
                <a:lnTo>
                  <a:pt x="343014" y="1555968"/>
                </a:lnTo>
                <a:lnTo>
                  <a:pt x="343014" y="1535013"/>
                </a:lnTo>
                <a:cubicBezTo>
                  <a:pt x="343062" y="1533184"/>
                  <a:pt x="343700" y="1531656"/>
                  <a:pt x="344926" y="1530429"/>
                </a:cubicBezTo>
                <a:cubicBezTo>
                  <a:pt x="346153" y="1529202"/>
                  <a:pt x="347681" y="1528565"/>
                  <a:pt x="349510" y="1528517"/>
                </a:cubicBezTo>
                <a:close/>
                <a:moveTo>
                  <a:pt x="43167" y="1340284"/>
                </a:moveTo>
                <a:lnTo>
                  <a:pt x="43167" y="1382613"/>
                </a:lnTo>
                <a:lnTo>
                  <a:pt x="61398" y="1382613"/>
                </a:lnTo>
                <a:cubicBezTo>
                  <a:pt x="70169" y="1382456"/>
                  <a:pt x="76307" y="1380308"/>
                  <a:pt x="79812" y="1376169"/>
                </a:cubicBezTo>
                <a:cubicBezTo>
                  <a:pt x="83318" y="1372031"/>
                  <a:pt x="85003" y="1366844"/>
                  <a:pt x="84868" y="1360610"/>
                </a:cubicBezTo>
                <a:cubicBezTo>
                  <a:pt x="84999" y="1355088"/>
                  <a:pt x="83270" y="1350364"/>
                  <a:pt x="79681" y="1346439"/>
                </a:cubicBezTo>
                <a:cubicBezTo>
                  <a:pt x="76093" y="1342515"/>
                  <a:pt x="69859" y="1340463"/>
                  <a:pt x="60979" y="1340284"/>
                </a:cubicBezTo>
                <a:close/>
                <a:moveTo>
                  <a:pt x="1557547" y="1317443"/>
                </a:moveTo>
                <a:cubicBezTo>
                  <a:pt x="1551182" y="1317329"/>
                  <a:pt x="1546153" y="1319966"/>
                  <a:pt x="1542459" y="1325353"/>
                </a:cubicBezTo>
                <a:cubicBezTo>
                  <a:pt x="1538766" y="1330740"/>
                  <a:pt x="1536880" y="1339559"/>
                  <a:pt x="1536801" y="1351809"/>
                </a:cubicBezTo>
                <a:cubicBezTo>
                  <a:pt x="1536749" y="1362701"/>
                  <a:pt x="1538373" y="1371197"/>
                  <a:pt x="1541673" y="1377295"/>
                </a:cubicBezTo>
                <a:cubicBezTo>
                  <a:pt x="1544974" y="1383394"/>
                  <a:pt x="1550265" y="1386494"/>
                  <a:pt x="1557547" y="1386594"/>
                </a:cubicBezTo>
                <a:cubicBezTo>
                  <a:pt x="1564929" y="1386494"/>
                  <a:pt x="1570281" y="1383394"/>
                  <a:pt x="1573604" y="1377295"/>
                </a:cubicBezTo>
                <a:cubicBezTo>
                  <a:pt x="1576926" y="1371197"/>
                  <a:pt x="1578559" y="1362701"/>
                  <a:pt x="1578502" y="1351809"/>
                </a:cubicBezTo>
                <a:cubicBezTo>
                  <a:pt x="1578428" y="1339559"/>
                  <a:pt x="1576533" y="1330740"/>
                  <a:pt x="1572818" y="1325353"/>
                </a:cubicBezTo>
                <a:cubicBezTo>
                  <a:pt x="1569103" y="1319966"/>
                  <a:pt x="1564012" y="1317329"/>
                  <a:pt x="1557547" y="1317443"/>
                </a:cubicBezTo>
                <a:close/>
                <a:moveTo>
                  <a:pt x="1328947" y="1317443"/>
                </a:moveTo>
                <a:cubicBezTo>
                  <a:pt x="1322582" y="1317329"/>
                  <a:pt x="1317553" y="1319966"/>
                  <a:pt x="1313859" y="1325353"/>
                </a:cubicBezTo>
                <a:cubicBezTo>
                  <a:pt x="1310166" y="1330740"/>
                  <a:pt x="1308280" y="1339559"/>
                  <a:pt x="1308201" y="1351809"/>
                </a:cubicBezTo>
                <a:cubicBezTo>
                  <a:pt x="1308149" y="1362701"/>
                  <a:pt x="1309773" y="1371197"/>
                  <a:pt x="1313073" y="1377295"/>
                </a:cubicBezTo>
                <a:cubicBezTo>
                  <a:pt x="1316374" y="1383394"/>
                  <a:pt x="1321665" y="1386494"/>
                  <a:pt x="1328947" y="1386594"/>
                </a:cubicBezTo>
                <a:cubicBezTo>
                  <a:pt x="1336329" y="1386494"/>
                  <a:pt x="1341681" y="1383394"/>
                  <a:pt x="1345004" y="1377295"/>
                </a:cubicBezTo>
                <a:cubicBezTo>
                  <a:pt x="1348326" y="1371197"/>
                  <a:pt x="1349959" y="1362701"/>
                  <a:pt x="1349902" y="1351809"/>
                </a:cubicBezTo>
                <a:cubicBezTo>
                  <a:pt x="1349828" y="1339559"/>
                  <a:pt x="1347933" y="1330740"/>
                  <a:pt x="1344218" y="1325353"/>
                </a:cubicBezTo>
                <a:cubicBezTo>
                  <a:pt x="1340503" y="1319966"/>
                  <a:pt x="1335412" y="1317329"/>
                  <a:pt x="1328947" y="1317443"/>
                </a:cubicBezTo>
                <a:close/>
                <a:moveTo>
                  <a:pt x="947947" y="1317443"/>
                </a:moveTo>
                <a:cubicBezTo>
                  <a:pt x="941582" y="1317329"/>
                  <a:pt x="936553" y="1319966"/>
                  <a:pt x="932859" y="1325353"/>
                </a:cubicBezTo>
                <a:cubicBezTo>
                  <a:pt x="929166" y="1330740"/>
                  <a:pt x="927280" y="1339559"/>
                  <a:pt x="927201" y="1351809"/>
                </a:cubicBezTo>
                <a:cubicBezTo>
                  <a:pt x="927149" y="1362701"/>
                  <a:pt x="928773" y="1371197"/>
                  <a:pt x="932073" y="1377295"/>
                </a:cubicBezTo>
                <a:cubicBezTo>
                  <a:pt x="935374" y="1383394"/>
                  <a:pt x="940665" y="1386494"/>
                  <a:pt x="947947" y="1386594"/>
                </a:cubicBezTo>
                <a:cubicBezTo>
                  <a:pt x="955329" y="1386494"/>
                  <a:pt x="960681" y="1383394"/>
                  <a:pt x="964004" y="1377295"/>
                </a:cubicBezTo>
                <a:cubicBezTo>
                  <a:pt x="967326" y="1371197"/>
                  <a:pt x="968959" y="1362701"/>
                  <a:pt x="968902" y="1351809"/>
                </a:cubicBezTo>
                <a:cubicBezTo>
                  <a:pt x="968828" y="1339559"/>
                  <a:pt x="966933" y="1330740"/>
                  <a:pt x="963218" y="1325353"/>
                </a:cubicBezTo>
                <a:cubicBezTo>
                  <a:pt x="959503" y="1319966"/>
                  <a:pt x="954412" y="1317329"/>
                  <a:pt x="947947" y="1317443"/>
                </a:cubicBezTo>
                <a:close/>
                <a:moveTo>
                  <a:pt x="2050123" y="1317024"/>
                </a:moveTo>
                <a:cubicBezTo>
                  <a:pt x="2044962" y="1316958"/>
                  <a:pt x="2040667" y="1318818"/>
                  <a:pt x="2037235" y="1322603"/>
                </a:cubicBezTo>
                <a:cubicBezTo>
                  <a:pt x="2033804" y="1326388"/>
                  <a:pt x="2032023" y="1332491"/>
                  <a:pt x="2031892" y="1340912"/>
                </a:cubicBezTo>
                <a:lnTo>
                  <a:pt x="2068773" y="1340912"/>
                </a:lnTo>
                <a:cubicBezTo>
                  <a:pt x="2068952" y="1334966"/>
                  <a:pt x="2067755" y="1329570"/>
                  <a:pt x="2065184" y="1324725"/>
                </a:cubicBezTo>
                <a:cubicBezTo>
                  <a:pt x="2062613" y="1319879"/>
                  <a:pt x="2057592" y="1317312"/>
                  <a:pt x="2050123" y="1317024"/>
                </a:cubicBezTo>
                <a:close/>
                <a:moveTo>
                  <a:pt x="421348" y="1317024"/>
                </a:moveTo>
                <a:cubicBezTo>
                  <a:pt x="416188" y="1316958"/>
                  <a:pt x="411892" y="1318818"/>
                  <a:pt x="408460" y="1322603"/>
                </a:cubicBezTo>
                <a:cubicBezTo>
                  <a:pt x="405029" y="1326388"/>
                  <a:pt x="403248" y="1332491"/>
                  <a:pt x="403117" y="1340912"/>
                </a:cubicBezTo>
                <a:lnTo>
                  <a:pt x="439998" y="1340912"/>
                </a:lnTo>
                <a:cubicBezTo>
                  <a:pt x="440177" y="1334966"/>
                  <a:pt x="438981" y="1329570"/>
                  <a:pt x="436409" y="1324725"/>
                </a:cubicBezTo>
                <a:cubicBezTo>
                  <a:pt x="433838" y="1319879"/>
                  <a:pt x="428817" y="1317312"/>
                  <a:pt x="421348" y="1317024"/>
                </a:cubicBezTo>
                <a:close/>
                <a:moveTo>
                  <a:pt x="183223" y="1317024"/>
                </a:moveTo>
                <a:cubicBezTo>
                  <a:pt x="178063" y="1316958"/>
                  <a:pt x="173767" y="1318818"/>
                  <a:pt x="170335" y="1322603"/>
                </a:cubicBezTo>
                <a:cubicBezTo>
                  <a:pt x="166904" y="1326388"/>
                  <a:pt x="165123" y="1332491"/>
                  <a:pt x="164992" y="1340912"/>
                </a:cubicBezTo>
                <a:lnTo>
                  <a:pt x="201873" y="1340912"/>
                </a:lnTo>
                <a:cubicBezTo>
                  <a:pt x="202052" y="1334966"/>
                  <a:pt x="200855" y="1329570"/>
                  <a:pt x="198284" y="1324725"/>
                </a:cubicBezTo>
                <a:cubicBezTo>
                  <a:pt x="195713" y="1319879"/>
                  <a:pt x="190692" y="1317312"/>
                  <a:pt x="183223" y="1317024"/>
                </a:cubicBezTo>
                <a:close/>
                <a:moveTo>
                  <a:pt x="1718900" y="1298793"/>
                </a:moveTo>
                <a:lnTo>
                  <a:pt x="1738179" y="1298793"/>
                </a:lnTo>
                <a:cubicBezTo>
                  <a:pt x="1739869" y="1298815"/>
                  <a:pt x="1741309" y="1299400"/>
                  <a:pt x="1742501" y="1300548"/>
                </a:cubicBezTo>
                <a:cubicBezTo>
                  <a:pt x="1743693" y="1301696"/>
                  <a:pt x="1744557" y="1303276"/>
                  <a:pt x="1745094" y="1305289"/>
                </a:cubicBezTo>
                <a:lnTo>
                  <a:pt x="1764582" y="1374440"/>
                </a:lnTo>
                <a:lnTo>
                  <a:pt x="1765001" y="1374440"/>
                </a:lnTo>
                <a:lnTo>
                  <a:pt x="1783861" y="1305289"/>
                </a:lnTo>
                <a:cubicBezTo>
                  <a:pt x="1784275" y="1303551"/>
                  <a:pt x="1785018" y="1302050"/>
                  <a:pt x="1786087" y="1300784"/>
                </a:cubicBezTo>
                <a:cubicBezTo>
                  <a:pt x="1787157" y="1299518"/>
                  <a:pt x="1788580" y="1298854"/>
                  <a:pt x="1790357" y="1298793"/>
                </a:cubicBezTo>
                <a:lnTo>
                  <a:pt x="1806911" y="1298793"/>
                </a:lnTo>
                <a:cubicBezTo>
                  <a:pt x="1808356" y="1298793"/>
                  <a:pt x="1809710" y="1299317"/>
                  <a:pt x="1810971" y="1300364"/>
                </a:cubicBezTo>
                <a:cubicBezTo>
                  <a:pt x="1812233" y="1301412"/>
                  <a:pt x="1812905" y="1302984"/>
                  <a:pt x="1812988" y="1305079"/>
                </a:cubicBezTo>
                <a:cubicBezTo>
                  <a:pt x="1813001" y="1305660"/>
                  <a:pt x="1812923" y="1306332"/>
                  <a:pt x="1812753" y="1307096"/>
                </a:cubicBezTo>
                <a:cubicBezTo>
                  <a:pt x="1812582" y="1307860"/>
                  <a:pt x="1812242" y="1309004"/>
                  <a:pt x="1811731" y="1310528"/>
                </a:cubicBezTo>
                <a:lnTo>
                  <a:pt x="1775898" y="1410693"/>
                </a:lnTo>
                <a:cubicBezTo>
                  <a:pt x="1771502" y="1423052"/>
                  <a:pt x="1765625" y="1431966"/>
                  <a:pt x="1758270" y="1437436"/>
                </a:cubicBezTo>
                <a:cubicBezTo>
                  <a:pt x="1750913" y="1442906"/>
                  <a:pt x="1742051" y="1445587"/>
                  <a:pt x="1731683" y="1445478"/>
                </a:cubicBezTo>
                <a:cubicBezTo>
                  <a:pt x="1723061" y="1445329"/>
                  <a:pt x="1716835" y="1443688"/>
                  <a:pt x="1713007" y="1440553"/>
                </a:cubicBezTo>
                <a:cubicBezTo>
                  <a:pt x="1709178" y="1437419"/>
                  <a:pt x="1707301" y="1433682"/>
                  <a:pt x="1707375" y="1429342"/>
                </a:cubicBezTo>
                <a:cubicBezTo>
                  <a:pt x="1707327" y="1425976"/>
                  <a:pt x="1708261" y="1423069"/>
                  <a:pt x="1710178" y="1420620"/>
                </a:cubicBezTo>
                <a:cubicBezTo>
                  <a:pt x="1712094" y="1418171"/>
                  <a:pt x="1715281" y="1416887"/>
                  <a:pt x="1719739" y="1416770"/>
                </a:cubicBezTo>
                <a:cubicBezTo>
                  <a:pt x="1723249" y="1416970"/>
                  <a:pt x="1726130" y="1417774"/>
                  <a:pt x="1728383" y="1419179"/>
                </a:cubicBezTo>
                <a:cubicBezTo>
                  <a:pt x="1730635" y="1420585"/>
                  <a:pt x="1733202" y="1421388"/>
                  <a:pt x="1736083" y="1421589"/>
                </a:cubicBezTo>
                <a:cubicBezTo>
                  <a:pt x="1738952" y="1421567"/>
                  <a:pt x="1741231" y="1420406"/>
                  <a:pt x="1742920" y="1418105"/>
                </a:cubicBezTo>
                <a:cubicBezTo>
                  <a:pt x="1744609" y="1415805"/>
                  <a:pt x="1745474" y="1412495"/>
                  <a:pt x="1745513" y="1408178"/>
                </a:cubicBezTo>
                <a:cubicBezTo>
                  <a:pt x="1745509" y="1406161"/>
                  <a:pt x="1745255" y="1403908"/>
                  <a:pt x="1744753" y="1401420"/>
                </a:cubicBezTo>
                <a:cubicBezTo>
                  <a:pt x="1744251" y="1398931"/>
                  <a:pt x="1743527" y="1396364"/>
                  <a:pt x="1742579" y="1393719"/>
                </a:cubicBezTo>
                <a:lnTo>
                  <a:pt x="1713662" y="1309270"/>
                </a:lnTo>
                <a:cubicBezTo>
                  <a:pt x="1713343" y="1308340"/>
                  <a:pt x="1713090" y="1307528"/>
                  <a:pt x="1712902" y="1306834"/>
                </a:cubicBezTo>
                <a:cubicBezTo>
                  <a:pt x="1712714" y="1306140"/>
                  <a:pt x="1712618" y="1305485"/>
                  <a:pt x="1712614" y="1304870"/>
                </a:cubicBezTo>
                <a:cubicBezTo>
                  <a:pt x="1712692" y="1302783"/>
                  <a:pt x="1713373" y="1301246"/>
                  <a:pt x="1714657" y="1300260"/>
                </a:cubicBezTo>
                <a:cubicBezTo>
                  <a:pt x="1715941" y="1299273"/>
                  <a:pt x="1717355" y="1298784"/>
                  <a:pt x="1718900" y="1298793"/>
                </a:cubicBezTo>
                <a:close/>
                <a:moveTo>
                  <a:pt x="1634013" y="1298793"/>
                </a:moveTo>
                <a:lnTo>
                  <a:pt x="1702955" y="1298793"/>
                </a:lnTo>
                <a:cubicBezTo>
                  <a:pt x="1704785" y="1298841"/>
                  <a:pt x="1706313" y="1299478"/>
                  <a:pt x="1707539" y="1300705"/>
                </a:cubicBezTo>
                <a:cubicBezTo>
                  <a:pt x="1708766" y="1301932"/>
                  <a:pt x="1709403" y="1303460"/>
                  <a:pt x="1709452" y="1305289"/>
                </a:cubicBezTo>
                <a:lnTo>
                  <a:pt x="1709452" y="1315347"/>
                </a:lnTo>
                <a:cubicBezTo>
                  <a:pt x="1709430" y="1316308"/>
                  <a:pt x="1709211" y="1317268"/>
                  <a:pt x="1708797" y="1318229"/>
                </a:cubicBezTo>
                <a:cubicBezTo>
                  <a:pt x="1708382" y="1319189"/>
                  <a:pt x="1707902" y="1320045"/>
                  <a:pt x="1707356" y="1320796"/>
                </a:cubicBezTo>
                <a:lnTo>
                  <a:pt x="1663141" y="1384080"/>
                </a:lnTo>
                <a:lnTo>
                  <a:pt x="1703584" y="1384080"/>
                </a:lnTo>
                <a:cubicBezTo>
                  <a:pt x="1705413" y="1384141"/>
                  <a:pt x="1706941" y="1384804"/>
                  <a:pt x="1708168" y="1386070"/>
                </a:cubicBezTo>
                <a:cubicBezTo>
                  <a:pt x="1709395" y="1387336"/>
                  <a:pt x="1710032" y="1388838"/>
                  <a:pt x="1710080" y="1390576"/>
                </a:cubicBezTo>
                <a:lnTo>
                  <a:pt x="1710080" y="1398748"/>
                </a:lnTo>
                <a:cubicBezTo>
                  <a:pt x="1710032" y="1400577"/>
                  <a:pt x="1709395" y="1402105"/>
                  <a:pt x="1708168" y="1403332"/>
                </a:cubicBezTo>
                <a:cubicBezTo>
                  <a:pt x="1706941" y="1404559"/>
                  <a:pt x="1705413" y="1405196"/>
                  <a:pt x="1703584" y="1405244"/>
                </a:cubicBezTo>
                <a:lnTo>
                  <a:pt x="1632337" y="1405244"/>
                </a:lnTo>
                <a:cubicBezTo>
                  <a:pt x="1630508" y="1405196"/>
                  <a:pt x="1628980" y="1404559"/>
                  <a:pt x="1627753" y="1403332"/>
                </a:cubicBezTo>
                <a:cubicBezTo>
                  <a:pt x="1626527" y="1402105"/>
                  <a:pt x="1625889" y="1400577"/>
                  <a:pt x="1625841" y="1398748"/>
                </a:cubicBezTo>
                <a:lnTo>
                  <a:pt x="1625841" y="1389528"/>
                </a:lnTo>
                <a:cubicBezTo>
                  <a:pt x="1625863" y="1388349"/>
                  <a:pt x="1626081" y="1387197"/>
                  <a:pt x="1626496" y="1386070"/>
                </a:cubicBezTo>
                <a:cubicBezTo>
                  <a:pt x="1626911" y="1384944"/>
                  <a:pt x="1627391" y="1384001"/>
                  <a:pt x="1627937" y="1383241"/>
                </a:cubicBezTo>
                <a:lnTo>
                  <a:pt x="1672361" y="1319957"/>
                </a:lnTo>
                <a:lnTo>
                  <a:pt x="1634013" y="1319957"/>
                </a:lnTo>
                <a:cubicBezTo>
                  <a:pt x="1632184" y="1319896"/>
                  <a:pt x="1630657" y="1319233"/>
                  <a:pt x="1629430" y="1317967"/>
                </a:cubicBezTo>
                <a:cubicBezTo>
                  <a:pt x="1628203" y="1316701"/>
                  <a:pt x="1627565" y="1315199"/>
                  <a:pt x="1627517" y="1313461"/>
                </a:cubicBezTo>
                <a:lnTo>
                  <a:pt x="1627517" y="1305289"/>
                </a:lnTo>
                <a:cubicBezTo>
                  <a:pt x="1627565" y="1303460"/>
                  <a:pt x="1628203" y="1301932"/>
                  <a:pt x="1629430" y="1300705"/>
                </a:cubicBezTo>
                <a:cubicBezTo>
                  <a:pt x="1630657" y="1299478"/>
                  <a:pt x="1632184" y="1298841"/>
                  <a:pt x="1634013" y="1298793"/>
                </a:cubicBezTo>
                <a:close/>
                <a:moveTo>
                  <a:pt x="1402689" y="1298793"/>
                </a:moveTo>
                <a:lnTo>
                  <a:pt x="1423016" y="1298793"/>
                </a:lnTo>
                <a:cubicBezTo>
                  <a:pt x="1424705" y="1298815"/>
                  <a:pt x="1426146" y="1299400"/>
                  <a:pt x="1427338" y="1300548"/>
                </a:cubicBezTo>
                <a:cubicBezTo>
                  <a:pt x="1428529" y="1301696"/>
                  <a:pt x="1429394" y="1303276"/>
                  <a:pt x="1429931" y="1305289"/>
                </a:cubicBezTo>
                <a:lnTo>
                  <a:pt x="1448162" y="1378003"/>
                </a:lnTo>
                <a:lnTo>
                  <a:pt x="1448371" y="1378003"/>
                </a:lnTo>
                <a:lnTo>
                  <a:pt x="1468488" y="1305289"/>
                </a:lnTo>
                <a:cubicBezTo>
                  <a:pt x="1469008" y="1303460"/>
                  <a:pt x="1469802" y="1301932"/>
                  <a:pt x="1470872" y="1300705"/>
                </a:cubicBezTo>
                <a:cubicBezTo>
                  <a:pt x="1471941" y="1299478"/>
                  <a:pt x="1473312" y="1298841"/>
                  <a:pt x="1474984" y="1298793"/>
                </a:cubicBezTo>
                <a:lnTo>
                  <a:pt x="1491539" y="1298793"/>
                </a:lnTo>
                <a:cubicBezTo>
                  <a:pt x="1492984" y="1298793"/>
                  <a:pt x="1494337" y="1299317"/>
                  <a:pt x="1495599" y="1300364"/>
                </a:cubicBezTo>
                <a:cubicBezTo>
                  <a:pt x="1496860" y="1301412"/>
                  <a:pt x="1497533" y="1302984"/>
                  <a:pt x="1497616" y="1305079"/>
                </a:cubicBezTo>
                <a:cubicBezTo>
                  <a:pt x="1497629" y="1305564"/>
                  <a:pt x="1497550" y="1306219"/>
                  <a:pt x="1497380" y="1307044"/>
                </a:cubicBezTo>
                <a:cubicBezTo>
                  <a:pt x="1497210" y="1307869"/>
                  <a:pt x="1496869" y="1309100"/>
                  <a:pt x="1496358" y="1310737"/>
                </a:cubicBezTo>
                <a:lnTo>
                  <a:pt x="1470584" y="1389528"/>
                </a:lnTo>
                <a:cubicBezTo>
                  <a:pt x="1468213" y="1396430"/>
                  <a:pt x="1464834" y="1401224"/>
                  <a:pt x="1460447" y="1403908"/>
                </a:cubicBezTo>
                <a:cubicBezTo>
                  <a:pt x="1456059" y="1406593"/>
                  <a:pt x="1451056" y="1407877"/>
                  <a:pt x="1445438" y="1407759"/>
                </a:cubicBezTo>
                <a:cubicBezTo>
                  <a:pt x="1439933" y="1407846"/>
                  <a:pt x="1435122" y="1406519"/>
                  <a:pt x="1431005" y="1403777"/>
                </a:cubicBezTo>
                <a:cubicBezTo>
                  <a:pt x="1426888" y="1401036"/>
                  <a:pt x="1423806" y="1396356"/>
                  <a:pt x="1421758" y="1389737"/>
                </a:cubicBezTo>
                <a:lnTo>
                  <a:pt x="1397870" y="1310737"/>
                </a:lnTo>
                <a:cubicBezTo>
                  <a:pt x="1397451" y="1309493"/>
                  <a:pt x="1397136" y="1308419"/>
                  <a:pt x="1396927" y="1307515"/>
                </a:cubicBezTo>
                <a:cubicBezTo>
                  <a:pt x="1396717" y="1306612"/>
                  <a:pt x="1396613" y="1305800"/>
                  <a:pt x="1396613" y="1305079"/>
                </a:cubicBezTo>
                <a:cubicBezTo>
                  <a:pt x="1396682" y="1302892"/>
                  <a:pt x="1397328" y="1301294"/>
                  <a:pt x="1398551" y="1300286"/>
                </a:cubicBezTo>
                <a:cubicBezTo>
                  <a:pt x="1399773" y="1299277"/>
                  <a:pt x="1401153" y="1298780"/>
                  <a:pt x="1402689" y="1298793"/>
                </a:cubicBezTo>
                <a:close/>
                <a:moveTo>
                  <a:pt x="573710" y="1298793"/>
                </a:moveTo>
                <a:lnTo>
                  <a:pt x="592360" y="1298793"/>
                </a:lnTo>
                <a:cubicBezTo>
                  <a:pt x="594097" y="1298841"/>
                  <a:pt x="595599" y="1299478"/>
                  <a:pt x="596865" y="1300705"/>
                </a:cubicBezTo>
                <a:cubicBezTo>
                  <a:pt x="598131" y="1301932"/>
                  <a:pt x="598795" y="1303460"/>
                  <a:pt x="598856" y="1305289"/>
                </a:cubicBezTo>
                <a:lnTo>
                  <a:pt x="598856" y="1398748"/>
                </a:lnTo>
                <a:cubicBezTo>
                  <a:pt x="598795" y="1400577"/>
                  <a:pt x="598131" y="1402105"/>
                  <a:pt x="596865" y="1403332"/>
                </a:cubicBezTo>
                <a:cubicBezTo>
                  <a:pt x="595599" y="1404559"/>
                  <a:pt x="594097" y="1405196"/>
                  <a:pt x="592360" y="1405244"/>
                </a:cubicBezTo>
                <a:lnTo>
                  <a:pt x="573710" y="1405244"/>
                </a:lnTo>
                <a:cubicBezTo>
                  <a:pt x="571880" y="1405196"/>
                  <a:pt x="570353" y="1404559"/>
                  <a:pt x="569126" y="1403332"/>
                </a:cubicBezTo>
                <a:cubicBezTo>
                  <a:pt x="567899" y="1402105"/>
                  <a:pt x="567262" y="1400577"/>
                  <a:pt x="567214" y="1398748"/>
                </a:cubicBezTo>
                <a:lnTo>
                  <a:pt x="567214" y="1305289"/>
                </a:lnTo>
                <a:cubicBezTo>
                  <a:pt x="567262" y="1303460"/>
                  <a:pt x="567899" y="1301932"/>
                  <a:pt x="569126" y="1300705"/>
                </a:cubicBezTo>
                <a:cubicBezTo>
                  <a:pt x="570353" y="1299478"/>
                  <a:pt x="571880" y="1298841"/>
                  <a:pt x="573710" y="1298793"/>
                </a:cubicBezTo>
                <a:close/>
                <a:moveTo>
                  <a:pt x="2161279" y="1296278"/>
                </a:moveTo>
                <a:cubicBezTo>
                  <a:pt x="2172207" y="1296331"/>
                  <a:pt x="2180842" y="1297902"/>
                  <a:pt x="2187185" y="1300993"/>
                </a:cubicBezTo>
                <a:cubicBezTo>
                  <a:pt x="2193528" y="1304084"/>
                  <a:pt x="2196768" y="1308380"/>
                  <a:pt x="2196903" y="1313880"/>
                </a:cubicBezTo>
                <a:cubicBezTo>
                  <a:pt x="2196868" y="1317312"/>
                  <a:pt x="2195838" y="1320141"/>
                  <a:pt x="2193812" y="1322367"/>
                </a:cubicBezTo>
                <a:cubicBezTo>
                  <a:pt x="2191787" y="1324594"/>
                  <a:pt x="2188975" y="1325746"/>
                  <a:pt x="2185378" y="1325825"/>
                </a:cubicBezTo>
                <a:cubicBezTo>
                  <a:pt x="2181897" y="1325713"/>
                  <a:pt x="2179056" y="1324935"/>
                  <a:pt x="2176856" y="1323489"/>
                </a:cubicBezTo>
                <a:cubicBezTo>
                  <a:pt x="2174656" y="1322042"/>
                  <a:pt x="2172188" y="1320596"/>
                  <a:pt x="2169452" y="1319150"/>
                </a:cubicBezTo>
                <a:cubicBezTo>
                  <a:pt x="2166716" y="1317704"/>
                  <a:pt x="2162805" y="1316925"/>
                  <a:pt x="2157717" y="1316814"/>
                </a:cubicBezTo>
                <a:cubicBezTo>
                  <a:pt x="2153125" y="1316875"/>
                  <a:pt x="2149737" y="1317748"/>
                  <a:pt x="2147554" y="1319433"/>
                </a:cubicBezTo>
                <a:cubicBezTo>
                  <a:pt x="2145371" y="1321119"/>
                  <a:pt x="2144289" y="1323249"/>
                  <a:pt x="2144306" y="1325825"/>
                </a:cubicBezTo>
                <a:cubicBezTo>
                  <a:pt x="2144219" y="1328610"/>
                  <a:pt x="2145598" y="1330898"/>
                  <a:pt x="2148445" y="1332688"/>
                </a:cubicBezTo>
                <a:cubicBezTo>
                  <a:pt x="2151291" y="1334477"/>
                  <a:pt x="2156128" y="1336032"/>
                  <a:pt x="2162956" y="1337350"/>
                </a:cubicBezTo>
                <a:cubicBezTo>
                  <a:pt x="2176039" y="1339817"/>
                  <a:pt x="2185810" y="1343580"/>
                  <a:pt x="2192267" y="1348640"/>
                </a:cubicBezTo>
                <a:cubicBezTo>
                  <a:pt x="2198723" y="1353699"/>
                  <a:pt x="2201945" y="1360972"/>
                  <a:pt x="2201932" y="1370459"/>
                </a:cubicBezTo>
                <a:cubicBezTo>
                  <a:pt x="2201740" y="1381731"/>
                  <a:pt x="2197567" y="1390724"/>
                  <a:pt x="2189411" y="1397438"/>
                </a:cubicBezTo>
                <a:cubicBezTo>
                  <a:pt x="2181257" y="1404153"/>
                  <a:pt x="2170273" y="1407593"/>
                  <a:pt x="2156460" y="1407759"/>
                </a:cubicBezTo>
                <a:cubicBezTo>
                  <a:pt x="2143961" y="1407693"/>
                  <a:pt x="2133807" y="1405781"/>
                  <a:pt x="2125997" y="1402022"/>
                </a:cubicBezTo>
                <a:cubicBezTo>
                  <a:pt x="2118187" y="1398264"/>
                  <a:pt x="2114161" y="1393051"/>
                  <a:pt x="2113921" y="1386385"/>
                </a:cubicBezTo>
                <a:cubicBezTo>
                  <a:pt x="2113991" y="1383154"/>
                  <a:pt x="2115161" y="1380447"/>
                  <a:pt x="2117431" y="1378265"/>
                </a:cubicBezTo>
                <a:cubicBezTo>
                  <a:pt x="2119701" y="1376082"/>
                  <a:pt x="2122653" y="1374947"/>
                  <a:pt x="2126285" y="1374859"/>
                </a:cubicBezTo>
                <a:cubicBezTo>
                  <a:pt x="2129755" y="1375012"/>
                  <a:pt x="2132919" y="1376081"/>
                  <a:pt x="2135776" y="1378065"/>
                </a:cubicBezTo>
                <a:cubicBezTo>
                  <a:pt x="2138634" y="1380049"/>
                  <a:pt x="2141736" y="1382033"/>
                  <a:pt x="2145082" y="1384018"/>
                </a:cubicBezTo>
                <a:cubicBezTo>
                  <a:pt x="2148428" y="1386002"/>
                  <a:pt x="2152570" y="1387070"/>
                  <a:pt x="2157507" y="1387223"/>
                </a:cubicBezTo>
                <a:cubicBezTo>
                  <a:pt x="2161651" y="1387219"/>
                  <a:pt x="2164942" y="1386284"/>
                  <a:pt x="2167383" y="1384420"/>
                </a:cubicBezTo>
                <a:cubicBezTo>
                  <a:pt x="2169823" y="1382556"/>
                  <a:pt x="2171071" y="1379788"/>
                  <a:pt x="2171128" y="1376117"/>
                </a:cubicBezTo>
                <a:cubicBezTo>
                  <a:pt x="2171246" y="1372288"/>
                  <a:pt x="2169753" y="1369258"/>
                  <a:pt x="2166649" y="1367027"/>
                </a:cubicBezTo>
                <a:cubicBezTo>
                  <a:pt x="2163545" y="1364797"/>
                  <a:pt x="2158123" y="1363077"/>
                  <a:pt x="2150383" y="1361867"/>
                </a:cubicBezTo>
                <a:cubicBezTo>
                  <a:pt x="2138238" y="1359877"/>
                  <a:pt x="2129157" y="1356157"/>
                  <a:pt x="2123141" y="1350709"/>
                </a:cubicBezTo>
                <a:cubicBezTo>
                  <a:pt x="2117125" y="1345260"/>
                  <a:pt x="2114122" y="1338083"/>
                  <a:pt x="2114131" y="1329178"/>
                </a:cubicBezTo>
                <a:cubicBezTo>
                  <a:pt x="2114105" y="1319281"/>
                  <a:pt x="2117981" y="1311361"/>
                  <a:pt x="2125761" y="1305420"/>
                </a:cubicBezTo>
                <a:cubicBezTo>
                  <a:pt x="2133540" y="1299478"/>
                  <a:pt x="2145380" y="1296431"/>
                  <a:pt x="2161279" y="1296278"/>
                </a:cubicBezTo>
                <a:close/>
                <a:moveTo>
                  <a:pt x="2050961" y="1296278"/>
                </a:moveTo>
                <a:cubicBezTo>
                  <a:pt x="2066197" y="1296505"/>
                  <a:pt x="2078106" y="1301500"/>
                  <a:pt x="2086689" y="1311261"/>
                </a:cubicBezTo>
                <a:cubicBezTo>
                  <a:pt x="2095272" y="1321023"/>
                  <a:pt x="2099637" y="1334189"/>
                  <a:pt x="2099786" y="1350761"/>
                </a:cubicBezTo>
                <a:cubicBezTo>
                  <a:pt x="2099865" y="1353477"/>
                  <a:pt x="2099393" y="1355485"/>
                  <a:pt x="2098371" y="1356786"/>
                </a:cubicBezTo>
                <a:cubicBezTo>
                  <a:pt x="2097350" y="1358087"/>
                  <a:pt x="2095307" y="1358733"/>
                  <a:pt x="2092242" y="1358724"/>
                </a:cubicBezTo>
                <a:lnTo>
                  <a:pt x="2032101" y="1358724"/>
                </a:lnTo>
                <a:cubicBezTo>
                  <a:pt x="2032241" y="1367944"/>
                  <a:pt x="2034529" y="1374859"/>
                  <a:pt x="2038964" y="1379470"/>
                </a:cubicBezTo>
                <a:cubicBezTo>
                  <a:pt x="2043400" y="1384080"/>
                  <a:pt x="2049145" y="1386385"/>
                  <a:pt x="2056199" y="1386385"/>
                </a:cubicBezTo>
                <a:cubicBezTo>
                  <a:pt x="2061063" y="1386266"/>
                  <a:pt x="2065073" y="1385433"/>
                  <a:pt x="2068229" y="1383886"/>
                </a:cubicBezTo>
                <a:cubicBezTo>
                  <a:pt x="2071386" y="1382339"/>
                  <a:pt x="2074262" y="1380791"/>
                  <a:pt x="2076860" y="1379244"/>
                </a:cubicBezTo>
                <a:cubicBezTo>
                  <a:pt x="2079457" y="1377697"/>
                  <a:pt x="2082349" y="1376864"/>
                  <a:pt x="2085537" y="1376745"/>
                </a:cubicBezTo>
                <a:cubicBezTo>
                  <a:pt x="2088924" y="1376824"/>
                  <a:pt x="2091579" y="1377924"/>
                  <a:pt x="2093499" y="1380046"/>
                </a:cubicBezTo>
                <a:cubicBezTo>
                  <a:pt x="2095420" y="1382168"/>
                  <a:pt x="2096398" y="1384839"/>
                  <a:pt x="2096433" y="1388061"/>
                </a:cubicBezTo>
                <a:cubicBezTo>
                  <a:pt x="2096320" y="1393741"/>
                  <a:pt x="2092723" y="1398412"/>
                  <a:pt x="2085641" y="1402075"/>
                </a:cubicBezTo>
                <a:cubicBezTo>
                  <a:pt x="2078560" y="1405737"/>
                  <a:pt x="2068677" y="1407632"/>
                  <a:pt x="2055990" y="1407759"/>
                </a:cubicBezTo>
                <a:cubicBezTo>
                  <a:pt x="2038091" y="1407654"/>
                  <a:pt x="2024383" y="1402834"/>
                  <a:pt x="2014866" y="1393300"/>
                </a:cubicBezTo>
                <a:cubicBezTo>
                  <a:pt x="2005349" y="1383765"/>
                  <a:pt x="2000547" y="1370145"/>
                  <a:pt x="2000459" y="1352438"/>
                </a:cubicBezTo>
                <a:cubicBezTo>
                  <a:pt x="2000691" y="1334696"/>
                  <a:pt x="2005362" y="1320935"/>
                  <a:pt x="2014473" y="1311156"/>
                </a:cubicBezTo>
                <a:cubicBezTo>
                  <a:pt x="2023584" y="1301377"/>
                  <a:pt x="2035747" y="1296418"/>
                  <a:pt x="2050961" y="1296278"/>
                </a:cubicBezTo>
                <a:close/>
                <a:moveTo>
                  <a:pt x="1890617" y="1296278"/>
                </a:moveTo>
                <a:cubicBezTo>
                  <a:pt x="1896912" y="1296287"/>
                  <a:pt x="1902395" y="1297317"/>
                  <a:pt x="1907067" y="1299369"/>
                </a:cubicBezTo>
                <a:cubicBezTo>
                  <a:pt x="1911738" y="1301421"/>
                  <a:pt x="1915545" y="1304442"/>
                  <a:pt x="1918487" y="1308432"/>
                </a:cubicBezTo>
                <a:lnTo>
                  <a:pt x="1919116" y="1308432"/>
                </a:lnTo>
                <a:cubicBezTo>
                  <a:pt x="1922281" y="1304809"/>
                  <a:pt x="1926271" y="1301892"/>
                  <a:pt x="1931086" y="1299683"/>
                </a:cubicBezTo>
                <a:cubicBezTo>
                  <a:pt x="1935902" y="1297474"/>
                  <a:pt x="1942040" y="1296339"/>
                  <a:pt x="1949501" y="1296278"/>
                </a:cubicBezTo>
                <a:cubicBezTo>
                  <a:pt x="1961161" y="1296352"/>
                  <a:pt x="1970006" y="1299557"/>
                  <a:pt x="1976035" y="1305891"/>
                </a:cubicBezTo>
                <a:cubicBezTo>
                  <a:pt x="1982064" y="1312226"/>
                  <a:pt x="1985093" y="1321245"/>
                  <a:pt x="1985124" y="1332949"/>
                </a:cubicBezTo>
                <a:lnTo>
                  <a:pt x="1985124" y="1398748"/>
                </a:lnTo>
                <a:cubicBezTo>
                  <a:pt x="1985063" y="1400577"/>
                  <a:pt x="1984399" y="1402105"/>
                  <a:pt x="1983133" y="1403332"/>
                </a:cubicBezTo>
                <a:cubicBezTo>
                  <a:pt x="1981867" y="1404559"/>
                  <a:pt x="1980366" y="1405196"/>
                  <a:pt x="1978628" y="1405244"/>
                </a:cubicBezTo>
                <a:lnTo>
                  <a:pt x="1959978" y="1405244"/>
                </a:lnTo>
                <a:cubicBezTo>
                  <a:pt x="1958149" y="1405196"/>
                  <a:pt x="1956621" y="1404559"/>
                  <a:pt x="1955394" y="1403332"/>
                </a:cubicBezTo>
                <a:cubicBezTo>
                  <a:pt x="1954167" y="1402105"/>
                  <a:pt x="1953530" y="1400577"/>
                  <a:pt x="1953482" y="1398748"/>
                </a:cubicBezTo>
                <a:lnTo>
                  <a:pt x="1953482" y="1331064"/>
                </a:lnTo>
                <a:cubicBezTo>
                  <a:pt x="1953705" y="1326829"/>
                  <a:pt x="1952945" y="1323511"/>
                  <a:pt x="1951203" y="1321110"/>
                </a:cubicBezTo>
                <a:cubicBezTo>
                  <a:pt x="1949461" y="1318709"/>
                  <a:pt x="1945401" y="1317486"/>
                  <a:pt x="1939023" y="1317443"/>
                </a:cubicBezTo>
                <a:cubicBezTo>
                  <a:pt x="1934422" y="1317486"/>
                  <a:pt x="1930999" y="1318028"/>
                  <a:pt x="1928755" y="1319067"/>
                </a:cubicBezTo>
                <a:cubicBezTo>
                  <a:pt x="1926511" y="1320106"/>
                  <a:pt x="1925394" y="1321381"/>
                  <a:pt x="1925402" y="1322891"/>
                </a:cubicBezTo>
                <a:lnTo>
                  <a:pt x="1925402" y="1398748"/>
                </a:lnTo>
                <a:cubicBezTo>
                  <a:pt x="1925341" y="1400577"/>
                  <a:pt x="1924678" y="1402105"/>
                  <a:pt x="1923411" y="1403332"/>
                </a:cubicBezTo>
                <a:cubicBezTo>
                  <a:pt x="1922146" y="1404559"/>
                  <a:pt x="1920644" y="1405196"/>
                  <a:pt x="1918906" y="1405244"/>
                </a:cubicBezTo>
                <a:lnTo>
                  <a:pt x="1900256" y="1405244"/>
                </a:lnTo>
                <a:cubicBezTo>
                  <a:pt x="1898427" y="1405196"/>
                  <a:pt x="1896899" y="1404559"/>
                  <a:pt x="1895672" y="1403332"/>
                </a:cubicBezTo>
                <a:cubicBezTo>
                  <a:pt x="1894446" y="1402105"/>
                  <a:pt x="1893808" y="1400577"/>
                  <a:pt x="1893760" y="1398748"/>
                </a:cubicBezTo>
                <a:lnTo>
                  <a:pt x="1893760" y="1331064"/>
                </a:lnTo>
                <a:cubicBezTo>
                  <a:pt x="1893983" y="1326829"/>
                  <a:pt x="1893223" y="1323511"/>
                  <a:pt x="1891481" y="1321110"/>
                </a:cubicBezTo>
                <a:cubicBezTo>
                  <a:pt x="1889739" y="1318709"/>
                  <a:pt x="1885679" y="1317486"/>
                  <a:pt x="1879301" y="1317443"/>
                </a:cubicBezTo>
                <a:cubicBezTo>
                  <a:pt x="1874700" y="1317486"/>
                  <a:pt x="1871277" y="1318028"/>
                  <a:pt x="1869033" y="1319067"/>
                </a:cubicBezTo>
                <a:cubicBezTo>
                  <a:pt x="1866789" y="1320106"/>
                  <a:pt x="1865672" y="1321381"/>
                  <a:pt x="1865681" y="1322891"/>
                </a:cubicBezTo>
                <a:lnTo>
                  <a:pt x="1865681" y="1398748"/>
                </a:lnTo>
                <a:cubicBezTo>
                  <a:pt x="1865620" y="1400577"/>
                  <a:pt x="1864956" y="1402105"/>
                  <a:pt x="1863690" y="1403332"/>
                </a:cubicBezTo>
                <a:cubicBezTo>
                  <a:pt x="1862424" y="1404559"/>
                  <a:pt x="1860922" y="1405196"/>
                  <a:pt x="1859185" y="1405244"/>
                </a:cubicBezTo>
                <a:lnTo>
                  <a:pt x="1840535" y="1405244"/>
                </a:lnTo>
                <a:cubicBezTo>
                  <a:pt x="1838705" y="1405196"/>
                  <a:pt x="1837177" y="1404559"/>
                  <a:pt x="1835951" y="1403332"/>
                </a:cubicBezTo>
                <a:cubicBezTo>
                  <a:pt x="1834724" y="1402105"/>
                  <a:pt x="1834087" y="1400577"/>
                  <a:pt x="1834039" y="1398748"/>
                </a:cubicBezTo>
                <a:lnTo>
                  <a:pt x="1834039" y="1305289"/>
                </a:lnTo>
                <a:cubicBezTo>
                  <a:pt x="1834087" y="1303460"/>
                  <a:pt x="1834724" y="1301932"/>
                  <a:pt x="1835951" y="1300705"/>
                </a:cubicBezTo>
                <a:cubicBezTo>
                  <a:pt x="1837177" y="1299478"/>
                  <a:pt x="1838705" y="1298841"/>
                  <a:pt x="1840535" y="1298793"/>
                </a:cubicBezTo>
                <a:lnTo>
                  <a:pt x="1857299" y="1298793"/>
                </a:lnTo>
                <a:cubicBezTo>
                  <a:pt x="1859036" y="1298841"/>
                  <a:pt x="1860538" y="1299478"/>
                  <a:pt x="1861804" y="1300705"/>
                </a:cubicBezTo>
                <a:cubicBezTo>
                  <a:pt x="1863070" y="1301932"/>
                  <a:pt x="1863734" y="1303460"/>
                  <a:pt x="1863795" y="1305289"/>
                </a:cubicBezTo>
                <a:lnTo>
                  <a:pt x="1863795" y="1306965"/>
                </a:lnTo>
                <a:cubicBezTo>
                  <a:pt x="1866170" y="1303953"/>
                  <a:pt x="1869383" y="1301438"/>
                  <a:pt x="1873434" y="1299421"/>
                </a:cubicBezTo>
                <a:cubicBezTo>
                  <a:pt x="1877485" y="1297405"/>
                  <a:pt x="1883213" y="1296357"/>
                  <a:pt x="1890617" y="1296278"/>
                </a:cubicBezTo>
                <a:close/>
                <a:moveTo>
                  <a:pt x="1557547" y="1296278"/>
                </a:moveTo>
                <a:cubicBezTo>
                  <a:pt x="1573215" y="1296261"/>
                  <a:pt x="1585832" y="1300853"/>
                  <a:pt x="1595397" y="1310056"/>
                </a:cubicBezTo>
                <a:cubicBezTo>
                  <a:pt x="1604962" y="1319259"/>
                  <a:pt x="1609878" y="1333176"/>
                  <a:pt x="1610144" y="1351809"/>
                </a:cubicBezTo>
                <a:cubicBezTo>
                  <a:pt x="1609878" y="1370184"/>
                  <a:pt x="1604962" y="1384093"/>
                  <a:pt x="1595397" y="1393536"/>
                </a:cubicBezTo>
                <a:cubicBezTo>
                  <a:pt x="1585832" y="1402978"/>
                  <a:pt x="1573215" y="1407719"/>
                  <a:pt x="1557547" y="1407759"/>
                </a:cubicBezTo>
                <a:cubicBezTo>
                  <a:pt x="1541979" y="1407785"/>
                  <a:pt x="1529423" y="1403175"/>
                  <a:pt x="1519880" y="1393928"/>
                </a:cubicBezTo>
                <a:cubicBezTo>
                  <a:pt x="1510337" y="1384682"/>
                  <a:pt x="1505430" y="1370642"/>
                  <a:pt x="1505159" y="1351809"/>
                </a:cubicBezTo>
                <a:cubicBezTo>
                  <a:pt x="1505430" y="1333176"/>
                  <a:pt x="1510337" y="1319259"/>
                  <a:pt x="1519880" y="1310056"/>
                </a:cubicBezTo>
                <a:cubicBezTo>
                  <a:pt x="1529423" y="1300853"/>
                  <a:pt x="1541979" y="1296261"/>
                  <a:pt x="1557547" y="1296278"/>
                </a:cubicBezTo>
                <a:close/>
                <a:moveTo>
                  <a:pt x="1328947" y="1296278"/>
                </a:moveTo>
                <a:cubicBezTo>
                  <a:pt x="1344615" y="1296261"/>
                  <a:pt x="1357232" y="1300853"/>
                  <a:pt x="1366797" y="1310056"/>
                </a:cubicBezTo>
                <a:cubicBezTo>
                  <a:pt x="1376362" y="1319259"/>
                  <a:pt x="1381278" y="1333176"/>
                  <a:pt x="1381544" y="1351809"/>
                </a:cubicBezTo>
                <a:cubicBezTo>
                  <a:pt x="1381278" y="1370184"/>
                  <a:pt x="1376362" y="1384093"/>
                  <a:pt x="1366797" y="1393536"/>
                </a:cubicBezTo>
                <a:cubicBezTo>
                  <a:pt x="1357232" y="1402978"/>
                  <a:pt x="1344615" y="1407719"/>
                  <a:pt x="1328947" y="1407759"/>
                </a:cubicBezTo>
                <a:cubicBezTo>
                  <a:pt x="1313379" y="1407785"/>
                  <a:pt x="1300823" y="1403175"/>
                  <a:pt x="1291280" y="1393928"/>
                </a:cubicBezTo>
                <a:cubicBezTo>
                  <a:pt x="1281737" y="1384682"/>
                  <a:pt x="1276830" y="1370642"/>
                  <a:pt x="1276559" y="1351809"/>
                </a:cubicBezTo>
                <a:cubicBezTo>
                  <a:pt x="1276830" y="1333176"/>
                  <a:pt x="1281737" y="1319259"/>
                  <a:pt x="1291280" y="1310056"/>
                </a:cubicBezTo>
                <a:cubicBezTo>
                  <a:pt x="1300823" y="1300853"/>
                  <a:pt x="1313379" y="1296261"/>
                  <a:pt x="1328947" y="1296278"/>
                </a:cubicBezTo>
                <a:close/>
                <a:moveTo>
                  <a:pt x="1075963" y="1296278"/>
                </a:moveTo>
                <a:cubicBezTo>
                  <a:pt x="1081027" y="1296335"/>
                  <a:pt x="1084939" y="1297636"/>
                  <a:pt x="1087698" y="1300181"/>
                </a:cubicBezTo>
                <a:cubicBezTo>
                  <a:pt x="1090457" y="1302726"/>
                  <a:pt x="1091854" y="1306175"/>
                  <a:pt x="1091889" y="1310528"/>
                </a:cubicBezTo>
                <a:cubicBezTo>
                  <a:pt x="1091845" y="1315090"/>
                  <a:pt x="1090570" y="1318696"/>
                  <a:pt x="1088064" y="1321346"/>
                </a:cubicBezTo>
                <a:cubicBezTo>
                  <a:pt x="1085559" y="1323996"/>
                  <a:pt x="1082083" y="1325349"/>
                  <a:pt x="1077639" y="1325406"/>
                </a:cubicBezTo>
                <a:cubicBezTo>
                  <a:pt x="1073933" y="1325196"/>
                  <a:pt x="1070816" y="1324358"/>
                  <a:pt x="1068288" y="1322891"/>
                </a:cubicBezTo>
                <a:cubicBezTo>
                  <a:pt x="1065760" y="1321424"/>
                  <a:pt x="1063429" y="1320586"/>
                  <a:pt x="1061294" y="1320376"/>
                </a:cubicBezTo>
                <a:cubicBezTo>
                  <a:pt x="1059609" y="1320394"/>
                  <a:pt x="1058317" y="1320883"/>
                  <a:pt x="1057418" y="1321843"/>
                </a:cubicBezTo>
                <a:cubicBezTo>
                  <a:pt x="1056519" y="1322804"/>
                  <a:pt x="1056065" y="1324131"/>
                  <a:pt x="1056056" y="1325825"/>
                </a:cubicBezTo>
                <a:lnTo>
                  <a:pt x="1056056" y="1398748"/>
                </a:lnTo>
                <a:cubicBezTo>
                  <a:pt x="1055995" y="1400577"/>
                  <a:pt x="1055331" y="1402105"/>
                  <a:pt x="1054065" y="1403332"/>
                </a:cubicBezTo>
                <a:cubicBezTo>
                  <a:pt x="1052799" y="1404559"/>
                  <a:pt x="1051297" y="1405196"/>
                  <a:pt x="1049559" y="1405244"/>
                </a:cubicBezTo>
                <a:lnTo>
                  <a:pt x="1030910" y="1405244"/>
                </a:lnTo>
                <a:cubicBezTo>
                  <a:pt x="1029080" y="1405196"/>
                  <a:pt x="1027553" y="1404559"/>
                  <a:pt x="1026326" y="1403332"/>
                </a:cubicBezTo>
                <a:cubicBezTo>
                  <a:pt x="1025099" y="1402105"/>
                  <a:pt x="1024462" y="1400577"/>
                  <a:pt x="1024413" y="1398748"/>
                </a:cubicBezTo>
                <a:lnTo>
                  <a:pt x="1024413" y="1305289"/>
                </a:lnTo>
                <a:cubicBezTo>
                  <a:pt x="1024462" y="1303460"/>
                  <a:pt x="1025099" y="1301932"/>
                  <a:pt x="1026326" y="1300705"/>
                </a:cubicBezTo>
                <a:cubicBezTo>
                  <a:pt x="1027553" y="1299478"/>
                  <a:pt x="1029080" y="1298841"/>
                  <a:pt x="1030910" y="1298793"/>
                </a:cubicBezTo>
                <a:lnTo>
                  <a:pt x="1047674" y="1298793"/>
                </a:lnTo>
                <a:cubicBezTo>
                  <a:pt x="1049411" y="1298841"/>
                  <a:pt x="1050913" y="1299478"/>
                  <a:pt x="1052179" y="1300705"/>
                </a:cubicBezTo>
                <a:cubicBezTo>
                  <a:pt x="1053445" y="1301932"/>
                  <a:pt x="1054109" y="1303460"/>
                  <a:pt x="1054170" y="1305289"/>
                </a:cubicBezTo>
                <a:lnTo>
                  <a:pt x="1054170" y="1307803"/>
                </a:lnTo>
                <a:cubicBezTo>
                  <a:pt x="1056859" y="1304573"/>
                  <a:pt x="1060125" y="1301866"/>
                  <a:pt x="1063966" y="1299683"/>
                </a:cubicBezTo>
                <a:cubicBezTo>
                  <a:pt x="1067808" y="1297501"/>
                  <a:pt x="1071807" y="1296366"/>
                  <a:pt x="1075963" y="1296278"/>
                </a:cubicBezTo>
                <a:close/>
                <a:moveTo>
                  <a:pt x="947947" y="1296278"/>
                </a:moveTo>
                <a:cubicBezTo>
                  <a:pt x="963615" y="1296261"/>
                  <a:pt x="976232" y="1300853"/>
                  <a:pt x="985797" y="1310056"/>
                </a:cubicBezTo>
                <a:cubicBezTo>
                  <a:pt x="995362" y="1319259"/>
                  <a:pt x="1000278" y="1333176"/>
                  <a:pt x="1000544" y="1351809"/>
                </a:cubicBezTo>
                <a:cubicBezTo>
                  <a:pt x="1000278" y="1370184"/>
                  <a:pt x="995362" y="1384093"/>
                  <a:pt x="985797" y="1393536"/>
                </a:cubicBezTo>
                <a:cubicBezTo>
                  <a:pt x="976232" y="1402978"/>
                  <a:pt x="963615" y="1407719"/>
                  <a:pt x="947947" y="1407759"/>
                </a:cubicBezTo>
                <a:cubicBezTo>
                  <a:pt x="932379" y="1407785"/>
                  <a:pt x="919824" y="1403175"/>
                  <a:pt x="910280" y="1393928"/>
                </a:cubicBezTo>
                <a:cubicBezTo>
                  <a:pt x="900737" y="1384682"/>
                  <a:pt x="895830" y="1370642"/>
                  <a:pt x="895559" y="1351809"/>
                </a:cubicBezTo>
                <a:cubicBezTo>
                  <a:pt x="895830" y="1333176"/>
                  <a:pt x="900737" y="1319259"/>
                  <a:pt x="910280" y="1310056"/>
                </a:cubicBezTo>
                <a:cubicBezTo>
                  <a:pt x="919824" y="1300853"/>
                  <a:pt x="932379" y="1296261"/>
                  <a:pt x="947947" y="1296278"/>
                </a:cubicBezTo>
                <a:close/>
                <a:moveTo>
                  <a:pt x="742055" y="1296278"/>
                </a:moveTo>
                <a:cubicBezTo>
                  <a:pt x="752982" y="1296331"/>
                  <a:pt x="761617" y="1297902"/>
                  <a:pt x="767960" y="1300993"/>
                </a:cubicBezTo>
                <a:cubicBezTo>
                  <a:pt x="774303" y="1304084"/>
                  <a:pt x="777543" y="1308380"/>
                  <a:pt x="777678" y="1313880"/>
                </a:cubicBezTo>
                <a:cubicBezTo>
                  <a:pt x="777643" y="1317312"/>
                  <a:pt x="776613" y="1320141"/>
                  <a:pt x="774587" y="1322367"/>
                </a:cubicBezTo>
                <a:cubicBezTo>
                  <a:pt x="772561" y="1324594"/>
                  <a:pt x="769750" y="1325746"/>
                  <a:pt x="766153" y="1325825"/>
                </a:cubicBezTo>
                <a:cubicBezTo>
                  <a:pt x="762672" y="1325713"/>
                  <a:pt x="759831" y="1324935"/>
                  <a:pt x="757631" y="1323489"/>
                </a:cubicBezTo>
                <a:cubicBezTo>
                  <a:pt x="755431" y="1322042"/>
                  <a:pt x="752963" y="1320596"/>
                  <a:pt x="750227" y="1319150"/>
                </a:cubicBezTo>
                <a:cubicBezTo>
                  <a:pt x="747491" y="1317704"/>
                  <a:pt x="743579" y="1316925"/>
                  <a:pt x="738492" y="1316814"/>
                </a:cubicBezTo>
                <a:cubicBezTo>
                  <a:pt x="733900" y="1316875"/>
                  <a:pt x="730512" y="1317748"/>
                  <a:pt x="728329" y="1319433"/>
                </a:cubicBezTo>
                <a:cubicBezTo>
                  <a:pt x="726146" y="1321119"/>
                  <a:pt x="725063" y="1323249"/>
                  <a:pt x="725081" y="1325825"/>
                </a:cubicBezTo>
                <a:cubicBezTo>
                  <a:pt x="724994" y="1328610"/>
                  <a:pt x="726373" y="1330898"/>
                  <a:pt x="729220" y="1332688"/>
                </a:cubicBezTo>
                <a:cubicBezTo>
                  <a:pt x="732066" y="1334477"/>
                  <a:pt x="736903" y="1336032"/>
                  <a:pt x="743731" y="1337350"/>
                </a:cubicBezTo>
                <a:cubicBezTo>
                  <a:pt x="756815" y="1339817"/>
                  <a:pt x="766585" y="1343580"/>
                  <a:pt x="773042" y="1348640"/>
                </a:cubicBezTo>
                <a:cubicBezTo>
                  <a:pt x="779499" y="1353699"/>
                  <a:pt x="782720" y="1360972"/>
                  <a:pt x="782707" y="1370459"/>
                </a:cubicBezTo>
                <a:cubicBezTo>
                  <a:pt x="782515" y="1381731"/>
                  <a:pt x="778342" y="1390724"/>
                  <a:pt x="770187" y="1397438"/>
                </a:cubicBezTo>
                <a:cubicBezTo>
                  <a:pt x="762032" y="1404153"/>
                  <a:pt x="751048" y="1407593"/>
                  <a:pt x="737235" y="1407759"/>
                </a:cubicBezTo>
                <a:cubicBezTo>
                  <a:pt x="724736" y="1407693"/>
                  <a:pt x="714582" y="1405781"/>
                  <a:pt x="706771" y="1402022"/>
                </a:cubicBezTo>
                <a:cubicBezTo>
                  <a:pt x="698961" y="1398264"/>
                  <a:pt x="694936" y="1393051"/>
                  <a:pt x="694696" y="1386385"/>
                </a:cubicBezTo>
                <a:cubicBezTo>
                  <a:pt x="694766" y="1383154"/>
                  <a:pt x="695936" y="1380447"/>
                  <a:pt x="698206" y="1378265"/>
                </a:cubicBezTo>
                <a:cubicBezTo>
                  <a:pt x="700476" y="1376082"/>
                  <a:pt x="703427" y="1374947"/>
                  <a:pt x="707060" y="1374859"/>
                </a:cubicBezTo>
                <a:cubicBezTo>
                  <a:pt x="710530" y="1375012"/>
                  <a:pt x="713694" y="1376081"/>
                  <a:pt x="716551" y="1378065"/>
                </a:cubicBezTo>
                <a:cubicBezTo>
                  <a:pt x="719409" y="1380049"/>
                  <a:pt x="722511" y="1382033"/>
                  <a:pt x="725857" y="1384018"/>
                </a:cubicBezTo>
                <a:cubicBezTo>
                  <a:pt x="729203" y="1386002"/>
                  <a:pt x="733345" y="1387070"/>
                  <a:pt x="738283" y="1387223"/>
                </a:cubicBezTo>
                <a:cubicBezTo>
                  <a:pt x="742426" y="1387219"/>
                  <a:pt x="745717" y="1386284"/>
                  <a:pt x="748158" y="1384420"/>
                </a:cubicBezTo>
                <a:cubicBezTo>
                  <a:pt x="750598" y="1382556"/>
                  <a:pt x="751847" y="1379788"/>
                  <a:pt x="751903" y="1376117"/>
                </a:cubicBezTo>
                <a:cubicBezTo>
                  <a:pt x="752021" y="1372288"/>
                  <a:pt x="750528" y="1369258"/>
                  <a:pt x="747424" y="1367027"/>
                </a:cubicBezTo>
                <a:cubicBezTo>
                  <a:pt x="744320" y="1364797"/>
                  <a:pt x="738898" y="1363077"/>
                  <a:pt x="731158" y="1361867"/>
                </a:cubicBezTo>
                <a:cubicBezTo>
                  <a:pt x="719013" y="1359877"/>
                  <a:pt x="709932" y="1356157"/>
                  <a:pt x="703916" y="1350709"/>
                </a:cubicBezTo>
                <a:cubicBezTo>
                  <a:pt x="697901" y="1345260"/>
                  <a:pt x="694897" y="1338083"/>
                  <a:pt x="694906" y="1329178"/>
                </a:cubicBezTo>
                <a:cubicBezTo>
                  <a:pt x="694880" y="1319281"/>
                  <a:pt x="698756" y="1311361"/>
                  <a:pt x="706536" y="1305420"/>
                </a:cubicBezTo>
                <a:cubicBezTo>
                  <a:pt x="714315" y="1299478"/>
                  <a:pt x="726155" y="1296431"/>
                  <a:pt x="742055" y="1296278"/>
                </a:cubicBezTo>
                <a:close/>
                <a:moveTo>
                  <a:pt x="422186" y="1296278"/>
                </a:moveTo>
                <a:cubicBezTo>
                  <a:pt x="437422" y="1296505"/>
                  <a:pt x="449331" y="1301500"/>
                  <a:pt x="457914" y="1311261"/>
                </a:cubicBezTo>
                <a:cubicBezTo>
                  <a:pt x="466497" y="1321023"/>
                  <a:pt x="470863" y="1334189"/>
                  <a:pt x="471011" y="1350761"/>
                </a:cubicBezTo>
                <a:cubicBezTo>
                  <a:pt x="471090" y="1353477"/>
                  <a:pt x="470618" y="1355485"/>
                  <a:pt x="469597" y="1356786"/>
                </a:cubicBezTo>
                <a:cubicBezTo>
                  <a:pt x="468575" y="1358087"/>
                  <a:pt x="466532" y="1358733"/>
                  <a:pt x="463467" y="1358724"/>
                </a:cubicBezTo>
                <a:lnTo>
                  <a:pt x="403326" y="1358724"/>
                </a:lnTo>
                <a:cubicBezTo>
                  <a:pt x="403466" y="1367944"/>
                  <a:pt x="405754" y="1374859"/>
                  <a:pt x="410189" y="1379470"/>
                </a:cubicBezTo>
                <a:cubicBezTo>
                  <a:pt x="414625" y="1384080"/>
                  <a:pt x="420370" y="1386385"/>
                  <a:pt x="427425" y="1386385"/>
                </a:cubicBezTo>
                <a:cubicBezTo>
                  <a:pt x="432288" y="1386266"/>
                  <a:pt x="436298" y="1385433"/>
                  <a:pt x="439454" y="1383886"/>
                </a:cubicBezTo>
                <a:cubicBezTo>
                  <a:pt x="442611" y="1382339"/>
                  <a:pt x="445487" y="1380791"/>
                  <a:pt x="448085" y="1379244"/>
                </a:cubicBezTo>
                <a:cubicBezTo>
                  <a:pt x="450682" y="1377697"/>
                  <a:pt x="453574" y="1376864"/>
                  <a:pt x="456762" y="1376745"/>
                </a:cubicBezTo>
                <a:cubicBezTo>
                  <a:pt x="460149" y="1376824"/>
                  <a:pt x="462804" y="1377924"/>
                  <a:pt x="464725" y="1380046"/>
                </a:cubicBezTo>
                <a:cubicBezTo>
                  <a:pt x="466645" y="1382168"/>
                  <a:pt x="467623" y="1384839"/>
                  <a:pt x="467658" y="1388061"/>
                </a:cubicBezTo>
                <a:cubicBezTo>
                  <a:pt x="467545" y="1393741"/>
                  <a:pt x="463948" y="1398412"/>
                  <a:pt x="456866" y="1402075"/>
                </a:cubicBezTo>
                <a:cubicBezTo>
                  <a:pt x="449785" y="1405737"/>
                  <a:pt x="439902" y="1407632"/>
                  <a:pt x="427215" y="1407759"/>
                </a:cubicBezTo>
                <a:cubicBezTo>
                  <a:pt x="409316" y="1407654"/>
                  <a:pt x="395608" y="1402834"/>
                  <a:pt x="386091" y="1393300"/>
                </a:cubicBezTo>
                <a:cubicBezTo>
                  <a:pt x="376574" y="1383765"/>
                  <a:pt x="371772" y="1370145"/>
                  <a:pt x="371684" y="1352438"/>
                </a:cubicBezTo>
                <a:cubicBezTo>
                  <a:pt x="371916" y="1334696"/>
                  <a:pt x="376587" y="1320935"/>
                  <a:pt x="385698" y="1311156"/>
                </a:cubicBezTo>
                <a:cubicBezTo>
                  <a:pt x="394809" y="1301377"/>
                  <a:pt x="406972" y="1296418"/>
                  <a:pt x="422186" y="1296278"/>
                </a:cubicBezTo>
                <a:close/>
                <a:moveTo>
                  <a:pt x="310515" y="1296278"/>
                </a:moveTo>
                <a:cubicBezTo>
                  <a:pt x="321861" y="1296352"/>
                  <a:pt x="330811" y="1299557"/>
                  <a:pt x="337363" y="1305891"/>
                </a:cubicBezTo>
                <a:cubicBezTo>
                  <a:pt x="343916" y="1312226"/>
                  <a:pt x="347260" y="1321245"/>
                  <a:pt x="347396" y="1332949"/>
                </a:cubicBezTo>
                <a:lnTo>
                  <a:pt x="347396" y="1398748"/>
                </a:lnTo>
                <a:cubicBezTo>
                  <a:pt x="347335" y="1400577"/>
                  <a:pt x="346671" y="1402105"/>
                  <a:pt x="345405" y="1403332"/>
                </a:cubicBezTo>
                <a:cubicBezTo>
                  <a:pt x="344139" y="1404559"/>
                  <a:pt x="342637" y="1405196"/>
                  <a:pt x="340900" y="1405244"/>
                </a:cubicBezTo>
                <a:lnTo>
                  <a:pt x="322250" y="1405244"/>
                </a:lnTo>
                <a:cubicBezTo>
                  <a:pt x="320420" y="1405196"/>
                  <a:pt x="318892" y="1404559"/>
                  <a:pt x="317666" y="1403332"/>
                </a:cubicBezTo>
                <a:cubicBezTo>
                  <a:pt x="316439" y="1402105"/>
                  <a:pt x="315802" y="1400577"/>
                  <a:pt x="315754" y="1398748"/>
                </a:cubicBezTo>
                <a:lnTo>
                  <a:pt x="315754" y="1331064"/>
                </a:lnTo>
                <a:cubicBezTo>
                  <a:pt x="315889" y="1326829"/>
                  <a:pt x="314780" y="1323511"/>
                  <a:pt x="312427" y="1321110"/>
                </a:cubicBezTo>
                <a:cubicBezTo>
                  <a:pt x="310074" y="1318709"/>
                  <a:pt x="305665" y="1317486"/>
                  <a:pt x="299199" y="1317443"/>
                </a:cubicBezTo>
                <a:cubicBezTo>
                  <a:pt x="294554" y="1317486"/>
                  <a:pt x="290957" y="1318028"/>
                  <a:pt x="288407" y="1319067"/>
                </a:cubicBezTo>
                <a:cubicBezTo>
                  <a:pt x="285858" y="1320106"/>
                  <a:pt x="284566" y="1321381"/>
                  <a:pt x="284531" y="1322891"/>
                </a:cubicBezTo>
                <a:lnTo>
                  <a:pt x="284531" y="1398748"/>
                </a:lnTo>
                <a:cubicBezTo>
                  <a:pt x="284470" y="1400577"/>
                  <a:pt x="283806" y="1402105"/>
                  <a:pt x="282540" y="1403332"/>
                </a:cubicBezTo>
                <a:cubicBezTo>
                  <a:pt x="281274" y="1404559"/>
                  <a:pt x="279772" y="1405196"/>
                  <a:pt x="278035" y="1405244"/>
                </a:cubicBezTo>
                <a:lnTo>
                  <a:pt x="259385" y="1405244"/>
                </a:lnTo>
                <a:cubicBezTo>
                  <a:pt x="257555" y="1405196"/>
                  <a:pt x="256027" y="1404559"/>
                  <a:pt x="254801" y="1403332"/>
                </a:cubicBezTo>
                <a:cubicBezTo>
                  <a:pt x="253574" y="1402105"/>
                  <a:pt x="252937" y="1400577"/>
                  <a:pt x="252889" y="1398748"/>
                </a:cubicBezTo>
                <a:lnTo>
                  <a:pt x="252889" y="1305289"/>
                </a:lnTo>
                <a:cubicBezTo>
                  <a:pt x="252937" y="1303460"/>
                  <a:pt x="253574" y="1301932"/>
                  <a:pt x="254801" y="1300705"/>
                </a:cubicBezTo>
                <a:cubicBezTo>
                  <a:pt x="256027" y="1299478"/>
                  <a:pt x="257555" y="1298841"/>
                  <a:pt x="259385" y="1298793"/>
                </a:cubicBezTo>
                <a:lnTo>
                  <a:pt x="276149" y="1298793"/>
                </a:lnTo>
                <a:cubicBezTo>
                  <a:pt x="277886" y="1298841"/>
                  <a:pt x="279388" y="1299478"/>
                  <a:pt x="280654" y="1300705"/>
                </a:cubicBezTo>
                <a:cubicBezTo>
                  <a:pt x="281920" y="1301932"/>
                  <a:pt x="282584" y="1303460"/>
                  <a:pt x="282645" y="1305289"/>
                </a:cubicBezTo>
                <a:lnTo>
                  <a:pt x="282645" y="1306965"/>
                </a:lnTo>
                <a:cubicBezTo>
                  <a:pt x="285770" y="1303678"/>
                  <a:pt x="289473" y="1301085"/>
                  <a:pt x="293751" y="1299186"/>
                </a:cubicBezTo>
                <a:cubicBezTo>
                  <a:pt x="298029" y="1297287"/>
                  <a:pt x="303617" y="1296317"/>
                  <a:pt x="310515" y="1296278"/>
                </a:cubicBezTo>
                <a:close/>
                <a:moveTo>
                  <a:pt x="184061" y="1296278"/>
                </a:moveTo>
                <a:cubicBezTo>
                  <a:pt x="199297" y="1296505"/>
                  <a:pt x="211206" y="1301500"/>
                  <a:pt x="219789" y="1311261"/>
                </a:cubicBezTo>
                <a:cubicBezTo>
                  <a:pt x="228372" y="1321023"/>
                  <a:pt x="232738" y="1334189"/>
                  <a:pt x="232886" y="1350761"/>
                </a:cubicBezTo>
                <a:cubicBezTo>
                  <a:pt x="232965" y="1353477"/>
                  <a:pt x="232493" y="1355485"/>
                  <a:pt x="231472" y="1356786"/>
                </a:cubicBezTo>
                <a:cubicBezTo>
                  <a:pt x="230450" y="1358087"/>
                  <a:pt x="228407" y="1358733"/>
                  <a:pt x="225342" y="1358724"/>
                </a:cubicBezTo>
                <a:lnTo>
                  <a:pt x="165201" y="1358724"/>
                </a:lnTo>
                <a:cubicBezTo>
                  <a:pt x="165341" y="1367944"/>
                  <a:pt x="167629" y="1374859"/>
                  <a:pt x="172064" y="1379470"/>
                </a:cubicBezTo>
                <a:cubicBezTo>
                  <a:pt x="176500" y="1384080"/>
                  <a:pt x="182245" y="1386385"/>
                  <a:pt x="189300" y="1386385"/>
                </a:cubicBezTo>
                <a:cubicBezTo>
                  <a:pt x="194163" y="1386266"/>
                  <a:pt x="198173" y="1385433"/>
                  <a:pt x="201329" y="1383886"/>
                </a:cubicBezTo>
                <a:cubicBezTo>
                  <a:pt x="204486" y="1382339"/>
                  <a:pt x="207362" y="1380791"/>
                  <a:pt x="209960" y="1379244"/>
                </a:cubicBezTo>
                <a:cubicBezTo>
                  <a:pt x="212557" y="1377697"/>
                  <a:pt x="215449" y="1376864"/>
                  <a:pt x="218637" y="1376745"/>
                </a:cubicBezTo>
                <a:cubicBezTo>
                  <a:pt x="222024" y="1376824"/>
                  <a:pt x="224679" y="1377924"/>
                  <a:pt x="226600" y="1380046"/>
                </a:cubicBezTo>
                <a:cubicBezTo>
                  <a:pt x="228520" y="1382168"/>
                  <a:pt x="229498" y="1384839"/>
                  <a:pt x="229533" y="1388061"/>
                </a:cubicBezTo>
                <a:cubicBezTo>
                  <a:pt x="229420" y="1393741"/>
                  <a:pt x="225822" y="1398412"/>
                  <a:pt x="218741" y="1402075"/>
                </a:cubicBezTo>
                <a:cubicBezTo>
                  <a:pt x="211660" y="1405737"/>
                  <a:pt x="201777" y="1407632"/>
                  <a:pt x="189090" y="1407759"/>
                </a:cubicBezTo>
                <a:cubicBezTo>
                  <a:pt x="171191" y="1407654"/>
                  <a:pt x="157483" y="1402834"/>
                  <a:pt x="147966" y="1393300"/>
                </a:cubicBezTo>
                <a:cubicBezTo>
                  <a:pt x="138449" y="1383765"/>
                  <a:pt x="133647" y="1370145"/>
                  <a:pt x="133559" y="1352438"/>
                </a:cubicBezTo>
                <a:cubicBezTo>
                  <a:pt x="133791" y="1334696"/>
                  <a:pt x="138462" y="1320935"/>
                  <a:pt x="147573" y="1311156"/>
                </a:cubicBezTo>
                <a:cubicBezTo>
                  <a:pt x="156684" y="1301377"/>
                  <a:pt x="168847" y="1296418"/>
                  <a:pt x="184061" y="1296278"/>
                </a:cubicBezTo>
                <a:close/>
                <a:moveTo>
                  <a:pt x="43167" y="1282867"/>
                </a:moveTo>
                <a:lnTo>
                  <a:pt x="43167" y="1319119"/>
                </a:lnTo>
                <a:lnTo>
                  <a:pt x="58255" y="1319119"/>
                </a:lnTo>
                <a:cubicBezTo>
                  <a:pt x="66296" y="1318883"/>
                  <a:pt x="71902" y="1316788"/>
                  <a:pt x="75071" y="1312833"/>
                </a:cubicBezTo>
                <a:cubicBezTo>
                  <a:pt x="78241" y="1308877"/>
                  <a:pt x="79760" y="1304477"/>
                  <a:pt x="79629" y="1299631"/>
                </a:cubicBezTo>
                <a:cubicBezTo>
                  <a:pt x="79769" y="1294715"/>
                  <a:pt x="78179" y="1290716"/>
                  <a:pt x="74862" y="1287634"/>
                </a:cubicBezTo>
                <a:cubicBezTo>
                  <a:pt x="71544" y="1284552"/>
                  <a:pt x="65659" y="1282963"/>
                  <a:pt x="57207" y="1282867"/>
                </a:cubicBezTo>
                <a:close/>
                <a:moveTo>
                  <a:pt x="635260" y="1271342"/>
                </a:moveTo>
                <a:lnTo>
                  <a:pt x="653910" y="1271342"/>
                </a:lnTo>
                <a:cubicBezTo>
                  <a:pt x="655648" y="1271390"/>
                  <a:pt x="657149" y="1272027"/>
                  <a:pt x="658415" y="1273254"/>
                </a:cubicBezTo>
                <a:cubicBezTo>
                  <a:pt x="659682" y="1274481"/>
                  <a:pt x="660345" y="1276009"/>
                  <a:pt x="660406" y="1277838"/>
                </a:cubicBezTo>
                <a:lnTo>
                  <a:pt x="660406" y="1298793"/>
                </a:lnTo>
                <a:lnTo>
                  <a:pt x="674236" y="1298793"/>
                </a:lnTo>
                <a:cubicBezTo>
                  <a:pt x="676066" y="1298854"/>
                  <a:pt x="677594" y="1299518"/>
                  <a:pt x="678820" y="1300784"/>
                </a:cubicBezTo>
                <a:cubicBezTo>
                  <a:pt x="680047" y="1302050"/>
                  <a:pt x="680685" y="1303551"/>
                  <a:pt x="680733" y="1305289"/>
                </a:cubicBezTo>
                <a:lnTo>
                  <a:pt x="680733" y="1313461"/>
                </a:lnTo>
                <a:cubicBezTo>
                  <a:pt x="680685" y="1315291"/>
                  <a:pt x="680047" y="1316818"/>
                  <a:pt x="678820" y="1318045"/>
                </a:cubicBezTo>
                <a:cubicBezTo>
                  <a:pt x="677594" y="1319272"/>
                  <a:pt x="676066" y="1319909"/>
                  <a:pt x="674236" y="1319957"/>
                </a:cubicBezTo>
                <a:lnTo>
                  <a:pt x="660406" y="1319957"/>
                </a:lnTo>
                <a:lnTo>
                  <a:pt x="660406" y="1378212"/>
                </a:lnTo>
                <a:cubicBezTo>
                  <a:pt x="660393" y="1380417"/>
                  <a:pt x="660995" y="1382085"/>
                  <a:pt x="662213" y="1383215"/>
                </a:cubicBezTo>
                <a:cubicBezTo>
                  <a:pt x="663432" y="1384346"/>
                  <a:pt x="665344" y="1384913"/>
                  <a:pt x="667950" y="1384918"/>
                </a:cubicBezTo>
                <a:cubicBezTo>
                  <a:pt x="668893" y="1384883"/>
                  <a:pt x="670150" y="1384743"/>
                  <a:pt x="671722" y="1384499"/>
                </a:cubicBezTo>
                <a:cubicBezTo>
                  <a:pt x="673293" y="1384254"/>
                  <a:pt x="674551" y="1384115"/>
                  <a:pt x="675494" y="1384080"/>
                </a:cubicBezTo>
                <a:cubicBezTo>
                  <a:pt x="677271" y="1384123"/>
                  <a:pt x="678589" y="1384717"/>
                  <a:pt x="679449" y="1385861"/>
                </a:cubicBezTo>
                <a:cubicBezTo>
                  <a:pt x="680309" y="1387005"/>
                  <a:pt x="680737" y="1388436"/>
                  <a:pt x="680733" y="1390157"/>
                </a:cubicBezTo>
                <a:lnTo>
                  <a:pt x="680733" y="1398748"/>
                </a:lnTo>
                <a:cubicBezTo>
                  <a:pt x="680750" y="1400420"/>
                  <a:pt x="680348" y="1401791"/>
                  <a:pt x="679528" y="1402861"/>
                </a:cubicBezTo>
                <a:cubicBezTo>
                  <a:pt x="678707" y="1403930"/>
                  <a:pt x="677362" y="1404725"/>
                  <a:pt x="675494" y="1405244"/>
                </a:cubicBezTo>
                <a:cubicBezTo>
                  <a:pt x="673817" y="1405755"/>
                  <a:pt x="671617" y="1406095"/>
                  <a:pt x="668893" y="1406266"/>
                </a:cubicBezTo>
                <a:cubicBezTo>
                  <a:pt x="666169" y="1406436"/>
                  <a:pt x="662921" y="1406515"/>
                  <a:pt x="659149" y="1406502"/>
                </a:cubicBezTo>
                <a:cubicBezTo>
                  <a:pt x="649632" y="1406742"/>
                  <a:pt x="642210" y="1404637"/>
                  <a:pt x="636884" y="1400189"/>
                </a:cubicBezTo>
                <a:cubicBezTo>
                  <a:pt x="631558" y="1395740"/>
                  <a:pt x="628851" y="1387507"/>
                  <a:pt x="628764" y="1375488"/>
                </a:cubicBezTo>
                <a:lnTo>
                  <a:pt x="628764" y="1319957"/>
                </a:lnTo>
                <a:lnTo>
                  <a:pt x="619963" y="1319957"/>
                </a:lnTo>
                <a:cubicBezTo>
                  <a:pt x="618134" y="1319909"/>
                  <a:pt x="616606" y="1319272"/>
                  <a:pt x="615379" y="1318045"/>
                </a:cubicBezTo>
                <a:cubicBezTo>
                  <a:pt x="614152" y="1316818"/>
                  <a:pt x="613515" y="1315291"/>
                  <a:pt x="613467" y="1313461"/>
                </a:cubicBezTo>
                <a:lnTo>
                  <a:pt x="613467" y="1305289"/>
                </a:lnTo>
                <a:cubicBezTo>
                  <a:pt x="613515" y="1303551"/>
                  <a:pt x="614152" y="1302050"/>
                  <a:pt x="615379" y="1300784"/>
                </a:cubicBezTo>
                <a:cubicBezTo>
                  <a:pt x="616606" y="1299518"/>
                  <a:pt x="618134" y="1298854"/>
                  <a:pt x="619963" y="1298793"/>
                </a:cubicBezTo>
                <a:lnTo>
                  <a:pt x="628764" y="1298793"/>
                </a:lnTo>
                <a:lnTo>
                  <a:pt x="628764" y="1277838"/>
                </a:lnTo>
                <a:cubicBezTo>
                  <a:pt x="628812" y="1276009"/>
                  <a:pt x="629450" y="1274481"/>
                  <a:pt x="630676" y="1273254"/>
                </a:cubicBezTo>
                <a:cubicBezTo>
                  <a:pt x="631903" y="1272027"/>
                  <a:pt x="633431" y="1271390"/>
                  <a:pt x="635260" y="1271342"/>
                </a:cubicBezTo>
                <a:close/>
                <a:moveTo>
                  <a:pt x="1139037" y="1260026"/>
                </a:moveTo>
                <a:lnTo>
                  <a:pt x="1160202" y="1260026"/>
                </a:lnTo>
                <a:cubicBezTo>
                  <a:pt x="1161848" y="1260048"/>
                  <a:pt x="1163114" y="1260371"/>
                  <a:pt x="1164000" y="1260995"/>
                </a:cubicBezTo>
                <a:cubicBezTo>
                  <a:pt x="1164886" y="1261620"/>
                  <a:pt x="1165576" y="1262414"/>
                  <a:pt x="1166069" y="1263379"/>
                </a:cubicBezTo>
                <a:lnTo>
                  <a:pt x="1219714" y="1351390"/>
                </a:lnTo>
                <a:lnTo>
                  <a:pt x="1220133" y="1351390"/>
                </a:lnTo>
                <a:lnTo>
                  <a:pt x="1220133" y="1266522"/>
                </a:lnTo>
                <a:cubicBezTo>
                  <a:pt x="1220194" y="1264693"/>
                  <a:pt x="1220858" y="1263165"/>
                  <a:pt x="1222124" y="1261938"/>
                </a:cubicBezTo>
                <a:cubicBezTo>
                  <a:pt x="1223390" y="1260711"/>
                  <a:pt x="1224892" y="1260074"/>
                  <a:pt x="1226629" y="1260026"/>
                </a:cubicBezTo>
                <a:lnTo>
                  <a:pt x="1243393" y="1260026"/>
                </a:lnTo>
                <a:cubicBezTo>
                  <a:pt x="1245223" y="1260074"/>
                  <a:pt x="1246751" y="1260711"/>
                  <a:pt x="1247977" y="1261938"/>
                </a:cubicBezTo>
                <a:cubicBezTo>
                  <a:pt x="1249204" y="1263165"/>
                  <a:pt x="1249841" y="1264693"/>
                  <a:pt x="1249889" y="1266522"/>
                </a:cubicBezTo>
                <a:lnTo>
                  <a:pt x="1249889" y="1398748"/>
                </a:lnTo>
                <a:cubicBezTo>
                  <a:pt x="1249841" y="1400577"/>
                  <a:pt x="1249204" y="1402105"/>
                  <a:pt x="1247977" y="1403332"/>
                </a:cubicBezTo>
                <a:cubicBezTo>
                  <a:pt x="1246751" y="1404559"/>
                  <a:pt x="1245223" y="1405196"/>
                  <a:pt x="1243393" y="1405244"/>
                </a:cubicBezTo>
                <a:lnTo>
                  <a:pt x="1222229" y="1405244"/>
                </a:lnTo>
                <a:cubicBezTo>
                  <a:pt x="1220583" y="1405222"/>
                  <a:pt x="1219317" y="1404899"/>
                  <a:pt x="1218431" y="1404275"/>
                </a:cubicBezTo>
                <a:cubicBezTo>
                  <a:pt x="1217545" y="1403651"/>
                  <a:pt x="1216855" y="1402856"/>
                  <a:pt x="1216361" y="1401891"/>
                </a:cubicBezTo>
                <a:lnTo>
                  <a:pt x="1162926" y="1314928"/>
                </a:lnTo>
                <a:lnTo>
                  <a:pt x="1162297" y="1314928"/>
                </a:lnTo>
                <a:lnTo>
                  <a:pt x="1162297" y="1398748"/>
                </a:lnTo>
                <a:cubicBezTo>
                  <a:pt x="1162236" y="1400577"/>
                  <a:pt x="1161573" y="1402105"/>
                  <a:pt x="1160307" y="1403332"/>
                </a:cubicBezTo>
                <a:cubicBezTo>
                  <a:pt x="1159041" y="1404559"/>
                  <a:pt x="1157539" y="1405196"/>
                  <a:pt x="1155801" y="1405244"/>
                </a:cubicBezTo>
                <a:lnTo>
                  <a:pt x="1139037" y="1405244"/>
                </a:lnTo>
                <a:cubicBezTo>
                  <a:pt x="1137208" y="1405196"/>
                  <a:pt x="1135680" y="1404559"/>
                  <a:pt x="1134453" y="1403332"/>
                </a:cubicBezTo>
                <a:cubicBezTo>
                  <a:pt x="1133227" y="1402105"/>
                  <a:pt x="1132589" y="1400577"/>
                  <a:pt x="1132541" y="1398748"/>
                </a:cubicBezTo>
                <a:lnTo>
                  <a:pt x="1132541" y="1266522"/>
                </a:lnTo>
                <a:cubicBezTo>
                  <a:pt x="1132589" y="1264693"/>
                  <a:pt x="1133227" y="1263165"/>
                  <a:pt x="1134453" y="1261938"/>
                </a:cubicBezTo>
                <a:cubicBezTo>
                  <a:pt x="1135680" y="1260711"/>
                  <a:pt x="1137208" y="1260074"/>
                  <a:pt x="1139037" y="1260026"/>
                </a:cubicBezTo>
                <a:close/>
                <a:moveTo>
                  <a:pt x="15087" y="1260026"/>
                </a:moveTo>
                <a:lnTo>
                  <a:pt x="60560" y="1260026"/>
                </a:lnTo>
                <a:cubicBezTo>
                  <a:pt x="78385" y="1260266"/>
                  <a:pt x="91455" y="1263872"/>
                  <a:pt x="99772" y="1270844"/>
                </a:cubicBezTo>
                <a:cubicBezTo>
                  <a:pt x="108088" y="1277816"/>
                  <a:pt x="112201" y="1286713"/>
                  <a:pt x="112109" y="1297536"/>
                </a:cubicBezTo>
                <a:cubicBezTo>
                  <a:pt x="111961" y="1304721"/>
                  <a:pt x="110057" y="1310624"/>
                  <a:pt x="106399" y="1315242"/>
                </a:cubicBezTo>
                <a:cubicBezTo>
                  <a:pt x="102740" y="1319861"/>
                  <a:pt x="98218" y="1323459"/>
                  <a:pt x="92830" y="1326034"/>
                </a:cubicBezTo>
                <a:lnTo>
                  <a:pt x="92830" y="1326453"/>
                </a:lnTo>
                <a:cubicBezTo>
                  <a:pt x="102007" y="1329405"/>
                  <a:pt x="108748" y="1334032"/>
                  <a:pt x="113052" y="1340336"/>
                </a:cubicBezTo>
                <a:cubicBezTo>
                  <a:pt x="117357" y="1346640"/>
                  <a:pt x="119487" y="1353887"/>
                  <a:pt x="119443" y="1362077"/>
                </a:cubicBezTo>
                <a:cubicBezTo>
                  <a:pt x="119347" y="1374602"/>
                  <a:pt x="114301" y="1384861"/>
                  <a:pt x="104303" y="1392855"/>
                </a:cubicBezTo>
                <a:cubicBezTo>
                  <a:pt x="94306" y="1400848"/>
                  <a:pt x="79934" y="1404978"/>
                  <a:pt x="61188" y="1405244"/>
                </a:cubicBezTo>
                <a:lnTo>
                  <a:pt x="15087" y="1405244"/>
                </a:lnTo>
                <a:cubicBezTo>
                  <a:pt x="13258" y="1405196"/>
                  <a:pt x="11730" y="1404559"/>
                  <a:pt x="10504" y="1403332"/>
                </a:cubicBezTo>
                <a:cubicBezTo>
                  <a:pt x="9277" y="1402105"/>
                  <a:pt x="8639" y="1400577"/>
                  <a:pt x="8591" y="1398748"/>
                </a:cubicBezTo>
                <a:lnTo>
                  <a:pt x="8591" y="1266522"/>
                </a:lnTo>
                <a:cubicBezTo>
                  <a:pt x="8639" y="1264693"/>
                  <a:pt x="9277" y="1263165"/>
                  <a:pt x="10504" y="1261938"/>
                </a:cubicBezTo>
                <a:cubicBezTo>
                  <a:pt x="11730" y="1260711"/>
                  <a:pt x="13258" y="1260074"/>
                  <a:pt x="15087" y="1260026"/>
                </a:cubicBezTo>
                <a:close/>
                <a:moveTo>
                  <a:pt x="2227821" y="1257931"/>
                </a:moveTo>
                <a:cubicBezTo>
                  <a:pt x="2233073" y="1258048"/>
                  <a:pt x="2237395" y="1259908"/>
                  <a:pt x="2240787" y="1263510"/>
                </a:cubicBezTo>
                <a:cubicBezTo>
                  <a:pt x="2244179" y="1267111"/>
                  <a:pt x="2245934" y="1271748"/>
                  <a:pt x="2246052" y="1277419"/>
                </a:cubicBezTo>
                <a:cubicBezTo>
                  <a:pt x="2245912" y="1284565"/>
                  <a:pt x="2244253" y="1291908"/>
                  <a:pt x="2241075" y="1299448"/>
                </a:cubicBezTo>
                <a:cubicBezTo>
                  <a:pt x="2237897" y="1306987"/>
                  <a:pt x="2234038" y="1313963"/>
                  <a:pt x="2229497" y="1320376"/>
                </a:cubicBezTo>
                <a:cubicBezTo>
                  <a:pt x="2227878" y="1322638"/>
                  <a:pt x="2226402" y="1324192"/>
                  <a:pt x="2225071" y="1325039"/>
                </a:cubicBezTo>
                <a:cubicBezTo>
                  <a:pt x="2223739" y="1325886"/>
                  <a:pt x="2222211" y="1326288"/>
                  <a:pt x="2220487" y="1326244"/>
                </a:cubicBezTo>
                <a:cubicBezTo>
                  <a:pt x="2218313" y="1326205"/>
                  <a:pt x="2216427" y="1325497"/>
                  <a:pt x="2214829" y="1324122"/>
                </a:cubicBezTo>
                <a:cubicBezTo>
                  <a:pt x="2213231" y="1322747"/>
                  <a:pt x="2212393" y="1320940"/>
                  <a:pt x="2212314" y="1318700"/>
                </a:cubicBezTo>
                <a:cubicBezTo>
                  <a:pt x="2212550" y="1315321"/>
                  <a:pt x="2213860" y="1311654"/>
                  <a:pt x="2216243" y="1307699"/>
                </a:cubicBezTo>
                <a:cubicBezTo>
                  <a:pt x="2218627" y="1303743"/>
                  <a:pt x="2220670" y="1299029"/>
                  <a:pt x="2222373" y="1293554"/>
                </a:cubicBezTo>
                <a:cubicBezTo>
                  <a:pt x="2218549" y="1292105"/>
                  <a:pt x="2215510" y="1289974"/>
                  <a:pt x="2213257" y="1287163"/>
                </a:cubicBezTo>
                <a:cubicBezTo>
                  <a:pt x="2211005" y="1284351"/>
                  <a:pt x="2209852" y="1280754"/>
                  <a:pt x="2209800" y="1276371"/>
                </a:cubicBezTo>
                <a:cubicBezTo>
                  <a:pt x="2209922" y="1271202"/>
                  <a:pt x="2211668" y="1266871"/>
                  <a:pt x="2215039" y="1263379"/>
                </a:cubicBezTo>
                <a:cubicBezTo>
                  <a:pt x="2218409" y="1259886"/>
                  <a:pt x="2222669" y="1258070"/>
                  <a:pt x="2227821" y="1257931"/>
                </a:cubicBezTo>
                <a:close/>
                <a:moveTo>
                  <a:pt x="865251" y="1257302"/>
                </a:moveTo>
                <a:cubicBezTo>
                  <a:pt x="871572" y="1257267"/>
                  <a:pt x="876322" y="1257756"/>
                  <a:pt x="879500" y="1258769"/>
                </a:cubicBezTo>
                <a:cubicBezTo>
                  <a:pt x="881770" y="1259498"/>
                  <a:pt x="883359" y="1260502"/>
                  <a:pt x="884267" y="1261781"/>
                </a:cubicBezTo>
                <a:cubicBezTo>
                  <a:pt x="885175" y="1263060"/>
                  <a:pt x="885612" y="1264641"/>
                  <a:pt x="885577" y="1266522"/>
                </a:cubicBezTo>
                <a:lnTo>
                  <a:pt x="885577" y="1274066"/>
                </a:lnTo>
                <a:cubicBezTo>
                  <a:pt x="885586" y="1275786"/>
                  <a:pt x="885149" y="1277218"/>
                  <a:pt x="884267" y="1278362"/>
                </a:cubicBezTo>
                <a:cubicBezTo>
                  <a:pt x="883386" y="1279505"/>
                  <a:pt x="882006" y="1280099"/>
                  <a:pt x="880129" y="1280143"/>
                </a:cubicBezTo>
                <a:cubicBezTo>
                  <a:pt x="878719" y="1280090"/>
                  <a:pt x="876719" y="1279881"/>
                  <a:pt x="874131" y="1279514"/>
                </a:cubicBezTo>
                <a:cubicBezTo>
                  <a:pt x="871542" y="1279148"/>
                  <a:pt x="869280" y="1278938"/>
                  <a:pt x="867346" y="1278885"/>
                </a:cubicBezTo>
                <a:cubicBezTo>
                  <a:pt x="864766" y="1278899"/>
                  <a:pt x="862959" y="1279606"/>
                  <a:pt x="861924" y="1281007"/>
                </a:cubicBezTo>
                <a:cubicBezTo>
                  <a:pt x="860890" y="1282409"/>
                  <a:pt x="860392" y="1284426"/>
                  <a:pt x="860431" y="1287058"/>
                </a:cubicBezTo>
                <a:lnTo>
                  <a:pt x="860431" y="1298793"/>
                </a:lnTo>
                <a:lnTo>
                  <a:pt x="874261" y="1298793"/>
                </a:lnTo>
                <a:cubicBezTo>
                  <a:pt x="876091" y="1298841"/>
                  <a:pt x="877619" y="1299478"/>
                  <a:pt x="878845" y="1300705"/>
                </a:cubicBezTo>
                <a:cubicBezTo>
                  <a:pt x="880072" y="1301932"/>
                  <a:pt x="880710" y="1303460"/>
                  <a:pt x="880757" y="1305289"/>
                </a:cubicBezTo>
                <a:lnTo>
                  <a:pt x="880757" y="1313461"/>
                </a:lnTo>
                <a:cubicBezTo>
                  <a:pt x="880710" y="1315199"/>
                  <a:pt x="880072" y="1316701"/>
                  <a:pt x="878845" y="1317967"/>
                </a:cubicBezTo>
                <a:cubicBezTo>
                  <a:pt x="877619" y="1319233"/>
                  <a:pt x="876091" y="1319896"/>
                  <a:pt x="874261" y="1319957"/>
                </a:cubicBezTo>
                <a:lnTo>
                  <a:pt x="860431" y="1319957"/>
                </a:lnTo>
                <a:lnTo>
                  <a:pt x="860431" y="1398748"/>
                </a:lnTo>
                <a:cubicBezTo>
                  <a:pt x="860370" y="1400577"/>
                  <a:pt x="859707" y="1402105"/>
                  <a:pt x="858441" y="1403332"/>
                </a:cubicBezTo>
                <a:cubicBezTo>
                  <a:pt x="857175" y="1404559"/>
                  <a:pt x="855673" y="1405196"/>
                  <a:pt x="853935" y="1405244"/>
                </a:cubicBezTo>
                <a:lnTo>
                  <a:pt x="835285" y="1405244"/>
                </a:lnTo>
                <a:cubicBezTo>
                  <a:pt x="833456" y="1405196"/>
                  <a:pt x="831928" y="1404559"/>
                  <a:pt x="830701" y="1403332"/>
                </a:cubicBezTo>
                <a:cubicBezTo>
                  <a:pt x="829475" y="1402105"/>
                  <a:pt x="828837" y="1400577"/>
                  <a:pt x="828789" y="1398748"/>
                </a:cubicBezTo>
                <a:lnTo>
                  <a:pt x="828789" y="1319957"/>
                </a:lnTo>
                <a:lnTo>
                  <a:pt x="819988" y="1319957"/>
                </a:lnTo>
                <a:cubicBezTo>
                  <a:pt x="818159" y="1319896"/>
                  <a:pt x="816631" y="1319233"/>
                  <a:pt x="815404" y="1317967"/>
                </a:cubicBezTo>
                <a:cubicBezTo>
                  <a:pt x="814177" y="1316701"/>
                  <a:pt x="813540" y="1315199"/>
                  <a:pt x="813492" y="1313461"/>
                </a:cubicBezTo>
                <a:lnTo>
                  <a:pt x="813492" y="1305289"/>
                </a:lnTo>
                <a:cubicBezTo>
                  <a:pt x="813540" y="1303460"/>
                  <a:pt x="814177" y="1301932"/>
                  <a:pt x="815404" y="1300705"/>
                </a:cubicBezTo>
                <a:cubicBezTo>
                  <a:pt x="816631" y="1299478"/>
                  <a:pt x="818159" y="1298841"/>
                  <a:pt x="819988" y="1298793"/>
                </a:cubicBezTo>
                <a:lnTo>
                  <a:pt x="828789" y="1298793"/>
                </a:lnTo>
                <a:lnTo>
                  <a:pt x="828789" y="1288315"/>
                </a:lnTo>
                <a:cubicBezTo>
                  <a:pt x="828658" y="1277580"/>
                  <a:pt x="831435" y="1269713"/>
                  <a:pt x="837119" y="1264715"/>
                </a:cubicBezTo>
                <a:cubicBezTo>
                  <a:pt x="842803" y="1259716"/>
                  <a:pt x="852180" y="1257245"/>
                  <a:pt x="865251" y="1257302"/>
                </a:cubicBezTo>
                <a:close/>
                <a:moveTo>
                  <a:pt x="582930" y="1257302"/>
                </a:moveTo>
                <a:cubicBezTo>
                  <a:pt x="587880" y="1257398"/>
                  <a:pt x="592019" y="1258987"/>
                  <a:pt x="595346" y="1262069"/>
                </a:cubicBezTo>
                <a:cubicBezTo>
                  <a:pt x="598672" y="1265151"/>
                  <a:pt x="600401" y="1269150"/>
                  <a:pt x="600532" y="1274066"/>
                </a:cubicBezTo>
                <a:cubicBezTo>
                  <a:pt x="600401" y="1278982"/>
                  <a:pt x="598672" y="1282980"/>
                  <a:pt x="595346" y="1286063"/>
                </a:cubicBezTo>
                <a:cubicBezTo>
                  <a:pt x="592019" y="1289145"/>
                  <a:pt x="587880" y="1290734"/>
                  <a:pt x="582930" y="1290830"/>
                </a:cubicBezTo>
                <a:cubicBezTo>
                  <a:pt x="577988" y="1290734"/>
                  <a:pt x="573884" y="1289145"/>
                  <a:pt x="570619" y="1286063"/>
                </a:cubicBezTo>
                <a:cubicBezTo>
                  <a:pt x="567353" y="1282980"/>
                  <a:pt x="565659" y="1278982"/>
                  <a:pt x="565537" y="1274066"/>
                </a:cubicBezTo>
                <a:cubicBezTo>
                  <a:pt x="565659" y="1269150"/>
                  <a:pt x="567353" y="1265151"/>
                  <a:pt x="570619" y="1262069"/>
                </a:cubicBezTo>
                <a:cubicBezTo>
                  <a:pt x="573884" y="1258987"/>
                  <a:pt x="577988" y="1257398"/>
                  <a:pt x="582930" y="1257302"/>
                </a:cubicBezTo>
                <a:close/>
                <a:moveTo>
                  <a:pt x="531876" y="1257302"/>
                </a:moveTo>
                <a:cubicBezTo>
                  <a:pt x="538197" y="1257267"/>
                  <a:pt x="542947" y="1257756"/>
                  <a:pt x="546125" y="1258769"/>
                </a:cubicBezTo>
                <a:cubicBezTo>
                  <a:pt x="548395" y="1259498"/>
                  <a:pt x="549984" y="1260502"/>
                  <a:pt x="550893" y="1261781"/>
                </a:cubicBezTo>
                <a:cubicBezTo>
                  <a:pt x="551801" y="1263060"/>
                  <a:pt x="552237" y="1264641"/>
                  <a:pt x="552202" y="1266522"/>
                </a:cubicBezTo>
                <a:lnTo>
                  <a:pt x="552202" y="1274066"/>
                </a:lnTo>
                <a:cubicBezTo>
                  <a:pt x="552211" y="1275786"/>
                  <a:pt x="551774" y="1277218"/>
                  <a:pt x="550893" y="1278362"/>
                </a:cubicBezTo>
                <a:cubicBezTo>
                  <a:pt x="550011" y="1279505"/>
                  <a:pt x="548631" y="1280099"/>
                  <a:pt x="546754" y="1280143"/>
                </a:cubicBezTo>
                <a:cubicBezTo>
                  <a:pt x="545344" y="1280090"/>
                  <a:pt x="543344" y="1279881"/>
                  <a:pt x="540755" y="1279514"/>
                </a:cubicBezTo>
                <a:cubicBezTo>
                  <a:pt x="538167" y="1279148"/>
                  <a:pt x="535905" y="1278938"/>
                  <a:pt x="533971" y="1278885"/>
                </a:cubicBezTo>
                <a:cubicBezTo>
                  <a:pt x="531391" y="1278899"/>
                  <a:pt x="529584" y="1279606"/>
                  <a:pt x="528549" y="1281007"/>
                </a:cubicBezTo>
                <a:cubicBezTo>
                  <a:pt x="527515" y="1282409"/>
                  <a:pt x="527017" y="1284426"/>
                  <a:pt x="527056" y="1287058"/>
                </a:cubicBezTo>
                <a:lnTo>
                  <a:pt x="527056" y="1298793"/>
                </a:lnTo>
                <a:lnTo>
                  <a:pt x="540887" y="1298793"/>
                </a:lnTo>
                <a:cubicBezTo>
                  <a:pt x="542716" y="1298841"/>
                  <a:pt x="544244" y="1299478"/>
                  <a:pt x="545470" y="1300705"/>
                </a:cubicBezTo>
                <a:cubicBezTo>
                  <a:pt x="546697" y="1301932"/>
                  <a:pt x="547335" y="1303460"/>
                  <a:pt x="547383" y="1305289"/>
                </a:cubicBezTo>
                <a:lnTo>
                  <a:pt x="547383" y="1313461"/>
                </a:lnTo>
                <a:cubicBezTo>
                  <a:pt x="547335" y="1315199"/>
                  <a:pt x="546697" y="1316701"/>
                  <a:pt x="545470" y="1317967"/>
                </a:cubicBezTo>
                <a:cubicBezTo>
                  <a:pt x="544244" y="1319233"/>
                  <a:pt x="542716" y="1319896"/>
                  <a:pt x="540887" y="1319957"/>
                </a:cubicBezTo>
                <a:lnTo>
                  <a:pt x="527056" y="1319957"/>
                </a:lnTo>
                <a:lnTo>
                  <a:pt x="527056" y="1398748"/>
                </a:lnTo>
                <a:cubicBezTo>
                  <a:pt x="526995" y="1400577"/>
                  <a:pt x="526331" y="1402105"/>
                  <a:pt x="525065" y="1403332"/>
                </a:cubicBezTo>
                <a:cubicBezTo>
                  <a:pt x="523799" y="1404559"/>
                  <a:pt x="522298" y="1405196"/>
                  <a:pt x="520560" y="1405244"/>
                </a:cubicBezTo>
                <a:lnTo>
                  <a:pt x="501910" y="1405244"/>
                </a:lnTo>
                <a:cubicBezTo>
                  <a:pt x="500081" y="1405196"/>
                  <a:pt x="498553" y="1404559"/>
                  <a:pt x="497326" y="1403332"/>
                </a:cubicBezTo>
                <a:cubicBezTo>
                  <a:pt x="496100" y="1402105"/>
                  <a:pt x="495462" y="1400577"/>
                  <a:pt x="495414" y="1398748"/>
                </a:cubicBezTo>
                <a:lnTo>
                  <a:pt x="495414" y="1319957"/>
                </a:lnTo>
                <a:lnTo>
                  <a:pt x="486613" y="1319957"/>
                </a:lnTo>
                <a:cubicBezTo>
                  <a:pt x="484784" y="1319896"/>
                  <a:pt x="483256" y="1319233"/>
                  <a:pt x="482029" y="1317967"/>
                </a:cubicBezTo>
                <a:cubicBezTo>
                  <a:pt x="480802" y="1316701"/>
                  <a:pt x="480165" y="1315199"/>
                  <a:pt x="480117" y="1313461"/>
                </a:cubicBezTo>
                <a:lnTo>
                  <a:pt x="480117" y="1305289"/>
                </a:lnTo>
                <a:cubicBezTo>
                  <a:pt x="480165" y="1303460"/>
                  <a:pt x="480802" y="1301932"/>
                  <a:pt x="482029" y="1300705"/>
                </a:cubicBezTo>
                <a:cubicBezTo>
                  <a:pt x="483256" y="1299478"/>
                  <a:pt x="484784" y="1298841"/>
                  <a:pt x="486613" y="1298793"/>
                </a:cubicBezTo>
                <a:lnTo>
                  <a:pt x="495414" y="1298793"/>
                </a:lnTo>
                <a:lnTo>
                  <a:pt x="495414" y="1288315"/>
                </a:lnTo>
                <a:cubicBezTo>
                  <a:pt x="495283" y="1277580"/>
                  <a:pt x="498060" y="1269713"/>
                  <a:pt x="503744" y="1264715"/>
                </a:cubicBezTo>
                <a:cubicBezTo>
                  <a:pt x="509428" y="1259716"/>
                  <a:pt x="518805" y="1257245"/>
                  <a:pt x="531876" y="1257302"/>
                </a:cubicBezTo>
                <a:close/>
                <a:moveTo>
                  <a:pt x="34576" y="830639"/>
                </a:moveTo>
                <a:lnTo>
                  <a:pt x="34576" y="887846"/>
                </a:lnTo>
                <a:lnTo>
                  <a:pt x="69570" y="887846"/>
                </a:lnTo>
                <a:cubicBezTo>
                  <a:pt x="79048" y="887724"/>
                  <a:pt x="86653" y="885087"/>
                  <a:pt x="92385" y="879936"/>
                </a:cubicBezTo>
                <a:cubicBezTo>
                  <a:pt x="98117" y="874784"/>
                  <a:pt x="101060" y="867852"/>
                  <a:pt x="101212" y="859138"/>
                </a:cubicBezTo>
                <a:cubicBezTo>
                  <a:pt x="100968" y="850433"/>
                  <a:pt x="97842" y="843535"/>
                  <a:pt x="91835" y="838445"/>
                </a:cubicBezTo>
                <a:cubicBezTo>
                  <a:pt x="85828" y="833354"/>
                  <a:pt x="78406" y="830752"/>
                  <a:pt x="69570" y="830639"/>
                </a:cubicBezTo>
                <a:close/>
                <a:moveTo>
                  <a:pt x="888073" y="804445"/>
                </a:moveTo>
                <a:cubicBezTo>
                  <a:pt x="879184" y="804768"/>
                  <a:pt x="872077" y="808208"/>
                  <a:pt x="866751" y="814766"/>
                </a:cubicBezTo>
                <a:cubicBezTo>
                  <a:pt x="861425" y="821323"/>
                  <a:pt x="858404" y="829059"/>
                  <a:pt x="857688" y="837973"/>
                </a:cubicBezTo>
                <a:lnTo>
                  <a:pt x="915314" y="837973"/>
                </a:lnTo>
                <a:cubicBezTo>
                  <a:pt x="915161" y="827500"/>
                  <a:pt x="912586" y="819319"/>
                  <a:pt x="907587" y="813430"/>
                </a:cubicBezTo>
                <a:cubicBezTo>
                  <a:pt x="902588" y="807541"/>
                  <a:pt x="896084" y="804546"/>
                  <a:pt x="888073" y="804445"/>
                </a:cubicBezTo>
                <a:close/>
                <a:moveTo>
                  <a:pt x="459448" y="804445"/>
                </a:moveTo>
                <a:cubicBezTo>
                  <a:pt x="450559" y="804768"/>
                  <a:pt x="443452" y="808208"/>
                  <a:pt x="438126" y="814766"/>
                </a:cubicBezTo>
                <a:cubicBezTo>
                  <a:pt x="432800" y="821323"/>
                  <a:pt x="429779" y="829059"/>
                  <a:pt x="429063" y="837973"/>
                </a:cubicBezTo>
                <a:lnTo>
                  <a:pt x="486689" y="837973"/>
                </a:lnTo>
                <a:cubicBezTo>
                  <a:pt x="486536" y="827500"/>
                  <a:pt x="483961" y="819319"/>
                  <a:pt x="478962" y="813430"/>
                </a:cubicBezTo>
                <a:cubicBezTo>
                  <a:pt x="473963" y="807541"/>
                  <a:pt x="467459" y="804546"/>
                  <a:pt x="459448" y="804445"/>
                </a:cubicBezTo>
                <a:close/>
                <a:moveTo>
                  <a:pt x="192748" y="804445"/>
                </a:moveTo>
                <a:cubicBezTo>
                  <a:pt x="183859" y="804768"/>
                  <a:pt x="176752" y="808208"/>
                  <a:pt x="171426" y="814766"/>
                </a:cubicBezTo>
                <a:cubicBezTo>
                  <a:pt x="166100" y="821323"/>
                  <a:pt x="163079" y="829059"/>
                  <a:pt x="162363" y="837973"/>
                </a:cubicBezTo>
                <a:lnTo>
                  <a:pt x="219989" y="837973"/>
                </a:lnTo>
                <a:cubicBezTo>
                  <a:pt x="219836" y="827500"/>
                  <a:pt x="217261" y="819319"/>
                  <a:pt x="212262" y="813430"/>
                </a:cubicBezTo>
                <a:cubicBezTo>
                  <a:pt x="207263" y="807541"/>
                  <a:pt x="200759" y="804546"/>
                  <a:pt x="192748" y="804445"/>
                </a:cubicBezTo>
                <a:close/>
                <a:moveTo>
                  <a:pt x="745045" y="795644"/>
                </a:moveTo>
                <a:lnTo>
                  <a:pt x="751541" y="795644"/>
                </a:lnTo>
                <a:cubicBezTo>
                  <a:pt x="752982" y="795701"/>
                  <a:pt x="754082" y="796268"/>
                  <a:pt x="754842" y="797347"/>
                </a:cubicBezTo>
                <a:cubicBezTo>
                  <a:pt x="755601" y="798425"/>
                  <a:pt x="756178" y="799674"/>
                  <a:pt x="756571" y="801092"/>
                </a:cubicBezTo>
                <a:lnTo>
                  <a:pt x="784022" y="883236"/>
                </a:lnTo>
                <a:lnTo>
                  <a:pt x="784650" y="883236"/>
                </a:lnTo>
                <a:lnTo>
                  <a:pt x="814406" y="801092"/>
                </a:lnTo>
                <a:cubicBezTo>
                  <a:pt x="814926" y="799674"/>
                  <a:pt x="815668" y="798425"/>
                  <a:pt x="816633" y="797347"/>
                </a:cubicBezTo>
                <a:cubicBezTo>
                  <a:pt x="817598" y="796268"/>
                  <a:pt x="818811" y="795701"/>
                  <a:pt x="820274" y="795644"/>
                </a:cubicBezTo>
                <a:lnTo>
                  <a:pt x="824465" y="795644"/>
                </a:lnTo>
                <a:cubicBezTo>
                  <a:pt x="826250" y="795657"/>
                  <a:pt x="827604" y="796050"/>
                  <a:pt x="828525" y="796823"/>
                </a:cubicBezTo>
                <a:cubicBezTo>
                  <a:pt x="829446" y="797596"/>
                  <a:pt x="829909" y="798670"/>
                  <a:pt x="829913" y="800045"/>
                </a:cubicBezTo>
                <a:cubicBezTo>
                  <a:pt x="829913" y="800918"/>
                  <a:pt x="829703" y="801896"/>
                  <a:pt x="829284" y="802978"/>
                </a:cubicBezTo>
                <a:lnTo>
                  <a:pt x="794290" y="893714"/>
                </a:lnTo>
                <a:cubicBezTo>
                  <a:pt x="793058" y="896914"/>
                  <a:pt x="791539" y="899157"/>
                  <a:pt x="789732" y="900445"/>
                </a:cubicBezTo>
                <a:cubicBezTo>
                  <a:pt x="787924" y="901733"/>
                  <a:pt x="785672" y="902353"/>
                  <a:pt x="782974" y="902305"/>
                </a:cubicBezTo>
                <a:cubicBezTo>
                  <a:pt x="780564" y="902366"/>
                  <a:pt x="778469" y="901772"/>
                  <a:pt x="776687" y="900524"/>
                </a:cubicBezTo>
                <a:cubicBezTo>
                  <a:pt x="774906" y="899275"/>
                  <a:pt x="773439" y="897005"/>
                  <a:pt x="772287" y="893714"/>
                </a:cubicBezTo>
                <a:lnTo>
                  <a:pt x="740226" y="802978"/>
                </a:lnTo>
                <a:cubicBezTo>
                  <a:pt x="739807" y="801896"/>
                  <a:pt x="739597" y="800918"/>
                  <a:pt x="739597" y="800045"/>
                </a:cubicBezTo>
                <a:cubicBezTo>
                  <a:pt x="739601" y="798761"/>
                  <a:pt x="740064" y="797713"/>
                  <a:pt x="740985" y="796901"/>
                </a:cubicBezTo>
                <a:cubicBezTo>
                  <a:pt x="741906" y="796089"/>
                  <a:pt x="743260" y="795670"/>
                  <a:pt x="745045" y="795644"/>
                </a:cubicBezTo>
                <a:close/>
                <a:moveTo>
                  <a:pt x="702564" y="795644"/>
                </a:moveTo>
                <a:lnTo>
                  <a:pt x="707803" y="795644"/>
                </a:lnTo>
                <a:cubicBezTo>
                  <a:pt x="709313" y="795688"/>
                  <a:pt x="710588" y="796229"/>
                  <a:pt x="711627" y="797268"/>
                </a:cubicBezTo>
                <a:cubicBezTo>
                  <a:pt x="712666" y="798307"/>
                  <a:pt x="713207" y="799582"/>
                  <a:pt x="713251" y="801092"/>
                </a:cubicBezTo>
                <a:lnTo>
                  <a:pt x="713251" y="894971"/>
                </a:lnTo>
                <a:cubicBezTo>
                  <a:pt x="713207" y="896481"/>
                  <a:pt x="712666" y="897756"/>
                  <a:pt x="711627" y="898795"/>
                </a:cubicBezTo>
                <a:cubicBezTo>
                  <a:pt x="710588" y="899834"/>
                  <a:pt x="709313" y="900375"/>
                  <a:pt x="707803" y="900419"/>
                </a:cubicBezTo>
                <a:lnTo>
                  <a:pt x="702564" y="900419"/>
                </a:lnTo>
                <a:cubicBezTo>
                  <a:pt x="701053" y="900375"/>
                  <a:pt x="699779" y="899834"/>
                  <a:pt x="698739" y="898795"/>
                </a:cubicBezTo>
                <a:cubicBezTo>
                  <a:pt x="697701" y="897756"/>
                  <a:pt x="697159" y="896481"/>
                  <a:pt x="697116" y="894971"/>
                </a:cubicBezTo>
                <a:lnTo>
                  <a:pt x="697116" y="801092"/>
                </a:lnTo>
                <a:cubicBezTo>
                  <a:pt x="697159" y="799582"/>
                  <a:pt x="697701" y="798307"/>
                  <a:pt x="698739" y="797268"/>
                </a:cubicBezTo>
                <a:cubicBezTo>
                  <a:pt x="699779" y="796229"/>
                  <a:pt x="701053" y="795688"/>
                  <a:pt x="702564" y="795644"/>
                </a:cubicBezTo>
                <a:close/>
                <a:moveTo>
                  <a:pt x="983208" y="792920"/>
                </a:moveTo>
                <a:cubicBezTo>
                  <a:pt x="993681" y="793042"/>
                  <a:pt x="1001863" y="794422"/>
                  <a:pt x="1007752" y="797059"/>
                </a:cubicBezTo>
                <a:cubicBezTo>
                  <a:pt x="1013641" y="799695"/>
                  <a:pt x="1016636" y="802856"/>
                  <a:pt x="1016736" y="806541"/>
                </a:cubicBezTo>
                <a:cubicBezTo>
                  <a:pt x="1016701" y="808462"/>
                  <a:pt x="1016090" y="810016"/>
                  <a:pt x="1014903" y="811203"/>
                </a:cubicBezTo>
                <a:cubicBezTo>
                  <a:pt x="1013715" y="812391"/>
                  <a:pt x="1012161" y="813002"/>
                  <a:pt x="1010240" y="813037"/>
                </a:cubicBezTo>
                <a:cubicBezTo>
                  <a:pt x="1007616" y="812931"/>
                  <a:pt x="1005135" y="812188"/>
                  <a:pt x="1002797" y="810809"/>
                </a:cubicBezTo>
                <a:cubicBezTo>
                  <a:pt x="1000460" y="809430"/>
                  <a:pt x="997669" y="808052"/>
                  <a:pt x="994423" y="806673"/>
                </a:cubicBezTo>
                <a:cubicBezTo>
                  <a:pt x="991178" y="805294"/>
                  <a:pt x="986881" y="804551"/>
                  <a:pt x="981532" y="804445"/>
                </a:cubicBezTo>
                <a:cubicBezTo>
                  <a:pt x="975569" y="804537"/>
                  <a:pt x="970784" y="805978"/>
                  <a:pt x="967178" y="808767"/>
                </a:cubicBezTo>
                <a:cubicBezTo>
                  <a:pt x="963572" y="811557"/>
                  <a:pt x="961721" y="815145"/>
                  <a:pt x="961625" y="819533"/>
                </a:cubicBezTo>
                <a:cubicBezTo>
                  <a:pt x="961934" y="825308"/>
                  <a:pt x="965022" y="829697"/>
                  <a:pt x="970891" y="832699"/>
                </a:cubicBezTo>
                <a:cubicBezTo>
                  <a:pt x="976759" y="835700"/>
                  <a:pt x="983554" y="838498"/>
                  <a:pt x="991276" y="841090"/>
                </a:cubicBezTo>
                <a:cubicBezTo>
                  <a:pt x="998998" y="843683"/>
                  <a:pt x="1005793" y="847253"/>
                  <a:pt x="1011661" y="851800"/>
                </a:cubicBezTo>
                <a:cubicBezTo>
                  <a:pt x="1017530" y="856348"/>
                  <a:pt x="1020619" y="863054"/>
                  <a:pt x="1020927" y="871920"/>
                </a:cubicBezTo>
                <a:cubicBezTo>
                  <a:pt x="1020757" y="881564"/>
                  <a:pt x="1017064" y="889151"/>
                  <a:pt x="1009847" y="894683"/>
                </a:cubicBezTo>
                <a:cubicBezTo>
                  <a:pt x="1002631" y="900214"/>
                  <a:pt x="992913" y="903034"/>
                  <a:pt x="980694" y="903143"/>
                </a:cubicBezTo>
                <a:cubicBezTo>
                  <a:pt x="969941" y="903034"/>
                  <a:pt x="961324" y="901524"/>
                  <a:pt x="954841" y="898612"/>
                </a:cubicBezTo>
                <a:cubicBezTo>
                  <a:pt x="948358" y="895700"/>
                  <a:pt x="945031" y="892042"/>
                  <a:pt x="944861" y="887637"/>
                </a:cubicBezTo>
                <a:cubicBezTo>
                  <a:pt x="944891" y="885524"/>
                  <a:pt x="945564" y="883882"/>
                  <a:pt x="946878" y="882712"/>
                </a:cubicBezTo>
                <a:cubicBezTo>
                  <a:pt x="948192" y="881542"/>
                  <a:pt x="949964" y="880948"/>
                  <a:pt x="952195" y="880931"/>
                </a:cubicBezTo>
                <a:cubicBezTo>
                  <a:pt x="954798" y="881063"/>
                  <a:pt x="957462" y="881986"/>
                  <a:pt x="960189" y="883702"/>
                </a:cubicBezTo>
                <a:cubicBezTo>
                  <a:pt x="962916" y="885417"/>
                  <a:pt x="966015" y="887132"/>
                  <a:pt x="969487" y="888847"/>
                </a:cubicBezTo>
                <a:cubicBezTo>
                  <a:pt x="972959" y="890563"/>
                  <a:pt x="977113" y="891486"/>
                  <a:pt x="981951" y="891618"/>
                </a:cubicBezTo>
                <a:cubicBezTo>
                  <a:pt x="989604" y="891461"/>
                  <a:pt x="995358" y="889680"/>
                  <a:pt x="999213" y="886275"/>
                </a:cubicBezTo>
                <a:cubicBezTo>
                  <a:pt x="1003068" y="882869"/>
                  <a:pt x="1004997" y="878783"/>
                  <a:pt x="1005002" y="874016"/>
                </a:cubicBezTo>
                <a:cubicBezTo>
                  <a:pt x="1004698" y="867730"/>
                  <a:pt x="1001664" y="863026"/>
                  <a:pt x="995899" y="859904"/>
                </a:cubicBezTo>
                <a:cubicBezTo>
                  <a:pt x="990135" y="856781"/>
                  <a:pt x="983459" y="853977"/>
                  <a:pt x="975874" y="851489"/>
                </a:cubicBezTo>
                <a:cubicBezTo>
                  <a:pt x="968289" y="849002"/>
                  <a:pt x="961614" y="845568"/>
                  <a:pt x="955849" y="841189"/>
                </a:cubicBezTo>
                <a:cubicBezTo>
                  <a:pt x="950084" y="836809"/>
                  <a:pt x="947050" y="830219"/>
                  <a:pt x="946747" y="821419"/>
                </a:cubicBezTo>
                <a:cubicBezTo>
                  <a:pt x="946930" y="812255"/>
                  <a:pt x="950335" y="805227"/>
                  <a:pt x="956962" y="800333"/>
                </a:cubicBezTo>
                <a:cubicBezTo>
                  <a:pt x="963589" y="795439"/>
                  <a:pt x="972338" y="792968"/>
                  <a:pt x="983208" y="792920"/>
                </a:cubicBezTo>
                <a:close/>
                <a:moveTo>
                  <a:pt x="888701" y="792920"/>
                </a:moveTo>
                <a:cubicBezTo>
                  <a:pt x="897739" y="793040"/>
                  <a:pt x="905438" y="795291"/>
                  <a:pt x="911798" y="799672"/>
                </a:cubicBezTo>
                <a:cubicBezTo>
                  <a:pt x="918159" y="804053"/>
                  <a:pt x="923017" y="809843"/>
                  <a:pt x="926374" y="817042"/>
                </a:cubicBezTo>
                <a:cubicBezTo>
                  <a:pt x="929731" y="824240"/>
                  <a:pt x="931422" y="832125"/>
                  <a:pt x="931450" y="840697"/>
                </a:cubicBezTo>
                <a:cubicBezTo>
                  <a:pt x="931493" y="843963"/>
                  <a:pt x="931091" y="846128"/>
                  <a:pt x="930245" y="847193"/>
                </a:cubicBezTo>
                <a:cubicBezTo>
                  <a:pt x="929398" y="848259"/>
                  <a:pt x="927843" y="848748"/>
                  <a:pt x="925582" y="848660"/>
                </a:cubicBezTo>
                <a:lnTo>
                  <a:pt x="857059" y="848660"/>
                </a:lnTo>
                <a:cubicBezTo>
                  <a:pt x="857500" y="862425"/>
                  <a:pt x="860914" y="872876"/>
                  <a:pt x="867301" y="880014"/>
                </a:cubicBezTo>
                <a:cubicBezTo>
                  <a:pt x="873688" y="887152"/>
                  <a:pt x="881660" y="890741"/>
                  <a:pt x="891216" y="890780"/>
                </a:cubicBezTo>
                <a:cubicBezTo>
                  <a:pt x="897402" y="890671"/>
                  <a:pt x="902330" y="889911"/>
                  <a:pt x="906001" y="888498"/>
                </a:cubicBezTo>
                <a:cubicBezTo>
                  <a:pt x="909672" y="887086"/>
                  <a:pt x="912691" y="885673"/>
                  <a:pt x="915058" y="884261"/>
                </a:cubicBezTo>
                <a:cubicBezTo>
                  <a:pt x="917425" y="882848"/>
                  <a:pt x="919746" y="882087"/>
                  <a:pt x="922020" y="881979"/>
                </a:cubicBezTo>
                <a:cubicBezTo>
                  <a:pt x="923932" y="882005"/>
                  <a:pt x="925451" y="882581"/>
                  <a:pt x="926578" y="883708"/>
                </a:cubicBezTo>
                <a:cubicBezTo>
                  <a:pt x="927704" y="884834"/>
                  <a:pt x="928280" y="886353"/>
                  <a:pt x="928306" y="888265"/>
                </a:cubicBezTo>
                <a:cubicBezTo>
                  <a:pt x="928193" y="892094"/>
                  <a:pt x="924910" y="895490"/>
                  <a:pt x="918457" y="898455"/>
                </a:cubicBezTo>
                <a:cubicBezTo>
                  <a:pt x="912005" y="901419"/>
                  <a:pt x="903064" y="902982"/>
                  <a:pt x="891635" y="903143"/>
                </a:cubicBezTo>
                <a:cubicBezTo>
                  <a:pt x="875504" y="902812"/>
                  <a:pt x="863079" y="897660"/>
                  <a:pt x="854361" y="887689"/>
                </a:cubicBezTo>
                <a:cubicBezTo>
                  <a:pt x="845643" y="877718"/>
                  <a:pt x="841234" y="864918"/>
                  <a:pt x="841133" y="849289"/>
                </a:cubicBezTo>
                <a:cubicBezTo>
                  <a:pt x="841439" y="832822"/>
                  <a:pt x="846014" y="819393"/>
                  <a:pt x="854859" y="809003"/>
                </a:cubicBezTo>
                <a:cubicBezTo>
                  <a:pt x="863704" y="798613"/>
                  <a:pt x="874985" y="793252"/>
                  <a:pt x="888701" y="792920"/>
                </a:cubicBezTo>
                <a:close/>
                <a:moveTo>
                  <a:pt x="580872" y="792920"/>
                </a:moveTo>
                <a:cubicBezTo>
                  <a:pt x="584736" y="792946"/>
                  <a:pt x="587591" y="793627"/>
                  <a:pt x="589438" y="794963"/>
                </a:cubicBezTo>
                <a:cubicBezTo>
                  <a:pt x="591284" y="796299"/>
                  <a:pt x="592201" y="798133"/>
                  <a:pt x="592188" y="800464"/>
                </a:cubicBezTo>
                <a:cubicBezTo>
                  <a:pt x="592192" y="802695"/>
                  <a:pt x="591555" y="804467"/>
                  <a:pt x="590276" y="805781"/>
                </a:cubicBezTo>
                <a:cubicBezTo>
                  <a:pt x="588997" y="807095"/>
                  <a:pt x="587050" y="807767"/>
                  <a:pt x="584435" y="807798"/>
                </a:cubicBezTo>
                <a:cubicBezTo>
                  <a:pt x="582252" y="807711"/>
                  <a:pt x="579545" y="807361"/>
                  <a:pt x="576315" y="806750"/>
                </a:cubicBezTo>
                <a:cubicBezTo>
                  <a:pt x="573084" y="806139"/>
                  <a:pt x="569225" y="805790"/>
                  <a:pt x="564737" y="805703"/>
                </a:cubicBezTo>
                <a:cubicBezTo>
                  <a:pt x="560786" y="805707"/>
                  <a:pt x="557582" y="806798"/>
                  <a:pt x="555124" y="808977"/>
                </a:cubicBezTo>
                <a:cubicBezTo>
                  <a:pt x="552666" y="811155"/>
                  <a:pt x="551400" y="814395"/>
                  <a:pt x="551326" y="818695"/>
                </a:cubicBezTo>
                <a:lnTo>
                  <a:pt x="551326" y="894971"/>
                </a:lnTo>
                <a:cubicBezTo>
                  <a:pt x="551282" y="896481"/>
                  <a:pt x="550741" y="897756"/>
                  <a:pt x="549702" y="898795"/>
                </a:cubicBezTo>
                <a:cubicBezTo>
                  <a:pt x="548663" y="899834"/>
                  <a:pt x="547388" y="900375"/>
                  <a:pt x="545878" y="900419"/>
                </a:cubicBezTo>
                <a:lnTo>
                  <a:pt x="540639" y="900419"/>
                </a:lnTo>
                <a:cubicBezTo>
                  <a:pt x="539128" y="900375"/>
                  <a:pt x="537853" y="899834"/>
                  <a:pt x="536815" y="898795"/>
                </a:cubicBezTo>
                <a:cubicBezTo>
                  <a:pt x="535775" y="897756"/>
                  <a:pt x="535234" y="896481"/>
                  <a:pt x="535191" y="894971"/>
                </a:cubicBezTo>
                <a:lnTo>
                  <a:pt x="535191" y="801092"/>
                </a:lnTo>
                <a:cubicBezTo>
                  <a:pt x="535234" y="799582"/>
                  <a:pt x="535775" y="798307"/>
                  <a:pt x="536815" y="797268"/>
                </a:cubicBezTo>
                <a:cubicBezTo>
                  <a:pt x="537853" y="796229"/>
                  <a:pt x="539128" y="795688"/>
                  <a:pt x="540639" y="795644"/>
                </a:cubicBezTo>
                <a:lnTo>
                  <a:pt x="545878" y="795644"/>
                </a:lnTo>
                <a:cubicBezTo>
                  <a:pt x="547388" y="795688"/>
                  <a:pt x="548663" y="796229"/>
                  <a:pt x="549702" y="797268"/>
                </a:cubicBezTo>
                <a:cubicBezTo>
                  <a:pt x="550741" y="798307"/>
                  <a:pt x="551282" y="799582"/>
                  <a:pt x="551326" y="801092"/>
                </a:cubicBezTo>
                <a:lnTo>
                  <a:pt x="551326" y="802978"/>
                </a:lnTo>
                <a:cubicBezTo>
                  <a:pt x="554783" y="799717"/>
                  <a:pt x="558974" y="797229"/>
                  <a:pt x="563899" y="795513"/>
                </a:cubicBezTo>
                <a:cubicBezTo>
                  <a:pt x="568823" y="793797"/>
                  <a:pt x="574481" y="792933"/>
                  <a:pt x="580872" y="792920"/>
                </a:cubicBezTo>
                <a:close/>
                <a:moveTo>
                  <a:pt x="460076" y="792920"/>
                </a:moveTo>
                <a:cubicBezTo>
                  <a:pt x="469114" y="793040"/>
                  <a:pt x="476813" y="795291"/>
                  <a:pt x="483173" y="799672"/>
                </a:cubicBezTo>
                <a:cubicBezTo>
                  <a:pt x="489534" y="804053"/>
                  <a:pt x="494392" y="809843"/>
                  <a:pt x="497749" y="817042"/>
                </a:cubicBezTo>
                <a:cubicBezTo>
                  <a:pt x="501105" y="824240"/>
                  <a:pt x="502797" y="832125"/>
                  <a:pt x="502825" y="840697"/>
                </a:cubicBezTo>
                <a:cubicBezTo>
                  <a:pt x="502868" y="843963"/>
                  <a:pt x="502467" y="846128"/>
                  <a:pt x="501620" y="847193"/>
                </a:cubicBezTo>
                <a:cubicBezTo>
                  <a:pt x="500773" y="848259"/>
                  <a:pt x="499219" y="848748"/>
                  <a:pt x="496957" y="848660"/>
                </a:cubicBezTo>
                <a:lnTo>
                  <a:pt x="428434" y="848660"/>
                </a:lnTo>
                <a:cubicBezTo>
                  <a:pt x="428875" y="862425"/>
                  <a:pt x="432289" y="872876"/>
                  <a:pt x="438676" y="880014"/>
                </a:cubicBezTo>
                <a:cubicBezTo>
                  <a:pt x="445063" y="887152"/>
                  <a:pt x="453035" y="890741"/>
                  <a:pt x="462591" y="890780"/>
                </a:cubicBezTo>
                <a:cubicBezTo>
                  <a:pt x="468777" y="890671"/>
                  <a:pt x="473705" y="889911"/>
                  <a:pt x="477376" y="888498"/>
                </a:cubicBezTo>
                <a:cubicBezTo>
                  <a:pt x="481047" y="887086"/>
                  <a:pt x="484066" y="885673"/>
                  <a:pt x="486433" y="884261"/>
                </a:cubicBezTo>
                <a:cubicBezTo>
                  <a:pt x="488800" y="882848"/>
                  <a:pt x="491121" y="882087"/>
                  <a:pt x="493395" y="881979"/>
                </a:cubicBezTo>
                <a:cubicBezTo>
                  <a:pt x="495307" y="882005"/>
                  <a:pt x="496826" y="882581"/>
                  <a:pt x="497953" y="883708"/>
                </a:cubicBezTo>
                <a:cubicBezTo>
                  <a:pt x="499079" y="884834"/>
                  <a:pt x="499655" y="886353"/>
                  <a:pt x="499681" y="888265"/>
                </a:cubicBezTo>
                <a:cubicBezTo>
                  <a:pt x="499568" y="892094"/>
                  <a:pt x="496285" y="895490"/>
                  <a:pt x="489832" y="898455"/>
                </a:cubicBezTo>
                <a:cubicBezTo>
                  <a:pt x="483380" y="901419"/>
                  <a:pt x="474439" y="902982"/>
                  <a:pt x="463010" y="903143"/>
                </a:cubicBezTo>
                <a:cubicBezTo>
                  <a:pt x="446879" y="902812"/>
                  <a:pt x="434455" y="897660"/>
                  <a:pt x="425736" y="887689"/>
                </a:cubicBezTo>
                <a:cubicBezTo>
                  <a:pt x="417018" y="877718"/>
                  <a:pt x="412609" y="864918"/>
                  <a:pt x="412509" y="849289"/>
                </a:cubicBezTo>
                <a:cubicBezTo>
                  <a:pt x="412814" y="832822"/>
                  <a:pt x="417389" y="819393"/>
                  <a:pt x="426234" y="809003"/>
                </a:cubicBezTo>
                <a:cubicBezTo>
                  <a:pt x="435079" y="798613"/>
                  <a:pt x="446360" y="793252"/>
                  <a:pt x="460076" y="792920"/>
                </a:cubicBezTo>
                <a:close/>
                <a:moveTo>
                  <a:pt x="193376" y="792920"/>
                </a:moveTo>
                <a:cubicBezTo>
                  <a:pt x="202414" y="793040"/>
                  <a:pt x="210113" y="795291"/>
                  <a:pt x="216473" y="799672"/>
                </a:cubicBezTo>
                <a:cubicBezTo>
                  <a:pt x="222834" y="804053"/>
                  <a:pt x="227692" y="809843"/>
                  <a:pt x="231049" y="817042"/>
                </a:cubicBezTo>
                <a:cubicBezTo>
                  <a:pt x="234405" y="824240"/>
                  <a:pt x="236097" y="832125"/>
                  <a:pt x="236125" y="840697"/>
                </a:cubicBezTo>
                <a:cubicBezTo>
                  <a:pt x="236168" y="843963"/>
                  <a:pt x="235767" y="846128"/>
                  <a:pt x="234920" y="847193"/>
                </a:cubicBezTo>
                <a:cubicBezTo>
                  <a:pt x="234073" y="848259"/>
                  <a:pt x="232519" y="848748"/>
                  <a:pt x="230257" y="848660"/>
                </a:cubicBezTo>
                <a:lnTo>
                  <a:pt x="161734" y="848660"/>
                </a:lnTo>
                <a:cubicBezTo>
                  <a:pt x="162175" y="862425"/>
                  <a:pt x="165589" y="872876"/>
                  <a:pt x="171976" y="880014"/>
                </a:cubicBezTo>
                <a:cubicBezTo>
                  <a:pt x="178363" y="887152"/>
                  <a:pt x="186335" y="890741"/>
                  <a:pt x="195891" y="890780"/>
                </a:cubicBezTo>
                <a:cubicBezTo>
                  <a:pt x="202077" y="890671"/>
                  <a:pt x="207005" y="889911"/>
                  <a:pt x="210676" y="888498"/>
                </a:cubicBezTo>
                <a:cubicBezTo>
                  <a:pt x="214347" y="887086"/>
                  <a:pt x="217366" y="885673"/>
                  <a:pt x="219733" y="884261"/>
                </a:cubicBezTo>
                <a:cubicBezTo>
                  <a:pt x="222100" y="882848"/>
                  <a:pt x="224421" y="882087"/>
                  <a:pt x="226695" y="881979"/>
                </a:cubicBezTo>
                <a:cubicBezTo>
                  <a:pt x="228607" y="882005"/>
                  <a:pt x="230126" y="882581"/>
                  <a:pt x="231253" y="883708"/>
                </a:cubicBezTo>
                <a:cubicBezTo>
                  <a:pt x="232379" y="884834"/>
                  <a:pt x="232955" y="886353"/>
                  <a:pt x="232981" y="888265"/>
                </a:cubicBezTo>
                <a:cubicBezTo>
                  <a:pt x="232868" y="892094"/>
                  <a:pt x="229585" y="895490"/>
                  <a:pt x="223132" y="898455"/>
                </a:cubicBezTo>
                <a:cubicBezTo>
                  <a:pt x="216680" y="901419"/>
                  <a:pt x="207739" y="902982"/>
                  <a:pt x="196310" y="903143"/>
                </a:cubicBezTo>
                <a:cubicBezTo>
                  <a:pt x="180179" y="902812"/>
                  <a:pt x="167755" y="897660"/>
                  <a:pt x="159036" y="887689"/>
                </a:cubicBezTo>
                <a:cubicBezTo>
                  <a:pt x="150318" y="877718"/>
                  <a:pt x="145909" y="864918"/>
                  <a:pt x="145809" y="849289"/>
                </a:cubicBezTo>
                <a:cubicBezTo>
                  <a:pt x="146114" y="832822"/>
                  <a:pt x="150689" y="819393"/>
                  <a:pt x="159534" y="809003"/>
                </a:cubicBezTo>
                <a:cubicBezTo>
                  <a:pt x="168379" y="798613"/>
                  <a:pt x="179660" y="793252"/>
                  <a:pt x="193376" y="792920"/>
                </a:cubicBezTo>
                <a:close/>
                <a:moveTo>
                  <a:pt x="34576" y="767774"/>
                </a:moveTo>
                <a:lnTo>
                  <a:pt x="34576" y="818695"/>
                </a:lnTo>
                <a:lnTo>
                  <a:pt x="65170" y="818695"/>
                </a:lnTo>
                <a:cubicBezTo>
                  <a:pt x="72949" y="818481"/>
                  <a:pt x="79550" y="815922"/>
                  <a:pt x="84972" y="811020"/>
                </a:cubicBezTo>
                <a:cubicBezTo>
                  <a:pt x="90394" y="806117"/>
                  <a:pt x="93223" y="800154"/>
                  <a:pt x="93459" y="793130"/>
                </a:cubicBezTo>
                <a:cubicBezTo>
                  <a:pt x="93472" y="785472"/>
                  <a:pt x="91298" y="779360"/>
                  <a:pt x="86937" y="774794"/>
                </a:cubicBezTo>
                <a:cubicBezTo>
                  <a:pt x="82576" y="770227"/>
                  <a:pt x="75949" y="767887"/>
                  <a:pt x="67056" y="767774"/>
                </a:cubicBezTo>
                <a:close/>
                <a:moveTo>
                  <a:pt x="354330" y="765259"/>
                </a:moveTo>
                <a:lnTo>
                  <a:pt x="359569" y="765259"/>
                </a:lnTo>
                <a:cubicBezTo>
                  <a:pt x="361079" y="765303"/>
                  <a:pt x="362354" y="765844"/>
                  <a:pt x="363393" y="766883"/>
                </a:cubicBezTo>
                <a:cubicBezTo>
                  <a:pt x="364432" y="767922"/>
                  <a:pt x="364973" y="769197"/>
                  <a:pt x="365017" y="770708"/>
                </a:cubicBezTo>
                <a:lnTo>
                  <a:pt x="365017" y="795644"/>
                </a:lnTo>
                <a:lnTo>
                  <a:pt x="389534" y="795644"/>
                </a:lnTo>
                <a:cubicBezTo>
                  <a:pt x="391045" y="795688"/>
                  <a:pt x="392319" y="796229"/>
                  <a:pt x="393359" y="797268"/>
                </a:cubicBezTo>
                <a:cubicBezTo>
                  <a:pt x="394397" y="798307"/>
                  <a:pt x="394939" y="799582"/>
                  <a:pt x="394983" y="801092"/>
                </a:cubicBezTo>
                <a:lnTo>
                  <a:pt x="394983" y="801931"/>
                </a:lnTo>
                <a:cubicBezTo>
                  <a:pt x="394939" y="803441"/>
                  <a:pt x="394397" y="804716"/>
                  <a:pt x="393359" y="805755"/>
                </a:cubicBezTo>
                <a:cubicBezTo>
                  <a:pt x="392319" y="806794"/>
                  <a:pt x="391045" y="807335"/>
                  <a:pt x="389534" y="807379"/>
                </a:cubicBezTo>
                <a:lnTo>
                  <a:pt x="365017" y="807379"/>
                </a:lnTo>
                <a:lnTo>
                  <a:pt x="365017" y="875273"/>
                </a:lnTo>
                <a:cubicBezTo>
                  <a:pt x="364930" y="879735"/>
                  <a:pt x="365995" y="883280"/>
                  <a:pt x="368213" y="885908"/>
                </a:cubicBezTo>
                <a:cubicBezTo>
                  <a:pt x="370430" y="888536"/>
                  <a:pt x="374324" y="889881"/>
                  <a:pt x="379895" y="889942"/>
                </a:cubicBezTo>
                <a:cubicBezTo>
                  <a:pt x="382510" y="889898"/>
                  <a:pt x="384509" y="889723"/>
                  <a:pt x="385893" y="889418"/>
                </a:cubicBezTo>
                <a:cubicBezTo>
                  <a:pt x="387277" y="889112"/>
                  <a:pt x="388700" y="888938"/>
                  <a:pt x="390163" y="888894"/>
                </a:cubicBezTo>
                <a:cubicBezTo>
                  <a:pt x="391281" y="888855"/>
                  <a:pt x="392346" y="889248"/>
                  <a:pt x="393359" y="890073"/>
                </a:cubicBezTo>
                <a:cubicBezTo>
                  <a:pt x="394371" y="890898"/>
                  <a:pt x="394913" y="892391"/>
                  <a:pt x="394983" y="894552"/>
                </a:cubicBezTo>
                <a:lnTo>
                  <a:pt x="394983" y="895180"/>
                </a:lnTo>
                <a:cubicBezTo>
                  <a:pt x="394873" y="897341"/>
                  <a:pt x="394201" y="898887"/>
                  <a:pt x="392966" y="899817"/>
                </a:cubicBezTo>
                <a:cubicBezTo>
                  <a:pt x="391730" y="900747"/>
                  <a:pt x="390586" y="901297"/>
                  <a:pt x="389534" y="901467"/>
                </a:cubicBezTo>
                <a:cubicBezTo>
                  <a:pt x="387875" y="901777"/>
                  <a:pt x="386164" y="901995"/>
                  <a:pt x="384400" y="902122"/>
                </a:cubicBezTo>
                <a:cubicBezTo>
                  <a:pt x="382637" y="902248"/>
                  <a:pt x="380716" y="902309"/>
                  <a:pt x="378638" y="902305"/>
                </a:cubicBezTo>
                <a:cubicBezTo>
                  <a:pt x="369238" y="902515"/>
                  <a:pt x="361948" y="900419"/>
                  <a:pt x="356766" y="896019"/>
                </a:cubicBezTo>
                <a:cubicBezTo>
                  <a:pt x="351584" y="891618"/>
                  <a:pt x="348956" y="883655"/>
                  <a:pt x="348881" y="872130"/>
                </a:cubicBezTo>
                <a:lnTo>
                  <a:pt x="348881" y="807379"/>
                </a:lnTo>
                <a:lnTo>
                  <a:pt x="334842" y="807379"/>
                </a:lnTo>
                <a:cubicBezTo>
                  <a:pt x="333331" y="807335"/>
                  <a:pt x="332056" y="806794"/>
                  <a:pt x="331017" y="805755"/>
                </a:cubicBezTo>
                <a:cubicBezTo>
                  <a:pt x="329978" y="804716"/>
                  <a:pt x="329437" y="803441"/>
                  <a:pt x="329393" y="801931"/>
                </a:cubicBezTo>
                <a:lnTo>
                  <a:pt x="329393" y="801092"/>
                </a:lnTo>
                <a:cubicBezTo>
                  <a:pt x="329437" y="799582"/>
                  <a:pt x="329978" y="798307"/>
                  <a:pt x="331017" y="797268"/>
                </a:cubicBezTo>
                <a:cubicBezTo>
                  <a:pt x="332056" y="796229"/>
                  <a:pt x="333331" y="795688"/>
                  <a:pt x="334842" y="795644"/>
                </a:cubicBezTo>
                <a:lnTo>
                  <a:pt x="348881" y="795644"/>
                </a:lnTo>
                <a:lnTo>
                  <a:pt x="348881" y="770708"/>
                </a:lnTo>
                <a:cubicBezTo>
                  <a:pt x="348925" y="769197"/>
                  <a:pt x="349467" y="767922"/>
                  <a:pt x="350506" y="766883"/>
                </a:cubicBezTo>
                <a:cubicBezTo>
                  <a:pt x="351545" y="765844"/>
                  <a:pt x="352819" y="765303"/>
                  <a:pt x="354330" y="765259"/>
                </a:cubicBezTo>
                <a:close/>
                <a:moveTo>
                  <a:pt x="278130" y="765259"/>
                </a:moveTo>
                <a:lnTo>
                  <a:pt x="283369" y="765259"/>
                </a:lnTo>
                <a:cubicBezTo>
                  <a:pt x="284879" y="765303"/>
                  <a:pt x="286154" y="765844"/>
                  <a:pt x="287193" y="766883"/>
                </a:cubicBezTo>
                <a:cubicBezTo>
                  <a:pt x="288232" y="767922"/>
                  <a:pt x="288773" y="769197"/>
                  <a:pt x="288817" y="770708"/>
                </a:cubicBezTo>
                <a:lnTo>
                  <a:pt x="288817" y="795644"/>
                </a:lnTo>
                <a:lnTo>
                  <a:pt x="313334" y="795644"/>
                </a:lnTo>
                <a:cubicBezTo>
                  <a:pt x="314845" y="795688"/>
                  <a:pt x="316119" y="796229"/>
                  <a:pt x="317159" y="797268"/>
                </a:cubicBezTo>
                <a:cubicBezTo>
                  <a:pt x="318198" y="798307"/>
                  <a:pt x="318739" y="799582"/>
                  <a:pt x="318783" y="801092"/>
                </a:cubicBezTo>
                <a:lnTo>
                  <a:pt x="318783" y="801931"/>
                </a:lnTo>
                <a:cubicBezTo>
                  <a:pt x="318739" y="803441"/>
                  <a:pt x="318198" y="804716"/>
                  <a:pt x="317159" y="805755"/>
                </a:cubicBezTo>
                <a:cubicBezTo>
                  <a:pt x="316119" y="806794"/>
                  <a:pt x="314845" y="807335"/>
                  <a:pt x="313334" y="807379"/>
                </a:cubicBezTo>
                <a:lnTo>
                  <a:pt x="288817" y="807379"/>
                </a:lnTo>
                <a:lnTo>
                  <a:pt x="288817" y="875273"/>
                </a:lnTo>
                <a:cubicBezTo>
                  <a:pt x="288730" y="879735"/>
                  <a:pt x="289795" y="883280"/>
                  <a:pt x="292013" y="885908"/>
                </a:cubicBezTo>
                <a:cubicBezTo>
                  <a:pt x="294230" y="888536"/>
                  <a:pt x="298124" y="889881"/>
                  <a:pt x="303695" y="889942"/>
                </a:cubicBezTo>
                <a:cubicBezTo>
                  <a:pt x="306310" y="889898"/>
                  <a:pt x="308309" y="889723"/>
                  <a:pt x="309693" y="889418"/>
                </a:cubicBezTo>
                <a:cubicBezTo>
                  <a:pt x="311077" y="889112"/>
                  <a:pt x="312500" y="888938"/>
                  <a:pt x="313963" y="888894"/>
                </a:cubicBezTo>
                <a:cubicBezTo>
                  <a:pt x="315081" y="888855"/>
                  <a:pt x="316146" y="889248"/>
                  <a:pt x="317159" y="890073"/>
                </a:cubicBezTo>
                <a:cubicBezTo>
                  <a:pt x="318171" y="890898"/>
                  <a:pt x="318713" y="892391"/>
                  <a:pt x="318783" y="894552"/>
                </a:cubicBezTo>
                <a:lnTo>
                  <a:pt x="318783" y="895180"/>
                </a:lnTo>
                <a:cubicBezTo>
                  <a:pt x="318673" y="897341"/>
                  <a:pt x="318001" y="898887"/>
                  <a:pt x="316766" y="899817"/>
                </a:cubicBezTo>
                <a:cubicBezTo>
                  <a:pt x="315530" y="900747"/>
                  <a:pt x="314386" y="901297"/>
                  <a:pt x="313334" y="901467"/>
                </a:cubicBezTo>
                <a:cubicBezTo>
                  <a:pt x="311675" y="901777"/>
                  <a:pt x="309964" y="901995"/>
                  <a:pt x="308200" y="902122"/>
                </a:cubicBezTo>
                <a:cubicBezTo>
                  <a:pt x="306437" y="902248"/>
                  <a:pt x="304516" y="902309"/>
                  <a:pt x="302438" y="902305"/>
                </a:cubicBezTo>
                <a:cubicBezTo>
                  <a:pt x="293038" y="902515"/>
                  <a:pt x="285748" y="900419"/>
                  <a:pt x="280566" y="896019"/>
                </a:cubicBezTo>
                <a:cubicBezTo>
                  <a:pt x="275384" y="891618"/>
                  <a:pt x="272756" y="883655"/>
                  <a:pt x="272682" y="872130"/>
                </a:cubicBezTo>
                <a:lnTo>
                  <a:pt x="272682" y="807379"/>
                </a:lnTo>
                <a:lnTo>
                  <a:pt x="258642" y="807379"/>
                </a:lnTo>
                <a:cubicBezTo>
                  <a:pt x="257131" y="807335"/>
                  <a:pt x="255856" y="806794"/>
                  <a:pt x="254817" y="805755"/>
                </a:cubicBezTo>
                <a:cubicBezTo>
                  <a:pt x="253778" y="804716"/>
                  <a:pt x="253237" y="803441"/>
                  <a:pt x="253193" y="801931"/>
                </a:cubicBezTo>
                <a:lnTo>
                  <a:pt x="253193" y="801092"/>
                </a:lnTo>
                <a:cubicBezTo>
                  <a:pt x="253237" y="799582"/>
                  <a:pt x="253778" y="798307"/>
                  <a:pt x="254817" y="797268"/>
                </a:cubicBezTo>
                <a:cubicBezTo>
                  <a:pt x="255856" y="796229"/>
                  <a:pt x="257131" y="795688"/>
                  <a:pt x="258642" y="795644"/>
                </a:cubicBezTo>
                <a:lnTo>
                  <a:pt x="272682" y="795644"/>
                </a:lnTo>
                <a:lnTo>
                  <a:pt x="272682" y="770708"/>
                </a:lnTo>
                <a:cubicBezTo>
                  <a:pt x="272725" y="769197"/>
                  <a:pt x="273267" y="767922"/>
                  <a:pt x="274306" y="766883"/>
                </a:cubicBezTo>
                <a:cubicBezTo>
                  <a:pt x="275345" y="765844"/>
                  <a:pt x="276619" y="765303"/>
                  <a:pt x="278130" y="765259"/>
                </a:cubicBezTo>
                <a:close/>
                <a:moveTo>
                  <a:pt x="705288" y="755201"/>
                </a:moveTo>
                <a:cubicBezTo>
                  <a:pt x="708501" y="755280"/>
                  <a:pt x="711138" y="756380"/>
                  <a:pt x="713199" y="758501"/>
                </a:cubicBezTo>
                <a:cubicBezTo>
                  <a:pt x="715259" y="760623"/>
                  <a:pt x="716324" y="763295"/>
                  <a:pt x="716394" y="766517"/>
                </a:cubicBezTo>
                <a:cubicBezTo>
                  <a:pt x="716324" y="769739"/>
                  <a:pt x="715259" y="772410"/>
                  <a:pt x="713199" y="774532"/>
                </a:cubicBezTo>
                <a:cubicBezTo>
                  <a:pt x="711138" y="776654"/>
                  <a:pt x="708501" y="777754"/>
                  <a:pt x="705288" y="777832"/>
                </a:cubicBezTo>
                <a:cubicBezTo>
                  <a:pt x="702066" y="777754"/>
                  <a:pt x="699394" y="776654"/>
                  <a:pt x="697273" y="774532"/>
                </a:cubicBezTo>
                <a:cubicBezTo>
                  <a:pt x="695151" y="772410"/>
                  <a:pt x="694051" y="769739"/>
                  <a:pt x="693972" y="766517"/>
                </a:cubicBezTo>
                <a:cubicBezTo>
                  <a:pt x="694051" y="763295"/>
                  <a:pt x="695151" y="760623"/>
                  <a:pt x="697273" y="758501"/>
                </a:cubicBezTo>
                <a:cubicBezTo>
                  <a:pt x="699394" y="756380"/>
                  <a:pt x="702066" y="755280"/>
                  <a:pt x="705288" y="755201"/>
                </a:cubicBezTo>
                <a:close/>
                <a:moveTo>
                  <a:pt x="645414" y="755201"/>
                </a:moveTo>
                <a:lnTo>
                  <a:pt x="650653" y="755201"/>
                </a:lnTo>
                <a:cubicBezTo>
                  <a:pt x="652163" y="755245"/>
                  <a:pt x="653438" y="755786"/>
                  <a:pt x="654477" y="756825"/>
                </a:cubicBezTo>
                <a:cubicBezTo>
                  <a:pt x="655516" y="757864"/>
                  <a:pt x="656057" y="759139"/>
                  <a:pt x="656101" y="760649"/>
                </a:cubicBezTo>
                <a:lnTo>
                  <a:pt x="656101" y="894971"/>
                </a:lnTo>
                <a:cubicBezTo>
                  <a:pt x="656057" y="896481"/>
                  <a:pt x="655516" y="897756"/>
                  <a:pt x="654477" y="898795"/>
                </a:cubicBezTo>
                <a:cubicBezTo>
                  <a:pt x="653438" y="899834"/>
                  <a:pt x="652163" y="900375"/>
                  <a:pt x="650653" y="900419"/>
                </a:cubicBezTo>
                <a:lnTo>
                  <a:pt x="645414" y="900419"/>
                </a:lnTo>
                <a:cubicBezTo>
                  <a:pt x="643903" y="900375"/>
                  <a:pt x="642629" y="899834"/>
                  <a:pt x="641589" y="898795"/>
                </a:cubicBezTo>
                <a:cubicBezTo>
                  <a:pt x="640551" y="897756"/>
                  <a:pt x="640009" y="896481"/>
                  <a:pt x="639966" y="894971"/>
                </a:cubicBezTo>
                <a:lnTo>
                  <a:pt x="639966" y="760649"/>
                </a:lnTo>
                <a:cubicBezTo>
                  <a:pt x="640009" y="759139"/>
                  <a:pt x="640551" y="757864"/>
                  <a:pt x="641589" y="756825"/>
                </a:cubicBezTo>
                <a:cubicBezTo>
                  <a:pt x="642629" y="755786"/>
                  <a:pt x="643903" y="755245"/>
                  <a:pt x="645414" y="755201"/>
                </a:cubicBezTo>
                <a:close/>
                <a:moveTo>
                  <a:pt x="22003" y="755201"/>
                </a:moveTo>
                <a:lnTo>
                  <a:pt x="67056" y="755201"/>
                </a:lnTo>
                <a:cubicBezTo>
                  <a:pt x="82274" y="755354"/>
                  <a:pt x="93433" y="758820"/>
                  <a:pt x="100531" y="765600"/>
                </a:cubicBezTo>
                <a:cubicBezTo>
                  <a:pt x="107630" y="772380"/>
                  <a:pt x="111140" y="781556"/>
                  <a:pt x="111061" y="793130"/>
                </a:cubicBezTo>
                <a:cubicBezTo>
                  <a:pt x="110957" y="800704"/>
                  <a:pt x="108861" y="806982"/>
                  <a:pt x="104775" y="811963"/>
                </a:cubicBezTo>
                <a:cubicBezTo>
                  <a:pt x="100689" y="816944"/>
                  <a:pt x="95240" y="820445"/>
                  <a:pt x="88430" y="822467"/>
                </a:cubicBezTo>
                <a:lnTo>
                  <a:pt x="88430" y="822676"/>
                </a:lnTo>
                <a:cubicBezTo>
                  <a:pt x="97214" y="824894"/>
                  <a:pt x="104426" y="828997"/>
                  <a:pt x="110066" y="834987"/>
                </a:cubicBezTo>
                <a:cubicBezTo>
                  <a:pt x="115706" y="840977"/>
                  <a:pt x="118623" y="848748"/>
                  <a:pt x="118815" y="858300"/>
                </a:cubicBezTo>
                <a:cubicBezTo>
                  <a:pt x="118535" y="871514"/>
                  <a:pt x="113803" y="881809"/>
                  <a:pt x="104618" y="889182"/>
                </a:cubicBezTo>
                <a:cubicBezTo>
                  <a:pt x="95432" y="896556"/>
                  <a:pt x="83471" y="900301"/>
                  <a:pt x="68732" y="900419"/>
                </a:cubicBezTo>
                <a:lnTo>
                  <a:pt x="22003" y="900419"/>
                </a:lnTo>
                <a:cubicBezTo>
                  <a:pt x="20492" y="900375"/>
                  <a:pt x="19217" y="899834"/>
                  <a:pt x="18178" y="898795"/>
                </a:cubicBezTo>
                <a:cubicBezTo>
                  <a:pt x="17139" y="897756"/>
                  <a:pt x="16598" y="896481"/>
                  <a:pt x="16554" y="894971"/>
                </a:cubicBezTo>
                <a:lnTo>
                  <a:pt x="16554" y="760649"/>
                </a:lnTo>
                <a:cubicBezTo>
                  <a:pt x="16598" y="759139"/>
                  <a:pt x="17139" y="757864"/>
                  <a:pt x="18178" y="756825"/>
                </a:cubicBezTo>
                <a:cubicBezTo>
                  <a:pt x="19217" y="755786"/>
                  <a:pt x="20492" y="755245"/>
                  <a:pt x="22003" y="755201"/>
                </a:cubicBezTo>
                <a:close/>
                <a:moveTo>
                  <a:pt x="1293781" y="556795"/>
                </a:moveTo>
                <a:cubicBezTo>
                  <a:pt x="1286193" y="556839"/>
                  <a:pt x="1279680" y="558428"/>
                  <a:pt x="1274240" y="561562"/>
                </a:cubicBezTo>
                <a:cubicBezTo>
                  <a:pt x="1268801" y="564697"/>
                  <a:pt x="1265954" y="569115"/>
                  <a:pt x="1265701" y="574817"/>
                </a:cubicBezTo>
                <a:lnTo>
                  <a:pt x="1265701" y="625109"/>
                </a:lnTo>
                <a:cubicBezTo>
                  <a:pt x="1265910" y="630862"/>
                  <a:pt x="1268635" y="635490"/>
                  <a:pt x="1273873" y="638991"/>
                </a:cubicBezTo>
                <a:cubicBezTo>
                  <a:pt x="1279112" y="642492"/>
                  <a:pt x="1285608" y="644291"/>
                  <a:pt x="1293361" y="644387"/>
                </a:cubicBezTo>
                <a:cubicBezTo>
                  <a:pt x="1304415" y="644060"/>
                  <a:pt x="1312535" y="639581"/>
                  <a:pt x="1317722" y="630950"/>
                </a:cubicBezTo>
                <a:cubicBezTo>
                  <a:pt x="1322908" y="622319"/>
                  <a:pt x="1325475" y="611501"/>
                  <a:pt x="1325423" y="598496"/>
                </a:cubicBezTo>
                <a:cubicBezTo>
                  <a:pt x="1325597" y="586399"/>
                  <a:pt x="1323310" y="576489"/>
                  <a:pt x="1318560" y="568766"/>
                </a:cubicBezTo>
                <a:cubicBezTo>
                  <a:pt x="1313810" y="561043"/>
                  <a:pt x="1305550" y="557053"/>
                  <a:pt x="1293781" y="556795"/>
                </a:cubicBezTo>
                <a:close/>
                <a:moveTo>
                  <a:pt x="1099299" y="556795"/>
                </a:moveTo>
                <a:cubicBezTo>
                  <a:pt x="1092106" y="556910"/>
                  <a:pt x="1086119" y="558985"/>
                  <a:pt x="1081340" y="563020"/>
                </a:cubicBezTo>
                <a:cubicBezTo>
                  <a:pt x="1076560" y="567054"/>
                  <a:pt x="1072980" y="572358"/>
                  <a:pt x="1070599" y="578930"/>
                </a:cubicBezTo>
                <a:cubicBezTo>
                  <a:pt x="1068217" y="585502"/>
                  <a:pt x="1067027" y="592653"/>
                  <a:pt x="1067028" y="600382"/>
                </a:cubicBezTo>
                <a:cubicBezTo>
                  <a:pt x="1067027" y="608110"/>
                  <a:pt x="1068217" y="615261"/>
                  <a:pt x="1070599" y="621833"/>
                </a:cubicBezTo>
                <a:cubicBezTo>
                  <a:pt x="1072980" y="628406"/>
                  <a:pt x="1076560" y="633709"/>
                  <a:pt x="1081340" y="637744"/>
                </a:cubicBezTo>
                <a:cubicBezTo>
                  <a:pt x="1086119" y="641778"/>
                  <a:pt x="1092106" y="643853"/>
                  <a:pt x="1099299" y="643968"/>
                </a:cubicBezTo>
                <a:cubicBezTo>
                  <a:pt x="1106492" y="643853"/>
                  <a:pt x="1112479" y="641778"/>
                  <a:pt x="1117258" y="637744"/>
                </a:cubicBezTo>
                <a:cubicBezTo>
                  <a:pt x="1122038" y="633709"/>
                  <a:pt x="1125618" y="628406"/>
                  <a:pt x="1128000" y="621833"/>
                </a:cubicBezTo>
                <a:cubicBezTo>
                  <a:pt x="1130381" y="615261"/>
                  <a:pt x="1131571" y="608110"/>
                  <a:pt x="1131570" y="600382"/>
                </a:cubicBezTo>
                <a:cubicBezTo>
                  <a:pt x="1131571" y="592653"/>
                  <a:pt x="1130381" y="585502"/>
                  <a:pt x="1128000" y="578930"/>
                </a:cubicBezTo>
                <a:cubicBezTo>
                  <a:pt x="1125618" y="572358"/>
                  <a:pt x="1122038" y="567054"/>
                  <a:pt x="1117258" y="563020"/>
                </a:cubicBezTo>
                <a:cubicBezTo>
                  <a:pt x="1112479" y="558985"/>
                  <a:pt x="1106492" y="556910"/>
                  <a:pt x="1099299" y="556795"/>
                </a:cubicBezTo>
                <a:close/>
                <a:moveTo>
                  <a:pt x="984999" y="556795"/>
                </a:moveTo>
                <a:cubicBezTo>
                  <a:pt x="977806" y="556910"/>
                  <a:pt x="971819" y="558985"/>
                  <a:pt x="967040" y="563020"/>
                </a:cubicBezTo>
                <a:cubicBezTo>
                  <a:pt x="962260" y="567054"/>
                  <a:pt x="958680" y="572358"/>
                  <a:pt x="956299" y="578930"/>
                </a:cubicBezTo>
                <a:cubicBezTo>
                  <a:pt x="953917" y="585502"/>
                  <a:pt x="952727" y="592653"/>
                  <a:pt x="952728" y="600382"/>
                </a:cubicBezTo>
                <a:cubicBezTo>
                  <a:pt x="952727" y="608110"/>
                  <a:pt x="953917" y="615261"/>
                  <a:pt x="956299" y="621833"/>
                </a:cubicBezTo>
                <a:cubicBezTo>
                  <a:pt x="958680" y="628406"/>
                  <a:pt x="962260" y="633709"/>
                  <a:pt x="967040" y="637744"/>
                </a:cubicBezTo>
                <a:cubicBezTo>
                  <a:pt x="971819" y="641778"/>
                  <a:pt x="977806" y="643853"/>
                  <a:pt x="984999" y="643968"/>
                </a:cubicBezTo>
                <a:cubicBezTo>
                  <a:pt x="992192" y="643853"/>
                  <a:pt x="998179" y="641778"/>
                  <a:pt x="1002958" y="637744"/>
                </a:cubicBezTo>
                <a:cubicBezTo>
                  <a:pt x="1007738" y="633709"/>
                  <a:pt x="1011318" y="628406"/>
                  <a:pt x="1013700" y="621833"/>
                </a:cubicBezTo>
                <a:cubicBezTo>
                  <a:pt x="1016081" y="615261"/>
                  <a:pt x="1017271" y="608110"/>
                  <a:pt x="1017270" y="600382"/>
                </a:cubicBezTo>
                <a:cubicBezTo>
                  <a:pt x="1017271" y="592653"/>
                  <a:pt x="1016081" y="585502"/>
                  <a:pt x="1013700" y="578930"/>
                </a:cubicBezTo>
                <a:cubicBezTo>
                  <a:pt x="1011318" y="572358"/>
                  <a:pt x="1007738" y="567054"/>
                  <a:pt x="1002958" y="563020"/>
                </a:cubicBezTo>
                <a:cubicBezTo>
                  <a:pt x="998179" y="558985"/>
                  <a:pt x="992192" y="556910"/>
                  <a:pt x="984999" y="556795"/>
                </a:cubicBezTo>
                <a:close/>
                <a:moveTo>
                  <a:pt x="757656" y="556795"/>
                </a:moveTo>
                <a:cubicBezTo>
                  <a:pt x="745808" y="557140"/>
                  <a:pt x="737234" y="561480"/>
                  <a:pt x="731934" y="569814"/>
                </a:cubicBezTo>
                <a:cubicBezTo>
                  <a:pt x="726634" y="578148"/>
                  <a:pt x="724032" y="588407"/>
                  <a:pt x="724128" y="600591"/>
                </a:cubicBezTo>
                <a:cubicBezTo>
                  <a:pt x="724076" y="612942"/>
                  <a:pt x="726643" y="623183"/>
                  <a:pt x="731829" y="631316"/>
                </a:cubicBezTo>
                <a:cubicBezTo>
                  <a:pt x="737016" y="639450"/>
                  <a:pt x="745136" y="643667"/>
                  <a:pt x="756190" y="643968"/>
                </a:cubicBezTo>
                <a:cubicBezTo>
                  <a:pt x="763952" y="643889"/>
                  <a:pt x="770483" y="642161"/>
                  <a:pt x="775783" y="638782"/>
                </a:cubicBezTo>
                <a:cubicBezTo>
                  <a:pt x="781082" y="635403"/>
                  <a:pt x="783841" y="630845"/>
                  <a:pt x="784060" y="625109"/>
                </a:cubicBezTo>
                <a:lnTo>
                  <a:pt x="784060" y="569578"/>
                </a:lnTo>
                <a:cubicBezTo>
                  <a:pt x="783850" y="565286"/>
                  <a:pt x="781231" y="562082"/>
                  <a:pt x="776202" y="559965"/>
                </a:cubicBezTo>
                <a:cubicBezTo>
                  <a:pt x="771172" y="557847"/>
                  <a:pt x="764991" y="556791"/>
                  <a:pt x="757656" y="556795"/>
                </a:cubicBezTo>
                <a:close/>
                <a:moveTo>
                  <a:pt x="649948" y="556795"/>
                </a:moveTo>
                <a:cubicBezTo>
                  <a:pt x="641059" y="557118"/>
                  <a:pt x="633952" y="560558"/>
                  <a:pt x="628626" y="567116"/>
                </a:cubicBezTo>
                <a:cubicBezTo>
                  <a:pt x="623300" y="573673"/>
                  <a:pt x="620279" y="581409"/>
                  <a:pt x="619563" y="590323"/>
                </a:cubicBezTo>
                <a:lnTo>
                  <a:pt x="677189" y="590323"/>
                </a:lnTo>
                <a:cubicBezTo>
                  <a:pt x="677036" y="579850"/>
                  <a:pt x="674461" y="571669"/>
                  <a:pt x="669462" y="565780"/>
                </a:cubicBezTo>
                <a:cubicBezTo>
                  <a:pt x="664463" y="559890"/>
                  <a:pt x="657959" y="556896"/>
                  <a:pt x="649948" y="556795"/>
                </a:cubicBezTo>
                <a:close/>
                <a:moveTo>
                  <a:pt x="309981" y="556795"/>
                </a:moveTo>
                <a:cubicBezTo>
                  <a:pt x="298133" y="557140"/>
                  <a:pt x="289559" y="561480"/>
                  <a:pt x="284259" y="569814"/>
                </a:cubicBezTo>
                <a:cubicBezTo>
                  <a:pt x="278959" y="578148"/>
                  <a:pt x="276357" y="588407"/>
                  <a:pt x="276453" y="600591"/>
                </a:cubicBezTo>
                <a:cubicBezTo>
                  <a:pt x="276401" y="612942"/>
                  <a:pt x="278968" y="623183"/>
                  <a:pt x="284154" y="631316"/>
                </a:cubicBezTo>
                <a:cubicBezTo>
                  <a:pt x="289341" y="639450"/>
                  <a:pt x="297461" y="643667"/>
                  <a:pt x="308515" y="643968"/>
                </a:cubicBezTo>
                <a:cubicBezTo>
                  <a:pt x="316277" y="643889"/>
                  <a:pt x="322808" y="642161"/>
                  <a:pt x="328107" y="638782"/>
                </a:cubicBezTo>
                <a:cubicBezTo>
                  <a:pt x="333407" y="635403"/>
                  <a:pt x="336166" y="630845"/>
                  <a:pt x="336385" y="625109"/>
                </a:cubicBezTo>
                <a:lnTo>
                  <a:pt x="336385" y="569578"/>
                </a:lnTo>
                <a:cubicBezTo>
                  <a:pt x="336175" y="565286"/>
                  <a:pt x="333556" y="562082"/>
                  <a:pt x="328527" y="559965"/>
                </a:cubicBezTo>
                <a:cubicBezTo>
                  <a:pt x="323497" y="557847"/>
                  <a:pt x="317316" y="556791"/>
                  <a:pt x="309981" y="556795"/>
                </a:cubicBezTo>
                <a:close/>
                <a:moveTo>
                  <a:pt x="192748" y="556795"/>
                </a:moveTo>
                <a:cubicBezTo>
                  <a:pt x="183859" y="557118"/>
                  <a:pt x="176752" y="560558"/>
                  <a:pt x="171426" y="567116"/>
                </a:cubicBezTo>
                <a:cubicBezTo>
                  <a:pt x="166100" y="573673"/>
                  <a:pt x="163079" y="581409"/>
                  <a:pt x="162363" y="590323"/>
                </a:cubicBezTo>
                <a:lnTo>
                  <a:pt x="219989" y="590323"/>
                </a:lnTo>
                <a:cubicBezTo>
                  <a:pt x="219836" y="579850"/>
                  <a:pt x="217261" y="571669"/>
                  <a:pt x="212262" y="565780"/>
                </a:cubicBezTo>
                <a:cubicBezTo>
                  <a:pt x="207263" y="559890"/>
                  <a:pt x="200759" y="556896"/>
                  <a:pt x="192748" y="556795"/>
                </a:cubicBezTo>
                <a:close/>
                <a:moveTo>
                  <a:pt x="1445514" y="547994"/>
                </a:moveTo>
                <a:lnTo>
                  <a:pt x="1450753" y="547994"/>
                </a:lnTo>
                <a:cubicBezTo>
                  <a:pt x="1452263" y="548038"/>
                  <a:pt x="1453538" y="548579"/>
                  <a:pt x="1454577" y="549618"/>
                </a:cubicBezTo>
                <a:cubicBezTo>
                  <a:pt x="1455616" y="550657"/>
                  <a:pt x="1456157" y="551932"/>
                  <a:pt x="1456201" y="553442"/>
                </a:cubicBezTo>
                <a:lnTo>
                  <a:pt x="1456201" y="647321"/>
                </a:lnTo>
                <a:cubicBezTo>
                  <a:pt x="1456157" y="648831"/>
                  <a:pt x="1455616" y="650106"/>
                  <a:pt x="1454577" y="651145"/>
                </a:cubicBezTo>
                <a:cubicBezTo>
                  <a:pt x="1453538" y="652184"/>
                  <a:pt x="1452263" y="652726"/>
                  <a:pt x="1450753" y="652769"/>
                </a:cubicBezTo>
                <a:lnTo>
                  <a:pt x="1445514" y="652769"/>
                </a:lnTo>
                <a:cubicBezTo>
                  <a:pt x="1444003" y="652726"/>
                  <a:pt x="1442729" y="652184"/>
                  <a:pt x="1441689" y="651145"/>
                </a:cubicBezTo>
                <a:cubicBezTo>
                  <a:pt x="1440651" y="650106"/>
                  <a:pt x="1440109" y="648831"/>
                  <a:pt x="1440065" y="647321"/>
                </a:cubicBezTo>
                <a:lnTo>
                  <a:pt x="1440065" y="553442"/>
                </a:lnTo>
                <a:cubicBezTo>
                  <a:pt x="1440109" y="551932"/>
                  <a:pt x="1440651" y="550657"/>
                  <a:pt x="1441689" y="549618"/>
                </a:cubicBezTo>
                <a:cubicBezTo>
                  <a:pt x="1442729" y="548579"/>
                  <a:pt x="1444003" y="548038"/>
                  <a:pt x="1445514" y="547994"/>
                </a:cubicBezTo>
                <a:close/>
                <a:moveTo>
                  <a:pt x="397764" y="547994"/>
                </a:moveTo>
                <a:lnTo>
                  <a:pt x="403003" y="547994"/>
                </a:lnTo>
                <a:cubicBezTo>
                  <a:pt x="404513" y="548038"/>
                  <a:pt x="405788" y="548579"/>
                  <a:pt x="406827" y="549618"/>
                </a:cubicBezTo>
                <a:cubicBezTo>
                  <a:pt x="407866" y="550657"/>
                  <a:pt x="408407" y="551932"/>
                  <a:pt x="408451" y="553442"/>
                </a:cubicBezTo>
                <a:lnTo>
                  <a:pt x="408451" y="620918"/>
                </a:lnTo>
                <a:cubicBezTo>
                  <a:pt x="408390" y="628295"/>
                  <a:pt x="410241" y="633971"/>
                  <a:pt x="414004" y="637943"/>
                </a:cubicBezTo>
                <a:cubicBezTo>
                  <a:pt x="417767" y="641916"/>
                  <a:pt x="423809" y="643924"/>
                  <a:pt x="432130" y="643968"/>
                </a:cubicBezTo>
                <a:cubicBezTo>
                  <a:pt x="441088" y="643946"/>
                  <a:pt x="447637" y="642942"/>
                  <a:pt x="451775" y="640956"/>
                </a:cubicBezTo>
                <a:cubicBezTo>
                  <a:pt x="455914" y="638969"/>
                  <a:pt x="457957" y="636132"/>
                  <a:pt x="457905" y="632443"/>
                </a:cubicBezTo>
                <a:lnTo>
                  <a:pt x="457905" y="553442"/>
                </a:lnTo>
                <a:cubicBezTo>
                  <a:pt x="457948" y="551932"/>
                  <a:pt x="458490" y="550657"/>
                  <a:pt x="459529" y="549618"/>
                </a:cubicBezTo>
                <a:cubicBezTo>
                  <a:pt x="460568" y="548579"/>
                  <a:pt x="461842" y="548038"/>
                  <a:pt x="463353" y="547994"/>
                </a:cubicBezTo>
                <a:lnTo>
                  <a:pt x="468592" y="547994"/>
                </a:lnTo>
                <a:cubicBezTo>
                  <a:pt x="470102" y="548038"/>
                  <a:pt x="471377" y="548579"/>
                  <a:pt x="472416" y="549618"/>
                </a:cubicBezTo>
                <a:cubicBezTo>
                  <a:pt x="473455" y="550657"/>
                  <a:pt x="473996" y="551932"/>
                  <a:pt x="474040" y="553442"/>
                </a:cubicBezTo>
                <a:lnTo>
                  <a:pt x="474040" y="647321"/>
                </a:lnTo>
                <a:cubicBezTo>
                  <a:pt x="473996" y="648831"/>
                  <a:pt x="473455" y="650106"/>
                  <a:pt x="472416" y="651145"/>
                </a:cubicBezTo>
                <a:cubicBezTo>
                  <a:pt x="471377" y="652184"/>
                  <a:pt x="470102" y="652726"/>
                  <a:pt x="468592" y="652769"/>
                </a:cubicBezTo>
                <a:lnTo>
                  <a:pt x="463353" y="652769"/>
                </a:lnTo>
                <a:cubicBezTo>
                  <a:pt x="461842" y="652726"/>
                  <a:pt x="460568" y="652184"/>
                  <a:pt x="459529" y="651145"/>
                </a:cubicBezTo>
                <a:cubicBezTo>
                  <a:pt x="458490" y="650106"/>
                  <a:pt x="457948" y="648831"/>
                  <a:pt x="457905" y="647321"/>
                </a:cubicBezTo>
                <a:lnTo>
                  <a:pt x="457905" y="646483"/>
                </a:lnTo>
                <a:cubicBezTo>
                  <a:pt x="455106" y="649242"/>
                  <a:pt x="451378" y="651425"/>
                  <a:pt x="446720" y="653031"/>
                </a:cubicBezTo>
                <a:cubicBezTo>
                  <a:pt x="442062" y="654638"/>
                  <a:pt x="436290" y="655458"/>
                  <a:pt x="429406" y="655493"/>
                </a:cubicBezTo>
                <a:cubicBezTo>
                  <a:pt x="416401" y="655384"/>
                  <a:pt x="406945" y="652459"/>
                  <a:pt x="401038" y="646718"/>
                </a:cubicBezTo>
                <a:cubicBezTo>
                  <a:pt x="395131" y="640978"/>
                  <a:pt x="392224" y="633076"/>
                  <a:pt x="392316" y="623013"/>
                </a:cubicBezTo>
                <a:lnTo>
                  <a:pt x="392316" y="553442"/>
                </a:lnTo>
                <a:cubicBezTo>
                  <a:pt x="392359" y="551932"/>
                  <a:pt x="392901" y="550657"/>
                  <a:pt x="393940" y="549618"/>
                </a:cubicBezTo>
                <a:cubicBezTo>
                  <a:pt x="394979" y="548579"/>
                  <a:pt x="396253" y="548038"/>
                  <a:pt x="397764" y="547994"/>
                </a:cubicBezTo>
                <a:close/>
                <a:moveTo>
                  <a:pt x="1532325" y="545270"/>
                </a:moveTo>
                <a:cubicBezTo>
                  <a:pt x="1545330" y="545414"/>
                  <a:pt x="1554786" y="548479"/>
                  <a:pt x="1560693" y="554464"/>
                </a:cubicBezTo>
                <a:cubicBezTo>
                  <a:pt x="1566599" y="560449"/>
                  <a:pt x="1569507" y="568491"/>
                  <a:pt x="1569415" y="578588"/>
                </a:cubicBezTo>
                <a:lnTo>
                  <a:pt x="1569415" y="647321"/>
                </a:lnTo>
                <a:cubicBezTo>
                  <a:pt x="1569371" y="648831"/>
                  <a:pt x="1568830" y="650106"/>
                  <a:pt x="1567791" y="651145"/>
                </a:cubicBezTo>
                <a:cubicBezTo>
                  <a:pt x="1566752" y="652184"/>
                  <a:pt x="1565477" y="652726"/>
                  <a:pt x="1563967" y="652769"/>
                </a:cubicBezTo>
                <a:lnTo>
                  <a:pt x="1558728" y="652769"/>
                </a:lnTo>
                <a:cubicBezTo>
                  <a:pt x="1557217" y="652726"/>
                  <a:pt x="1555943" y="652184"/>
                  <a:pt x="1554904" y="651145"/>
                </a:cubicBezTo>
                <a:cubicBezTo>
                  <a:pt x="1553865" y="650106"/>
                  <a:pt x="1553323" y="648831"/>
                  <a:pt x="1553280" y="647321"/>
                </a:cubicBezTo>
                <a:lnTo>
                  <a:pt x="1553280" y="580684"/>
                </a:lnTo>
                <a:cubicBezTo>
                  <a:pt x="1553332" y="573271"/>
                  <a:pt x="1551446" y="567456"/>
                  <a:pt x="1547622" y="563239"/>
                </a:cubicBezTo>
                <a:cubicBezTo>
                  <a:pt x="1543797" y="559022"/>
                  <a:pt x="1537721" y="556874"/>
                  <a:pt x="1529391" y="556795"/>
                </a:cubicBezTo>
                <a:cubicBezTo>
                  <a:pt x="1520441" y="556800"/>
                  <a:pt x="1513928" y="557734"/>
                  <a:pt x="1509851" y="559598"/>
                </a:cubicBezTo>
                <a:cubicBezTo>
                  <a:pt x="1505773" y="561462"/>
                  <a:pt x="1503765" y="564230"/>
                  <a:pt x="1503826" y="567901"/>
                </a:cubicBezTo>
                <a:lnTo>
                  <a:pt x="1503826" y="647321"/>
                </a:lnTo>
                <a:cubicBezTo>
                  <a:pt x="1503782" y="648831"/>
                  <a:pt x="1503241" y="650106"/>
                  <a:pt x="1502202" y="651145"/>
                </a:cubicBezTo>
                <a:cubicBezTo>
                  <a:pt x="1501163" y="652184"/>
                  <a:pt x="1499888" y="652726"/>
                  <a:pt x="1498378" y="652769"/>
                </a:cubicBezTo>
                <a:lnTo>
                  <a:pt x="1493139" y="652769"/>
                </a:lnTo>
                <a:cubicBezTo>
                  <a:pt x="1491628" y="652726"/>
                  <a:pt x="1490353" y="652184"/>
                  <a:pt x="1489315" y="651145"/>
                </a:cubicBezTo>
                <a:cubicBezTo>
                  <a:pt x="1488275" y="650106"/>
                  <a:pt x="1487734" y="648831"/>
                  <a:pt x="1487691" y="647321"/>
                </a:cubicBezTo>
                <a:lnTo>
                  <a:pt x="1487691" y="553442"/>
                </a:lnTo>
                <a:cubicBezTo>
                  <a:pt x="1487734" y="551932"/>
                  <a:pt x="1488275" y="550657"/>
                  <a:pt x="1489315" y="549618"/>
                </a:cubicBezTo>
                <a:cubicBezTo>
                  <a:pt x="1490353" y="548579"/>
                  <a:pt x="1491628" y="548038"/>
                  <a:pt x="1493139" y="547994"/>
                </a:cubicBezTo>
                <a:lnTo>
                  <a:pt x="1498378" y="547994"/>
                </a:lnTo>
                <a:cubicBezTo>
                  <a:pt x="1499888" y="548038"/>
                  <a:pt x="1501163" y="548579"/>
                  <a:pt x="1502202" y="549618"/>
                </a:cubicBezTo>
                <a:cubicBezTo>
                  <a:pt x="1503241" y="550657"/>
                  <a:pt x="1503782" y="551932"/>
                  <a:pt x="1503826" y="553442"/>
                </a:cubicBezTo>
                <a:lnTo>
                  <a:pt x="1503826" y="554281"/>
                </a:lnTo>
                <a:cubicBezTo>
                  <a:pt x="1506624" y="551522"/>
                  <a:pt x="1510353" y="549339"/>
                  <a:pt x="1515011" y="547732"/>
                </a:cubicBezTo>
                <a:cubicBezTo>
                  <a:pt x="1519669" y="546126"/>
                  <a:pt x="1525440" y="545305"/>
                  <a:pt x="1532325" y="545270"/>
                </a:cubicBezTo>
                <a:close/>
                <a:moveTo>
                  <a:pt x="1409547" y="545270"/>
                </a:moveTo>
                <a:cubicBezTo>
                  <a:pt x="1413411" y="545296"/>
                  <a:pt x="1416266" y="545977"/>
                  <a:pt x="1418113" y="547313"/>
                </a:cubicBezTo>
                <a:cubicBezTo>
                  <a:pt x="1419959" y="548649"/>
                  <a:pt x="1420876" y="550483"/>
                  <a:pt x="1420863" y="552814"/>
                </a:cubicBezTo>
                <a:cubicBezTo>
                  <a:pt x="1420867" y="555045"/>
                  <a:pt x="1420230" y="556817"/>
                  <a:pt x="1418951" y="558131"/>
                </a:cubicBezTo>
                <a:cubicBezTo>
                  <a:pt x="1417672" y="559445"/>
                  <a:pt x="1415725" y="560117"/>
                  <a:pt x="1413110" y="560148"/>
                </a:cubicBezTo>
                <a:cubicBezTo>
                  <a:pt x="1410927" y="560061"/>
                  <a:pt x="1408220" y="559711"/>
                  <a:pt x="1404990" y="559100"/>
                </a:cubicBezTo>
                <a:cubicBezTo>
                  <a:pt x="1401759" y="558489"/>
                  <a:pt x="1397900" y="558140"/>
                  <a:pt x="1393412" y="558053"/>
                </a:cubicBezTo>
                <a:cubicBezTo>
                  <a:pt x="1389461" y="558057"/>
                  <a:pt x="1386257" y="559148"/>
                  <a:pt x="1383799" y="561327"/>
                </a:cubicBezTo>
                <a:cubicBezTo>
                  <a:pt x="1381341" y="563505"/>
                  <a:pt x="1380075" y="566744"/>
                  <a:pt x="1380001" y="571045"/>
                </a:cubicBezTo>
                <a:lnTo>
                  <a:pt x="1380001" y="647321"/>
                </a:lnTo>
                <a:cubicBezTo>
                  <a:pt x="1379957" y="648831"/>
                  <a:pt x="1379416" y="650106"/>
                  <a:pt x="1378377" y="651145"/>
                </a:cubicBezTo>
                <a:cubicBezTo>
                  <a:pt x="1377338" y="652184"/>
                  <a:pt x="1376063" y="652726"/>
                  <a:pt x="1374553" y="652769"/>
                </a:cubicBezTo>
                <a:lnTo>
                  <a:pt x="1369314" y="652769"/>
                </a:lnTo>
                <a:cubicBezTo>
                  <a:pt x="1367803" y="652726"/>
                  <a:pt x="1366529" y="652184"/>
                  <a:pt x="1365489" y="651145"/>
                </a:cubicBezTo>
                <a:cubicBezTo>
                  <a:pt x="1364451" y="650106"/>
                  <a:pt x="1363909" y="648831"/>
                  <a:pt x="1363865" y="647321"/>
                </a:cubicBezTo>
                <a:lnTo>
                  <a:pt x="1363865" y="553442"/>
                </a:lnTo>
                <a:cubicBezTo>
                  <a:pt x="1363909" y="551932"/>
                  <a:pt x="1364451" y="550657"/>
                  <a:pt x="1365489" y="549618"/>
                </a:cubicBezTo>
                <a:cubicBezTo>
                  <a:pt x="1366529" y="548579"/>
                  <a:pt x="1367803" y="548038"/>
                  <a:pt x="1369314" y="547994"/>
                </a:cubicBezTo>
                <a:lnTo>
                  <a:pt x="1374553" y="547994"/>
                </a:lnTo>
                <a:cubicBezTo>
                  <a:pt x="1376063" y="548038"/>
                  <a:pt x="1377338" y="548579"/>
                  <a:pt x="1378377" y="549618"/>
                </a:cubicBezTo>
                <a:cubicBezTo>
                  <a:pt x="1379416" y="550657"/>
                  <a:pt x="1379957" y="551932"/>
                  <a:pt x="1380001" y="553442"/>
                </a:cubicBezTo>
                <a:lnTo>
                  <a:pt x="1380001" y="555328"/>
                </a:lnTo>
                <a:cubicBezTo>
                  <a:pt x="1383459" y="552067"/>
                  <a:pt x="1387649" y="549579"/>
                  <a:pt x="1392574" y="547863"/>
                </a:cubicBezTo>
                <a:cubicBezTo>
                  <a:pt x="1397498" y="546147"/>
                  <a:pt x="1403156" y="545283"/>
                  <a:pt x="1409547" y="545270"/>
                </a:cubicBezTo>
                <a:close/>
                <a:moveTo>
                  <a:pt x="1295457" y="545270"/>
                </a:moveTo>
                <a:cubicBezTo>
                  <a:pt x="1310505" y="545432"/>
                  <a:pt x="1322004" y="550190"/>
                  <a:pt x="1329954" y="559546"/>
                </a:cubicBezTo>
                <a:cubicBezTo>
                  <a:pt x="1337904" y="568901"/>
                  <a:pt x="1341912" y="581884"/>
                  <a:pt x="1341977" y="598496"/>
                </a:cubicBezTo>
                <a:cubicBezTo>
                  <a:pt x="1341820" y="615814"/>
                  <a:pt x="1337577" y="629583"/>
                  <a:pt x="1329247" y="639803"/>
                </a:cubicBezTo>
                <a:cubicBezTo>
                  <a:pt x="1320917" y="650023"/>
                  <a:pt x="1309444" y="655253"/>
                  <a:pt x="1294828" y="655493"/>
                </a:cubicBezTo>
                <a:cubicBezTo>
                  <a:pt x="1288546" y="655471"/>
                  <a:pt x="1282827" y="654520"/>
                  <a:pt x="1277671" y="652638"/>
                </a:cubicBezTo>
                <a:cubicBezTo>
                  <a:pt x="1272516" y="650757"/>
                  <a:pt x="1268525" y="648076"/>
                  <a:pt x="1265701" y="644597"/>
                </a:cubicBezTo>
                <a:lnTo>
                  <a:pt x="1265701" y="685459"/>
                </a:lnTo>
                <a:cubicBezTo>
                  <a:pt x="1265657" y="686969"/>
                  <a:pt x="1265116" y="688244"/>
                  <a:pt x="1264077" y="689283"/>
                </a:cubicBezTo>
                <a:cubicBezTo>
                  <a:pt x="1263038" y="690322"/>
                  <a:pt x="1261763" y="690864"/>
                  <a:pt x="1260253" y="690907"/>
                </a:cubicBezTo>
                <a:lnTo>
                  <a:pt x="1255014" y="690907"/>
                </a:lnTo>
                <a:cubicBezTo>
                  <a:pt x="1253503" y="690864"/>
                  <a:pt x="1252229" y="690322"/>
                  <a:pt x="1251189" y="689283"/>
                </a:cubicBezTo>
                <a:cubicBezTo>
                  <a:pt x="1250151" y="688244"/>
                  <a:pt x="1249609" y="686969"/>
                  <a:pt x="1249565" y="685459"/>
                </a:cubicBezTo>
                <a:lnTo>
                  <a:pt x="1249565" y="553442"/>
                </a:lnTo>
                <a:cubicBezTo>
                  <a:pt x="1249609" y="551932"/>
                  <a:pt x="1250151" y="550657"/>
                  <a:pt x="1251189" y="549618"/>
                </a:cubicBezTo>
                <a:cubicBezTo>
                  <a:pt x="1252229" y="548579"/>
                  <a:pt x="1253503" y="548038"/>
                  <a:pt x="1255014" y="547994"/>
                </a:cubicBezTo>
                <a:lnTo>
                  <a:pt x="1260253" y="547994"/>
                </a:lnTo>
                <a:cubicBezTo>
                  <a:pt x="1261763" y="548038"/>
                  <a:pt x="1263038" y="548579"/>
                  <a:pt x="1264077" y="549618"/>
                </a:cubicBezTo>
                <a:cubicBezTo>
                  <a:pt x="1265116" y="550657"/>
                  <a:pt x="1265657" y="551932"/>
                  <a:pt x="1265701" y="553442"/>
                </a:cubicBezTo>
                <a:lnTo>
                  <a:pt x="1265701" y="555328"/>
                </a:lnTo>
                <a:cubicBezTo>
                  <a:pt x="1269154" y="551976"/>
                  <a:pt x="1273511" y="549461"/>
                  <a:pt x="1278771" y="547785"/>
                </a:cubicBezTo>
                <a:cubicBezTo>
                  <a:pt x="1284032" y="546108"/>
                  <a:pt x="1289594" y="545270"/>
                  <a:pt x="1295457" y="545270"/>
                </a:cubicBezTo>
                <a:close/>
                <a:moveTo>
                  <a:pt x="1099299" y="545270"/>
                </a:moveTo>
                <a:cubicBezTo>
                  <a:pt x="1109335" y="545392"/>
                  <a:pt x="1117994" y="547919"/>
                  <a:pt x="1125275" y="552853"/>
                </a:cubicBezTo>
                <a:cubicBezTo>
                  <a:pt x="1132557" y="557786"/>
                  <a:pt x="1138173" y="564396"/>
                  <a:pt x="1142125" y="572682"/>
                </a:cubicBezTo>
                <a:cubicBezTo>
                  <a:pt x="1146077" y="580969"/>
                  <a:pt x="1148076" y="590202"/>
                  <a:pt x="1148124" y="600382"/>
                </a:cubicBezTo>
                <a:cubicBezTo>
                  <a:pt x="1148076" y="610562"/>
                  <a:pt x="1146077" y="619795"/>
                  <a:pt x="1142125" y="628081"/>
                </a:cubicBezTo>
                <a:cubicBezTo>
                  <a:pt x="1138173" y="636367"/>
                  <a:pt x="1132557" y="642977"/>
                  <a:pt x="1125275" y="647911"/>
                </a:cubicBezTo>
                <a:cubicBezTo>
                  <a:pt x="1117994" y="652844"/>
                  <a:pt x="1109335" y="655372"/>
                  <a:pt x="1099299" y="655493"/>
                </a:cubicBezTo>
                <a:cubicBezTo>
                  <a:pt x="1089265" y="655372"/>
                  <a:pt x="1080625" y="652844"/>
                  <a:pt x="1073377" y="647911"/>
                </a:cubicBezTo>
                <a:cubicBezTo>
                  <a:pt x="1066129" y="642977"/>
                  <a:pt x="1060547" y="636367"/>
                  <a:pt x="1056629" y="628081"/>
                </a:cubicBezTo>
                <a:cubicBezTo>
                  <a:pt x="1052711" y="619795"/>
                  <a:pt x="1050729" y="610562"/>
                  <a:pt x="1050683" y="600382"/>
                </a:cubicBezTo>
                <a:cubicBezTo>
                  <a:pt x="1050729" y="590202"/>
                  <a:pt x="1052711" y="580969"/>
                  <a:pt x="1056629" y="572682"/>
                </a:cubicBezTo>
                <a:cubicBezTo>
                  <a:pt x="1060547" y="564396"/>
                  <a:pt x="1066129" y="557786"/>
                  <a:pt x="1073377" y="552853"/>
                </a:cubicBezTo>
                <a:cubicBezTo>
                  <a:pt x="1080625" y="547919"/>
                  <a:pt x="1089265" y="545392"/>
                  <a:pt x="1099299" y="545270"/>
                </a:cubicBezTo>
                <a:close/>
                <a:moveTo>
                  <a:pt x="984999" y="545270"/>
                </a:moveTo>
                <a:cubicBezTo>
                  <a:pt x="995035" y="545392"/>
                  <a:pt x="1003694" y="547919"/>
                  <a:pt x="1010975" y="552853"/>
                </a:cubicBezTo>
                <a:cubicBezTo>
                  <a:pt x="1018257" y="557786"/>
                  <a:pt x="1023873" y="564396"/>
                  <a:pt x="1027825" y="572682"/>
                </a:cubicBezTo>
                <a:cubicBezTo>
                  <a:pt x="1031777" y="580969"/>
                  <a:pt x="1033776" y="590202"/>
                  <a:pt x="1033824" y="600382"/>
                </a:cubicBezTo>
                <a:cubicBezTo>
                  <a:pt x="1033776" y="610562"/>
                  <a:pt x="1031777" y="619795"/>
                  <a:pt x="1027825" y="628081"/>
                </a:cubicBezTo>
                <a:cubicBezTo>
                  <a:pt x="1023873" y="636367"/>
                  <a:pt x="1018257" y="642977"/>
                  <a:pt x="1010975" y="647911"/>
                </a:cubicBezTo>
                <a:cubicBezTo>
                  <a:pt x="1003694" y="652844"/>
                  <a:pt x="995035" y="655372"/>
                  <a:pt x="984999" y="655493"/>
                </a:cubicBezTo>
                <a:cubicBezTo>
                  <a:pt x="974965" y="655372"/>
                  <a:pt x="966325" y="652844"/>
                  <a:pt x="959077" y="647911"/>
                </a:cubicBezTo>
                <a:cubicBezTo>
                  <a:pt x="951829" y="642977"/>
                  <a:pt x="946247" y="636367"/>
                  <a:pt x="942329" y="628081"/>
                </a:cubicBezTo>
                <a:cubicBezTo>
                  <a:pt x="938411" y="619795"/>
                  <a:pt x="936429" y="610562"/>
                  <a:pt x="936383" y="600382"/>
                </a:cubicBezTo>
                <a:cubicBezTo>
                  <a:pt x="936429" y="590202"/>
                  <a:pt x="938411" y="580969"/>
                  <a:pt x="942329" y="572682"/>
                </a:cubicBezTo>
                <a:cubicBezTo>
                  <a:pt x="946247" y="564396"/>
                  <a:pt x="951829" y="557786"/>
                  <a:pt x="959077" y="552853"/>
                </a:cubicBezTo>
                <a:cubicBezTo>
                  <a:pt x="966325" y="547919"/>
                  <a:pt x="974965" y="545392"/>
                  <a:pt x="984999" y="545270"/>
                </a:cubicBezTo>
                <a:close/>
                <a:moveTo>
                  <a:pt x="650576" y="545270"/>
                </a:moveTo>
                <a:cubicBezTo>
                  <a:pt x="659614" y="545390"/>
                  <a:pt x="667313" y="547641"/>
                  <a:pt x="673673" y="552022"/>
                </a:cubicBezTo>
                <a:cubicBezTo>
                  <a:pt x="680034" y="556403"/>
                  <a:pt x="684892" y="562193"/>
                  <a:pt x="688249" y="569392"/>
                </a:cubicBezTo>
                <a:cubicBezTo>
                  <a:pt x="691605" y="576590"/>
                  <a:pt x="693297" y="584475"/>
                  <a:pt x="693325" y="593047"/>
                </a:cubicBezTo>
                <a:cubicBezTo>
                  <a:pt x="693368" y="596313"/>
                  <a:pt x="692967" y="598478"/>
                  <a:pt x="692120" y="599543"/>
                </a:cubicBezTo>
                <a:cubicBezTo>
                  <a:pt x="691273" y="600609"/>
                  <a:pt x="689719" y="601098"/>
                  <a:pt x="687457" y="601010"/>
                </a:cubicBezTo>
                <a:lnTo>
                  <a:pt x="618934" y="601010"/>
                </a:lnTo>
                <a:cubicBezTo>
                  <a:pt x="619375" y="614775"/>
                  <a:pt x="622789" y="625226"/>
                  <a:pt x="629176" y="632364"/>
                </a:cubicBezTo>
                <a:cubicBezTo>
                  <a:pt x="635563" y="639502"/>
                  <a:pt x="643535" y="643091"/>
                  <a:pt x="653091" y="643130"/>
                </a:cubicBezTo>
                <a:cubicBezTo>
                  <a:pt x="659277" y="643021"/>
                  <a:pt x="664205" y="642261"/>
                  <a:pt x="667876" y="640848"/>
                </a:cubicBezTo>
                <a:cubicBezTo>
                  <a:pt x="671547" y="639436"/>
                  <a:pt x="674566" y="638023"/>
                  <a:pt x="676933" y="636611"/>
                </a:cubicBezTo>
                <a:cubicBezTo>
                  <a:pt x="679300" y="635198"/>
                  <a:pt x="681621" y="634437"/>
                  <a:pt x="683895" y="634329"/>
                </a:cubicBezTo>
                <a:cubicBezTo>
                  <a:pt x="685807" y="634355"/>
                  <a:pt x="687326" y="634931"/>
                  <a:pt x="688453" y="636058"/>
                </a:cubicBezTo>
                <a:cubicBezTo>
                  <a:pt x="689579" y="637184"/>
                  <a:pt x="690155" y="638703"/>
                  <a:pt x="690181" y="640615"/>
                </a:cubicBezTo>
                <a:cubicBezTo>
                  <a:pt x="690068" y="644444"/>
                  <a:pt x="686785" y="647840"/>
                  <a:pt x="680333" y="650805"/>
                </a:cubicBezTo>
                <a:cubicBezTo>
                  <a:pt x="673880" y="653769"/>
                  <a:pt x="664939" y="655332"/>
                  <a:pt x="653510" y="655493"/>
                </a:cubicBezTo>
                <a:cubicBezTo>
                  <a:pt x="637379" y="655162"/>
                  <a:pt x="624954" y="650010"/>
                  <a:pt x="616236" y="640039"/>
                </a:cubicBezTo>
                <a:cubicBezTo>
                  <a:pt x="607518" y="630068"/>
                  <a:pt x="603109" y="617268"/>
                  <a:pt x="603009" y="601639"/>
                </a:cubicBezTo>
                <a:cubicBezTo>
                  <a:pt x="603314" y="585172"/>
                  <a:pt x="607889" y="571743"/>
                  <a:pt x="616734" y="561353"/>
                </a:cubicBezTo>
                <a:cubicBezTo>
                  <a:pt x="625579" y="550963"/>
                  <a:pt x="636860" y="545602"/>
                  <a:pt x="650576" y="545270"/>
                </a:cubicBezTo>
                <a:close/>
                <a:moveTo>
                  <a:pt x="557631" y="545270"/>
                </a:moveTo>
                <a:cubicBezTo>
                  <a:pt x="567677" y="545392"/>
                  <a:pt x="575509" y="546772"/>
                  <a:pt x="581127" y="549409"/>
                </a:cubicBezTo>
                <a:cubicBezTo>
                  <a:pt x="586746" y="552045"/>
                  <a:pt x="589601" y="555206"/>
                  <a:pt x="589693" y="558891"/>
                </a:cubicBezTo>
                <a:cubicBezTo>
                  <a:pt x="589658" y="560812"/>
                  <a:pt x="589047" y="562366"/>
                  <a:pt x="587859" y="563553"/>
                </a:cubicBezTo>
                <a:cubicBezTo>
                  <a:pt x="586672" y="564741"/>
                  <a:pt x="585117" y="565352"/>
                  <a:pt x="583197" y="565387"/>
                </a:cubicBezTo>
                <a:cubicBezTo>
                  <a:pt x="579743" y="565046"/>
                  <a:pt x="576277" y="563684"/>
                  <a:pt x="572798" y="561301"/>
                </a:cubicBezTo>
                <a:cubicBezTo>
                  <a:pt x="569318" y="558917"/>
                  <a:pt x="563914" y="557555"/>
                  <a:pt x="556584" y="557214"/>
                </a:cubicBezTo>
                <a:cubicBezTo>
                  <a:pt x="548984" y="557372"/>
                  <a:pt x="542739" y="559594"/>
                  <a:pt x="537848" y="563881"/>
                </a:cubicBezTo>
                <a:cubicBezTo>
                  <a:pt x="532957" y="568168"/>
                  <a:pt x="529336" y="573572"/>
                  <a:pt x="526983" y="580094"/>
                </a:cubicBezTo>
                <a:cubicBezTo>
                  <a:pt x="524630" y="586616"/>
                  <a:pt x="523461" y="593309"/>
                  <a:pt x="523475" y="600172"/>
                </a:cubicBezTo>
                <a:cubicBezTo>
                  <a:pt x="523737" y="613714"/>
                  <a:pt x="526985" y="624297"/>
                  <a:pt x="533219" y="631919"/>
                </a:cubicBezTo>
                <a:cubicBezTo>
                  <a:pt x="539453" y="639541"/>
                  <a:pt x="547102" y="643418"/>
                  <a:pt x="556165" y="643549"/>
                </a:cubicBezTo>
                <a:cubicBezTo>
                  <a:pt x="561727" y="643438"/>
                  <a:pt x="566156" y="642659"/>
                  <a:pt x="569452" y="641213"/>
                </a:cubicBezTo>
                <a:cubicBezTo>
                  <a:pt x="572747" y="639767"/>
                  <a:pt x="575485" y="638321"/>
                  <a:pt x="577663" y="636874"/>
                </a:cubicBezTo>
                <a:cubicBezTo>
                  <a:pt x="579841" y="635428"/>
                  <a:pt x="582035" y="634650"/>
                  <a:pt x="584244" y="634538"/>
                </a:cubicBezTo>
                <a:cubicBezTo>
                  <a:pt x="586257" y="634560"/>
                  <a:pt x="587837" y="635145"/>
                  <a:pt x="588985" y="636293"/>
                </a:cubicBezTo>
                <a:cubicBezTo>
                  <a:pt x="590133" y="637441"/>
                  <a:pt x="590719" y="639022"/>
                  <a:pt x="590740" y="641034"/>
                </a:cubicBezTo>
                <a:cubicBezTo>
                  <a:pt x="590579" y="644754"/>
                  <a:pt x="587444" y="648054"/>
                  <a:pt x="581337" y="650936"/>
                </a:cubicBezTo>
                <a:cubicBezTo>
                  <a:pt x="575229" y="653817"/>
                  <a:pt x="567118" y="655336"/>
                  <a:pt x="557003" y="655493"/>
                </a:cubicBezTo>
                <a:cubicBezTo>
                  <a:pt x="541841" y="655345"/>
                  <a:pt x="529888" y="650455"/>
                  <a:pt x="521143" y="640825"/>
                </a:cubicBezTo>
                <a:cubicBezTo>
                  <a:pt x="512399" y="631194"/>
                  <a:pt x="507937" y="617713"/>
                  <a:pt x="507759" y="600382"/>
                </a:cubicBezTo>
                <a:cubicBezTo>
                  <a:pt x="507964" y="584150"/>
                  <a:pt x="512530" y="570984"/>
                  <a:pt x="521458" y="560881"/>
                </a:cubicBezTo>
                <a:cubicBezTo>
                  <a:pt x="530386" y="550779"/>
                  <a:pt x="542443" y="545576"/>
                  <a:pt x="557631" y="545270"/>
                </a:cubicBezTo>
                <a:close/>
                <a:moveTo>
                  <a:pt x="193376" y="545270"/>
                </a:moveTo>
                <a:cubicBezTo>
                  <a:pt x="202414" y="545390"/>
                  <a:pt x="210113" y="547641"/>
                  <a:pt x="216473" y="552022"/>
                </a:cubicBezTo>
                <a:cubicBezTo>
                  <a:pt x="222834" y="556403"/>
                  <a:pt x="227692" y="562193"/>
                  <a:pt x="231049" y="569392"/>
                </a:cubicBezTo>
                <a:cubicBezTo>
                  <a:pt x="234405" y="576590"/>
                  <a:pt x="236097" y="584475"/>
                  <a:pt x="236125" y="593047"/>
                </a:cubicBezTo>
                <a:cubicBezTo>
                  <a:pt x="236168" y="596313"/>
                  <a:pt x="235767" y="598478"/>
                  <a:pt x="234920" y="599543"/>
                </a:cubicBezTo>
                <a:cubicBezTo>
                  <a:pt x="234073" y="600609"/>
                  <a:pt x="232519" y="601098"/>
                  <a:pt x="230257" y="601010"/>
                </a:cubicBezTo>
                <a:lnTo>
                  <a:pt x="161734" y="601010"/>
                </a:lnTo>
                <a:cubicBezTo>
                  <a:pt x="162175" y="614775"/>
                  <a:pt x="165589" y="625226"/>
                  <a:pt x="171976" y="632364"/>
                </a:cubicBezTo>
                <a:cubicBezTo>
                  <a:pt x="178363" y="639502"/>
                  <a:pt x="186335" y="643091"/>
                  <a:pt x="195891" y="643130"/>
                </a:cubicBezTo>
                <a:cubicBezTo>
                  <a:pt x="202077" y="643021"/>
                  <a:pt x="207005" y="642261"/>
                  <a:pt x="210676" y="640848"/>
                </a:cubicBezTo>
                <a:cubicBezTo>
                  <a:pt x="214347" y="639436"/>
                  <a:pt x="217366" y="638023"/>
                  <a:pt x="219733" y="636611"/>
                </a:cubicBezTo>
                <a:cubicBezTo>
                  <a:pt x="222100" y="635198"/>
                  <a:pt x="224421" y="634437"/>
                  <a:pt x="226695" y="634329"/>
                </a:cubicBezTo>
                <a:cubicBezTo>
                  <a:pt x="228607" y="634355"/>
                  <a:pt x="230126" y="634931"/>
                  <a:pt x="231253" y="636058"/>
                </a:cubicBezTo>
                <a:cubicBezTo>
                  <a:pt x="232379" y="637184"/>
                  <a:pt x="232955" y="638703"/>
                  <a:pt x="232981" y="640615"/>
                </a:cubicBezTo>
                <a:cubicBezTo>
                  <a:pt x="232868" y="644444"/>
                  <a:pt x="229585" y="647840"/>
                  <a:pt x="223132" y="650805"/>
                </a:cubicBezTo>
                <a:cubicBezTo>
                  <a:pt x="216680" y="653769"/>
                  <a:pt x="207739" y="655332"/>
                  <a:pt x="196310" y="655493"/>
                </a:cubicBezTo>
                <a:cubicBezTo>
                  <a:pt x="180179" y="655162"/>
                  <a:pt x="167755" y="650010"/>
                  <a:pt x="159036" y="640039"/>
                </a:cubicBezTo>
                <a:cubicBezTo>
                  <a:pt x="150318" y="630068"/>
                  <a:pt x="145909" y="617268"/>
                  <a:pt x="145809" y="601639"/>
                </a:cubicBezTo>
                <a:cubicBezTo>
                  <a:pt x="146114" y="585172"/>
                  <a:pt x="150689" y="571743"/>
                  <a:pt x="159534" y="561353"/>
                </a:cubicBezTo>
                <a:cubicBezTo>
                  <a:pt x="168379" y="550963"/>
                  <a:pt x="179660" y="545602"/>
                  <a:pt x="193376" y="545270"/>
                </a:cubicBezTo>
                <a:close/>
                <a:moveTo>
                  <a:pt x="34576" y="520124"/>
                </a:moveTo>
                <a:lnTo>
                  <a:pt x="34576" y="575655"/>
                </a:lnTo>
                <a:lnTo>
                  <a:pt x="66218" y="575655"/>
                </a:lnTo>
                <a:cubicBezTo>
                  <a:pt x="74268" y="575764"/>
                  <a:pt x="81270" y="573555"/>
                  <a:pt x="87225" y="569028"/>
                </a:cubicBezTo>
                <a:cubicBezTo>
                  <a:pt x="93180" y="564501"/>
                  <a:pt x="96306" y="557000"/>
                  <a:pt x="96602" y="546527"/>
                </a:cubicBezTo>
                <a:cubicBezTo>
                  <a:pt x="96598" y="537910"/>
                  <a:pt x="94145" y="531361"/>
                  <a:pt x="89242" y="526882"/>
                </a:cubicBezTo>
                <a:cubicBezTo>
                  <a:pt x="84339" y="522403"/>
                  <a:pt x="77014" y="520150"/>
                  <a:pt x="67265" y="520124"/>
                </a:cubicBezTo>
                <a:close/>
                <a:moveTo>
                  <a:pt x="1611630" y="517609"/>
                </a:moveTo>
                <a:lnTo>
                  <a:pt x="1616869" y="517609"/>
                </a:lnTo>
                <a:cubicBezTo>
                  <a:pt x="1618379" y="517653"/>
                  <a:pt x="1619654" y="518194"/>
                  <a:pt x="1620693" y="519233"/>
                </a:cubicBezTo>
                <a:cubicBezTo>
                  <a:pt x="1621732" y="520272"/>
                  <a:pt x="1622273" y="521547"/>
                  <a:pt x="1622317" y="523058"/>
                </a:cubicBezTo>
                <a:lnTo>
                  <a:pt x="1622317" y="547994"/>
                </a:lnTo>
                <a:lnTo>
                  <a:pt x="1646834" y="547994"/>
                </a:lnTo>
                <a:cubicBezTo>
                  <a:pt x="1648345" y="548038"/>
                  <a:pt x="1649619" y="548579"/>
                  <a:pt x="1650659" y="549618"/>
                </a:cubicBezTo>
                <a:cubicBezTo>
                  <a:pt x="1651698" y="550657"/>
                  <a:pt x="1652239" y="551932"/>
                  <a:pt x="1652283" y="553442"/>
                </a:cubicBezTo>
                <a:lnTo>
                  <a:pt x="1652283" y="554281"/>
                </a:lnTo>
                <a:cubicBezTo>
                  <a:pt x="1652239" y="555791"/>
                  <a:pt x="1651698" y="557066"/>
                  <a:pt x="1650659" y="558105"/>
                </a:cubicBezTo>
                <a:cubicBezTo>
                  <a:pt x="1649619" y="559144"/>
                  <a:pt x="1648345" y="559685"/>
                  <a:pt x="1646834" y="559729"/>
                </a:cubicBezTo>
                <a:lnTo>
                  <a:pt x="1622317" y="559729"/>
                </a:lnTo>
                <a:lnTo>
                  <a:pt x="1622317" y="627623"/>
                </a:lnTo>
                <a:cubicBezTo>
                  <a:pt x="1622229" y="632085"/>
                  <a:pt x="1623295" y="635630"/>
                  <a:pt x="1625513" y="638258"/>
                </a:cubicBezTo>
                <a:cubicBezTo>
                  <a:pt x="1627730" y="640886"/>
                  <a:pt x="1631624" y="642231"/>
                  <a:pt x="1637195" y="642292"/>
                </a:cubicBezTo>
                <a:cubicBezTo>
                  <a:pt x="1639810" y="642248"/>
                  <a:pt x="1641809" y="642073"/>
                  <a:pt x="1643193" y="641768"/>
                </a:cubicBezTo>
                <a:cubicBezTo>
                  <a:pt x="1644577" y="641462"/>
                  <a:pt x="1646000" y="641288"/>
                  <a:pt x="1647463" y="641244"/>
                </a:cubicBezTo>
                <a:cubicBezTo>
                  <a:pt x="1648581" y="641205"/>
                  <a:pt x="1649646" y="641598"/>
                  <a:pt x="1650659" y="642423"/>
                </a:cubicBezTo>
                <a:cubicBezTo>
                  <a:pt x="1651671" y="643248"/>
                  <a:pt x="1652213" y="644741"/>
                  <a:pt x="1652283" y="646902"/>
                </a:cubicBezTo>
                <a:lnTo>
                  <a:pt x="1652283" y="647530"/>
                </a:lnTo>
                <a:cubicBezTo>
                  <a:pt x="1652173" y="649691"/>
                  <a:pt x="1651501" y="651237"/>
                  <a:pt x="1650266" y="652167"/>
                </a:cubicBezTo>
                <a:cubicBezTo>
                  <a:pt x="1649030" y="653097"/>
                  <a:pt x="1647886" y="653647"/>
                  <a:pt x="1646834" y="653817"/>
                </a:cubicBezTo>
                <a:cubicBezTo>
                  <a:pt x="1645175" y="654127"/>
                  <a:pt x="1643464" y="654345"/>
                  <a:pt x="1641700" y="654472"/>
                </a:cubicBezTo>
                <a:cubicBezTo>
                  <a:pt x="1639937" y="654598"/>
                  <a:pt x="1638016" y="654659"/>
                  <a:pt x="1635938" y="654655"/>
                </a:cubicBezTo>
                <a:cubicBezTo>
                  <a:pt x="1626538" y="654865"/>
                  <a:pt x="1619248" y="652769"/>
                  <a:pt x="1614066" y="648369"/>
                </a:cubicBezTo>
                <a:cubicBezTo>
                  <a:pt x="1608884" y="643968"/>
                  <a:pt x="1606256" y="636005"/>
                  <a:pt x="1606181" y="624480"/>
                </a:cubicBezTo>
                <a:lnTo>
                  <a:pt x="1606181" y="559729"/>
                </a:lnTo>
                <a:lnTo>
                  <a:pt x="1592142" y="559729"/>
                </a:lnTo>
                <a:cubicBezTo>
                  <a:pt x="1590631" y="559685"/>
                  <a:pt x="1589356" y="559144"/>
                  <a:pt x="1588317" y="558105"/>
                </a:cubicBezTo>
                <a:cubicBezTo>
                  <a:pt x="1587278" y="557066"/>
                  <a:pt x="1586737" y="555791"/>
                  <a:pt x="1586693" y="554281"/>
                </a:cubicBezTo>
                <a:lnTo>
                  <a:pt x="1586693" y="553442"/>
                </a:lnTo>
                <a:cubicBezTo>
                  <a:pt x="1586737" y="551932"/>
                  <a:pt x="1587278" y="550657"/>
                  <a:pt x="1588317" y="549618"/>
                </a:cubicBezTo>
                <a:cubicBezTo>
                  <a:pt x="1589356" y="548579"/>
                  <a:pt x="1590631" y="548038"/>
                  <a:pt x="1592142" y="547994"/>
                </a:cubicBezTo>
                <a:lnTo>
                  <a:pt x="1606181" y="547994"/>
                </a:lnTo>
                <a:lnTo>
                  <a:pt x="1606181" y="523058"/>
                </a:lnTo>
                <a:cubicBezTo>
                  <a:pt x="1606225" y="521547"/>
                  <a:pt x="1606767" y="520272"/>
                  <a:pt x="1607805" y="519233"/>
                </a:cubicBezTo>
                <a:cubicBezTo>
                  <a:pt x="1608845" y="518194"/>
                  <a:pt x="1610119" y="517653"/>
                  <a:pt x="1611630" y="517609"/>
                </a:cubicBezTo>
                <a:close/>
                <a:moveTo>
                  <a:pt x="1183005" y="517609"/>
                </a:moveTo>
                <a:lnTo>
                  <a:pt x="1188243" y="517609"/>
                </a:lnTo>
                <a:cubicBezTo>
                  <a:pt x="1189754" y="517653"/>
                  <a:pt x="1191029" y="518194"/>
                  <a:pt x="1192068" y="519233"/>
                </a:cubicBezTo>
                <a:cubicBezTo>
                  <a:pt x="1193107" y="520272"/>
                  <a:pt x="1193648" y="521547"/>
                  <a:pt x="1193692" y="523058"/>
                </a:cubicBezTo>
                <a:lnTo>
                  <a:pt x="1193692" y="547994"/>
                </a:lnTo>
                <a:lnTo>
                  <a:pt x="1218209" y="547994"/>
                </a:lnTo>
                <a:cubicBezTo>
                  <a:pt x="1219720" y="548038"/>
                  <a:pt x="1220994" y="548579"/>
                  <a:pt x="1222034" y="549618"/>
                </a:cubicBezTo>
                <a:cubicBezTo>
                  <a:pt x="1223073" y="550657"/>
                  <a:pt x="1223614" y="551932"/>
                  <a:pt x="1223657" y="553442"/>
                </a:cubicBezTo>
                <a:lnTo>
                  <a:pt x="1223657" y="554281"/>
                </a:lnTo>
                <a:cubicBezTo>
                  <a:pt x="1223614" y="555791"/>
                  <a:pt x="1223073" y="557066"/>
                  <a:pt x="1222034" y="558105"/>
                </a:cubicBezTo>
                <a:cubicBezTo>
                  <a:pt x="1220994" y="559144"/>
                  <a:pt x="1219720" y="559685"/>
                  <a:pt x="1218209" y="559729"/>
                </a:cubicBezTo>
                <a:lnTo>
                  <a:pt x="1193692" y="559729"/>
                </a:lnTo>
                <a:lnTo>
                  <a:pt x="1193692" y="627623"/>
                </a:lnTo>
                <a:cubicBezTo>
                  <a:pt x="1193605" y="632085"/>
                  <a:pt x="1194670" y="635630"/>
                  <a:pt x="1196887" y="638258"/>
                </a:cubicBezTo>
                <a:cubicBezTo>
                  <a:pt x="1199105" y="640886"/>
                  <a:pt x="1202999" y="642231"/>
                  <a:pt x="1208570" y="642292"/>
                </a:cubicBezTo>
                <a:cubicBezTo>
                  <a:pt x="1211185" y="642248"/>
                  <a:pt x="1213184" y="642073"/>
                  <a:pt x="1214568" y="641768"/>
                </a:cubicBezTo>
                <a:cubicBezTo>
                  <a:pt x="1215952" y="641462"/>
                  <a:pt x="1217375" y="641288"/>
                  <a:pt x="1218838" y="641244"/>
                </a:cubicBezTo>
                <a:cubicBezTo>
                  <a:pt x="1219955" y="641205"/>
                  <a:pt x="1221021" y="641598"/>
                  <a:pt x="1222034" y="642423"/>
                </a:cubicBezTo>
                <a:cubicBezTo>
                  <a:pt x="1223046" y="643248"/>
                  <a:pt x="1223588" y="644741"/>
                  <a:pt x="1223657" y="646902"/>
                </a:cubicBezTo>
                <a:lnTo>
                  <a:pt x="1223657" y="647530"/>
                </a:lnTo>
                <a:cubicBezTo>
                  <a:pt x="1223548" y="649691"/>
                  <a:pt x="1222876" y="651237"/>
                  <a:pt x="1221641" y="652167"/>
                </a:cubicBezTo>
                <a:cubicBezTo>
                  <a:pt x="1220405" y="653097"/>
                  <a:pt x="1219261" y="653647"/>
                  <a:pt x="1218209" y="653817"/>
                </a:cubicBezTo>
                <a:cubicBezTo>
                  <a:pt x="1216550" y="654127"/>
                  <a:pt x="1214839" y="654345"/>
                  <a:pt x="1213075" y="654472"/>
                </a:cubicBezTo>
                <a:cubicBezTo>
                  <a:pt x="1211311" y="654598"/>
                  <a:pt x="1209391" y="654659"/>
                  <a:pt x="1207313" y="654655"/>
                </a:cubicBezTo>
                <a:cubicBezTo>
                  <a:pt x="1197913" y="654865"/>
                  <a:pt x="1190623" y="652769"/>
                  <a:pt x="1185441" y="648369"/>
                </a:cubicBezTo>
                <a:cubicBezTo>
                  <a:pt x="1180259" y="643968"/>
                  <a:pt x="1177631" y="636005"/>
                  <a:pt x="1177557" y="624480"/>
                </a:cubicBezTo>
                <a:lnTo>
                  <a:pt x="1177557" y="559729"/>
                </a:lnTo>
                <a:lnTo>
                  <a:pt x="1163517" y="559729"/>
                </a:lnTo>
                <a:cubicBezTo>
                  <a:pt x="1162006" y="559685"/>
                  <a:pt x="1160731" y="559144"/>
                  <a:pt x="1159692" y="558105"/>
                </a:cubicBezTo>
                <a:cubicBezTo>
                  <a:pt x="1158653" y="557066"/>
                  <a:pt x="1158112" y="555791"/>
                  <a:pt x="1158068" y="554281"/>
                </a:cubicBezTo>
                <a:lnTo>
                  <a:pt x="1158068" y="553442"/>
                </a:lnTo>
                <a:cubicBezTo>
                  <a:pt x="1158112" y="551932"/>
                  <a:pt x="1158653" y="550657"/>
                  <a:pt x="1159692" y="549618"/>
                </a:cubicBezTo>
                <a:cubicBezTo>
                  <a:pt x="1160731" y="548579"/>
                  <a:pt x="1162006" y="548038"/>
                  <a:pt x="1163517" y="547994"/>
                </a:cubicBezTo>
                <a:lnTo>
                  <a:pt x="1177557" y="547994"/>
                </a:lnTo>
                <a:lnTo>
                  <a:pt x="1177557" y="523058"/>
                </a:lnTo>
                <a:cubicBezTo>
                  <a:pt x="1177600" y="521547"/>
                  <a:pt x="1178141" y="520272"/>
                  <a:pt x="1179181" y="519233"/>
                </a:cubicBezTo>
                <a:cubicBezTo>
                  <a:pt x="1180219" y="518194"/>
                  <a:pt x="1181494" y="517653"/>
                  <a:pt x="1183005" y="517609"/>
                </a:cubicBezTo>
                <a:close/>
                <a:moveTo>
                  <a:pt x="1448238" y="507551"/>
                </a:moveTo>
                <a:cubicBezTo>
                  <a:pt x="1451451" y="507630"/>
                  <a:pt x="1454088" y="508730"/>
                  <a:pt x="1456149" y="510851"/>
                </a:cubicBezTo>
                <a:cubicBezTo>
                  <a:pt x="1458209" y="512973"/>
                  <a:pt x="1459274" y="515645"/>
                  <a:pt x="1459344" y="518867"/>
                </a:cubicBezTo>
                <a:cubicBezTo>
                  <a:pt x="1459274" y="522089"/>
                  <a:pt x="1458209" y="524760"/>
                  <a:pt x="1456149" y="526882"/>
                </a:cubicBezTo>
                <a:cubicBezTo>
                  <a:pt x="1454088" y="529004"/>
                  <a:pt x="1451451" y="530104"/>
                  <a:pt x="1448238" y="530182"/>
                </a:cubicBezTo>
                <a:cubicBezTo>
                  <a:pt x="1445016" y="530104"/>
                  <a:pt x="1442344" y="529004"/>
                  <a:pt x="1440223" y="526882"/>
                </a:cubicBezTo>
                <a:cubicBezTo>
                  <a:pt x="1438101" y="524760"/>
                  <a:pt x="1437001" y="522089"/>
                  <a:pt x="1436922" y="518867"/>
                </a:cubicBezTo>
                <a:cubicBezTo>
                  <a:pt x="1437001" y="515645"/>
                  <a:pt x="1438101" y="512973"/>
                  <a:pt x="1440223" y="510851"/>
                </a:cubicBezTo>
                <a:cubicBezTo>
                  <a:pt x="1442344" y="508730"/>
                  <a:pt x="1445016" y="507630"/>
                  <a:pt x="1448238" y="507551"/>
                </a:cubicBezTo>
                <a:close/>
                <a:moveTo>
                  <a:pt x="789508" y="507551"/>
                </a:moveTo>
                <a:lnTo>
                  <a:pt x="794747" y="507551"/>
                </a:lnTo>
                <a:cubicBezTo>
                  <a:pt x="796257" y="507595"/>
                  <a:pt x="797532" y="508136"/>
                  <a:pt x="798571" y="509175"/>
                </a:cubicBezTo>
                <a:cubicBezTo>
                  <a:pt x="799610" y="510214"/>
                  <a:pt x="800151" y="511489"/>
                  <a:pt x="800195" y="512999"/>
                </a:cubicBezTo>
                <a:lnTo>
                  <a:pt x="800195" y="647321"/>
                </a:lnTo>
                <a:cubicBezTo>
                  <a:pt x="800151" y="648831"/>
                  <a:pt x="799610" y="650106"/>
                  <a:pt x="798571" y="651145"/>
                </a:cubicBezTo>
                <a:cubicBezTo>
                  <a:pt x="797532" y="652184"/>
                  <a:pt x="796257" y="652726"/>
                  <a:pt x="794747" y="652769"/>
                </a:cubicBezTo>
                <a:lnTo>
                  <a:pt x="789508" y="652769"/>
                </a:lnTo>
                <a:cubicBezTo>
                  <a:pt x="787997" y="652726"/>
                  <a:pt x="786723" y="652184"/>
                  <a:pt x="785684" y="651145"/>
                </a:cubicBezTo>
                <a:cubicBezTo>
                  <a:pt x="784645" y="650106"/>
                  <a:pt x="784103" y="648831"/>
                  <a:pt x="784060" y="647321"/>
                </a:cubicBezTo>
                <a:lnTo>
                  <a:pt x="784060" y="644597"/>
                </a:lnTo>
                <a:cubicBezTo>
                  <a:pt x="781226" y="648076"/>
                  <a:pt x="777201" y="650757"/>
                  <a:pt x="771984" y="652638"/>
                </a:cubicBezTo>
                <a:cubicBezTo>
                  <a:pt x="766767" y="654520"/>
                  <a:pt x="761014" y="655471"/>
                  <a:pt x="754723" y="655493"/>
                </a:cubicBezTo>
                <a:cubicBezTo>
                  <a:pt x="739657" y="655301"/>
                  <a:pt x="728088" y="650394"/>
                  <a:pt x="720016" y="640772"/>
                </a:cubicBezTo>
                <a:cubicBezTo>
                  <a:pt x="711944" y="631151"/>
                  <a:pt x="707867" y="617966"/>
                  <a:pt x="707784" y="601220"/>
                </a:cubicBezTo>
                <a:cubicBezTo>
                  <a:pt x="707893" y="584495"/>
                  <a:pt x="712284" y="571058"/>
                  <a:pt x="720959" y="560908"/>
                </a:cubicBezTo>
                <a:cubicBezTo>
                  <a:pt x="729633" y="550758"/>
                  <a:pt x="741936" y="545545"/>
                  <a:pt x="757866" y="545270"/>
                </a:cubicBezTo>
                <a:cubicBezTo>
                  <a:pt x="763677" y="545322"/>
                  <a:pt x="768819" y="546056"/>
                  <a:pt x="773294" y="547470"/>
                </a:cubicBezTo>
                <a:cubicBezTo>
                  <a:pt x="777769" y="548885"/>
                  <a:pt x="781287" y="550666"/>
                  <a:pt x="783850" y="552814"/>
                </a:cubicBezTo>
                <a:lnTo>
                  <a:pt x="784060" y="552814"/>
                </a:lnTo>
                <a:lnTo>
                  <a:pt x="784060" y="512999"/>
                </a:lnTo>
                <a:cubicBezTo>
                  <a:pt x="784103" y="511489"/>
                  <a:pt x="784645" y="510214"/>
                  <a:pt x="785684" y="509175"/>
                </a:cubicBezTo>
                <a:cubicBezTo>
                  <a:pt x="786723" y="508136"/>
                  <a:pt x="787997" y="507595"/>
                  <a:pt x="789508" y="507551"/>
                </a:cubicBezTo>
                <a:close/>
                <a:moveTo>
                  <a:pt x="341833" y="507551"/>
                </a:moveTo>
                <a:lnTo>
                  <a:pt x="347072" y="507551"/>
                </a:lnTo>
                <a:cubicBezTo>
                  <a:pt x="348582" y="507595"/>
                  <a:pt x="349857" y="508136"/>
                  <a:pt x="350896" y="509175"/>
                </a:cubicBezTo>
                <a:cubicBezTo>
                  <a:pt x="351935" y="510214"/>
                  <a:pt x="352476" y="511489"/>
                  <a:pt x="352520" y="512999"/>
                </a:cubicBezTo>
                <a:lnTo>
                  <a:pt x="352520" y="647321"/>
                </a:lnTo>
                <a:cubicBezTo>
                  <a:pt x="352476" y="648831"/>
                  <a:pt x="351935" y="650106"/>
                  <a:pt x="350896" y="651145"/>
                </a:cubicBezTo>
                <a:cubicBezTo>
                  <a:pt x="349857" y="652184"/>
                  <a:pt x="348582" y="652726"/>
                  <a:pt x="347072" y="652769"/>
                </a:cubicBezTo>
                <a:lnTo>
                  <a:pt x="341833" y="652769"/>
                </a:lnTo>
                <a:cubicBezTo>
                  <a:pt x="340323" y="652726"/>
                  <a:pt x="339048" y="652184"/>
                  <a:pt x="338009" y="651145"/>
                </a:cubicBezTo>
                <a:cubicBezTo>
                  <a:pt x="336970" y="650106"/>
                  <a:pt x="336428" y="648831"/>
                  <a:pt x="336385" y="647321"/>
                </a:cubicBezTo>
                <a:lnTo>
                  <a:pt x="336385" y="644597"/>
                </a:lnTo>
                <a:cubicBezTo>
                  <a:pt x="333551" y="648076"/>
                  <a:pt x="329526" y="650757"/>
                  <a:pt x="324309" y="652638"/>
                </a:cubicBezTo>
                <a:cubicBezTo>
                  <a:pt x="319093" y="654520"/>
                  <a:pt x="313339" y="655471"/>
                  <a:pt x="307048" y="655493"/>
                </a:cubicBezTo>
                <a:cubicBezTo>
                  <a:pt x="291982" y="655301"/>
                  <a:pt x="280413" y="650394"/>
                  <a:pt x="272341" y="640772"/>
                </a:cubicBezTo>
                <a:cubicBezTo>
                  <a:pt x="264269" y="631151"/>
                  <a:pt x="260191" y="617966"/>
                  <a:pt x="260109" y="601220"/>
                </a:cubicBezTo>
                <a:cubicBezTo>
                  <a:pt x="260218" y="584495"/>
                  <a:pt x="264609" y="571058"/>
                  <a:pt x="273284" y="560908"/>
                </a:cubicBezTo>
                <a:cubicBezTo>
                  <a:pt x="281959" y="550758"/>
                  <a:pt x="294261" y="545545"/>
                  <a:pt x="310191" y="545270"/>
                </a:cubicBezTo>
                <a:cubicBezTo>
                  <a:pt x="316002" y="545322"/>
                  <a:pt x="321144" y="546056"/>
                  <a:pt x="325619" y="547470"/>
                </a:cubicBezTo>
                <a:cubicBezTo>
                  <a:pt x="330094" y="548885"/>
                  <a:pt x="333613" y="550666"/>
                  <a:pt x="336175" y="552814"/>
                </a:cubicBezTo>
                <a:lnTo>
                  <a:pt x="336385" y="552814"/>
                </a:lnTo>
                <a:lnTo>
                  <a:pt x="336385" y="512999"/>
                </a:lnTo>
                <a:cubicBezTo>
                  <a:pt x="336428" y="511489"/>
                  <a:pt x="336970" y="510214"/>
                  <a:pt x="338009" y="509175"/>
                </a:cubicBezTo>
                <a:cubicBezTo>
                  <a:pt x="339048" y="508136"/>
                  <a:pt x="340323" y="507595"/>
                  <a:pt x="341833" y="507551"/>
                </a:cubicBezTo>
                <a:close/>
                <a:moveTo>
                  <a:pt x="22003" y="507551"/>
                </a:moveTo>
                <a:lnTo>
                  <a:pt x="70199" y="507551"/>
                </a:lnTo>
                <a:cubicBezTo>
                  <a:pt x="86094" y="507865"/>
                  <a:pt x="97576" y="511690"/>
                  <a:pt x="104644" y="519024"/>
                </a:cubicBezTo>
                <a:cubicBezTo>
                  <a:pt x="111712" y="526358"/>
                  <a:pt x="115178" y="535316"/>
                  <a:pt x="115043" y="545899"/>
                </a:cubicBezTo>
                <a:cubicBezTo>
                  <a:pt x="115056" y="555088"/>
                  <a:pt x="112620" y="563217"/>
                  <a:pt x="107735" y="570285"/>
                </a:cubicBezTo>
                <a:cubicBezTo>
                  <a:pt x="102850" y="577353"/>
                  <a:pt x="95437" y="582286"/>
                  <a:pt x="85496" y="585085"/>
                </a:cubicBezTo>
                <a:lnTo>
                  <a:pt x="118186" y="643968"/>
                </a:lnTo>
                <a:cubicBezTo>
                  <a:pt x="118505" y="644605"/>
                  <a:pt x="118758" y="645269"/>
                  <a:pt x="118946" y="645959"/>
                </a:cubicBezTo>
                <a:cubicBezTo>
                  <a:pt x="119133" y="646649"/>
                  <a:pt x="119229" y="647312"/>
                  <a:pt x="119234" y="647950"/>
                </a:cubicBezTo>
                <a:cubicBezTo>
                  <a:pt x="119247" y="649342"/>
                  <a:pt x="118749" y="650486"/>
                  <a:pt x="117741" y="651381"/>
                </a:cubicBezTo>
                <a:cubicBezTo>
                  <a:pt x="116732" y="652276"/>
                  <a:pt x="115134" y="652739"/>
                  <a:pt x="112947" y="652769"/>
                </a:cubicBezTo>
                <a:lnTo>
                  <a:pt x="107289" y="652769"/>
                </a:lnTo>
                <a:cubicBezTo>
                  <a:pt x="105408" y="652760"/>
                  <a:pt x="103775" y="652306"/>
                  <a:pt x="102391" y="651407"/>
                </a:cubicBezTo>
                <a:cubicBezTo>
                  <a:pt x="101007" y="650508"/>
                  <a:pt x="99846" y="649216"/>
                  <a:pt x="98907" y="647530"/>
                </a:cubicBezTo>
                <a:lnTo>
                  <a:pt x="66846" y="587809"/>
                </a:lnTo>
                <a:lnTo>
                  <a:pt x="34576" y="587809"/>
                </a:lnTo>
                <a:lnTo>
                  <a:pt x="34576" y="647321"/>
                </a:lnTo>
                <a:cubicBezTo>
                  <a:pt x="34532" y="648831"/>
                  <a:pt x="33991" y="650106"/>
                  <a:pt x="32952" y="651145"/>
                </a:cubicBezTo>
                <a:cubicBezTo>
                  <a:pt x="31913" y="652184"/>
                  <a:pt x="30638" y="652726"/>
                  <a:pt x="29127" y="652769"/>
                </a:cubicBezTo>
                <a:lnTo>
                  <a:pt x="22003" y="652769"/>
                </a:lnTo>
                <a:cubicBezTo>
                  <a:pt x="20492" y="652726"/>
                  <a:pt x="19217" y="652184"/>
                  <a:pt x="18178" y="651145"/>
                </a:cubicBezTo>
                <a:cubicBezTo>
                  <a:pt x="17139" y="650106"/>
                  <a:pt x="16598" y="648831"/>
                  <a:pt x="16554" y="647321"/>
                </a:cubicBezTo>
                <a:lnTo>
                  <a:pt x="16554" y="512999"/>
                </a:lnTo>
                <a:cubicBezTo>
                  <a:pt x="16598" y="511489"/>
                  <a:pt x="17139" y="510214"/>
                  <a:pt x="18178" y="509175"/>
                </a:cubicBezTo>
                <a:cubicBezTo>
                  <a:pt x="19217" y="508136"/>
                  <a:pt x="20492" y="507595"/>
                  <a:pt x="22003" y="507551"/>
                </a:cubicBezTo>
                <a:close/>
                <a:moveTo>
                  <a:pt x="903770" y="504827"/>
                </a:moveTo>
                <a:cubicBezTo>
                  <a:pt x="905918" y="504827"/>
                  <a:pt x="908118" y="504932"/>
                  <a:pt x="910371" y="505141"/>
                </a:cubicBezTo>
                <a:cubicBezTo>
                  <a:pt x="912623" y="505351"/>
                  <a:pt x="914614" y="505665"/>
                  <a:pt x="916343" y="506084"/>
                </a:cubicBezTo>
                <a:cubicBezTo>
                  <a:pt x="918037" y="506473"/>
                  <a:pt x="919364" y="507110"/>
                  <a:pt x="920324" y="507996"/>
                </a:cubicBezTo>
                <a:cubicBezTo>
                  <a:pt x="921285" y="508883"/>
                  <a:pt x="921774" y="510201"/>
                  <a:pt x="921791" y="511952"/>
                </a:cubicBezTo>
                <a:lnTo>
                  <a:pt x="921791" y="513209"/>
                </a:lnTo>
                <a:cubicBezTo>
                  <a:pt x="921730" y="515269"/>
                  <a:pt x="921224" y="516701"/>
                  <a:pt x="920272" y="517505"/>
                </a:cubicBezTo>
                <a:cubicBezTo>
                  <a:pt x="919320" y="518308"/>
                  <a:pt x="918290" y="518692"/>
                  <a:pt x="917181" y="518657"/>
                </a:cubicBezTo>
                <a:cubicBezTo>
                  <a:pt x="915073" y="518579"/>
                  <a:pt x="912846" y="518264"/>
                  <a:pt x="910502" y="517714"/>
                </a:cubicBezTo>
                <a:cubicBezTo>
                  <a:pt x="908157" y="517164"/>
                  <a:pt x="905774" y="516850"/>
                  <a:pt x="903351" y="516771"/>
                </a:cubicBezTo>
                <a:cubicBezTo>
                  <a:pt x="897798" y="516824"/>
                  <a:pt x="893973" y="518133"/>
                  <a:pt x="891878" y="520700"/>
                </a:cubicBezTo>
                <a:cubicBezTo>
                  <a:pt x="889783" y="523267"/>
                  <a:pt x="888787" y="526777"/>
                  <a:pt x="888892" y="531230"/>
                </a:cubicBezTo>
                <a:lnTo>
                  <a:pt x="888892" y="547994"/>
                </a:lnTo>
                <a:lnTo>
                  <a:pt x="913409" y="547994"/>
                </a:lnTo>
                <a:cubicBezTo>
                  <a:pt x="914920" y="548038"/>
                  <a:pt x="916194" y="548579"/>
                  <a:pt x="917233" y="549618"/>
                </a:cubicBezTo>
                <a:cubicBezTo>
                  <a:pt x="918273" y="550657"/>
                  <a:pt x="918814" y="551932"/>
                  <a:pt x="918857" y="553442"/>
                </a:cubicBezTo>
                <a:lnTo>
                  <a:pt x="918857" y="554281"/>
                </a:lnTo>
                <a:cubicBezTo>
                  <a:pt x="918814" y="555791"/>
                  <a:pt x="918273" y="557066"/>
                  <a:pt x="917233" y="558105"/>
                </a:cubicBezTo>
                <a:cubicBezTo>
                  <a:pt x="916194" y="559144"/>
                  <a:pt x="914920" y="559685"/>
                  <a:pt x="913409" y="559729"/>
                </a:cubicBezTo>
                <a:lnTo>
                  <a:pt x="888892" y="559729"/>
                </a:lnTo>
                <a:lnTo>
                  <a:pt x="888892" y="647321"/>
                </a:lnTo>
                <a:cubicBezTo>
                  <a:pt x="888848" y="648831"/>
                  <a:pt x="888307" y="650106"/>
                  <a:pt x="887268" y="651145"/>
                </a:cubicBezTo>
                <a:cubicBezTo>
                  <a:pt x="886229" y="652184"/>
                  <a:pt x="884954" y="652726"/>
                  <a:pt x="883444" y="652769"/>
                </a:cubicBezTo>
                <a:lnTo>
                  <a:pt x="878205" y="652769"/>
                </a:lnTo>
                <a:cubicBezTo>
                  <a:pt x="876694" y="652726"/>
                  <a:pt x="875419" y="652184"/>
                  <a:pt x="874381" y="651145"/>
                </a:cubicBezTo>
                <a:cubicBezTo>
                  <a:pt x="873341" y="650106"/>
                  <a:pt x="872800" y="648831"/>
                  <a:pt x="872757" y="647321"/>
                </a:cubicBezTo>
                <a:lnTo>
                  <a:pt x="872757" y="559729"/>
                </a:lnTo>
                <a:lnTo>
                  <a:pt x="858717" y="559729"/>
                </a:lnTo>
                <a:cubicBezTo>
                  <a:pt x="857206" y="559685"/>
                  <a:pt x="855931" y="559144"/>
                  <a:pt x="854892" y="558105"/>
                </a:cubicBezTo>
                <a:cubicBezTo>
                  <a:pt x="853853" y="557066"/>
                  <a:pt x="853312" y="555791"/>
                  <a:pt x="853268" y="554281"/>
                </a:cubicBezTo>
                <a:lnTo>
                  <a:pt x="853268" y="553442"/>
                </a:lnTo>
                <a:cubicBezTo>
                  <a:pt x="853312" y="551932"/>
                  <a:pt x="853853" y="550657"/>
                  <a:pt x="854892" y="549618"/>
                </a:cubicBezTo>
                <a:cubicBezTo>
                  <a:pt x="855931" y="548579"/>
                  <a:pt x="857206" y="548038"/>
                  <a:pt x="858717" y="547994"/>
                </a:cubicBezTo>
                <a:lnTo>
                  <a:pt x="872757" y="547994"/>
                </a:lnTo>
                <a:lnTo>
                  <a:pt x="872757" y="535002"/>
                </a:lnTo>
                <a:cubicBezTo>
                  <a:pt x="872883" y="523477"/>
                  <a:pt x="875721" y="515514"/>
                  <a:pt x="881269" y="511113"/>
                </a:cubicBezTo>
                <a:cubicBezTo>
                  <a:pt x="886818" y="506713"/>
                  <a:pt x="894318" y="504617"/>
                  <a:pt x="903770" y="504827"/>
                </a:cubicBezTo>
                <a:close/>
                <a:moveTo>
                  <a:pt x="34576" y="335339"/>
                </a:moveTo>
                <a:lnTo>
                  <a:pt x="34576" y="392546"/>
                </a:lnTo>
                <a:lnTo>
                  <a:pt x="69570" y="392546"/>
                </a:lnTo>
                <a:cubicBezTo>
                  <a:pt x="79048" y="392424"/>
                  <a:pt x="86653" y="389787"/>
                  <a:pt x="92385" y="384636"/>
                </a:cubicBezTo>
                <a:cubicBezTo>
                  <a:pt x="98117" y="379484"/>
                  <a:pt x="101060" y="372552"/>
                  <a:pt x="101212" y="363838"/>
                </a:cubicBezTo>
                <a:cubicBezTo>
                  <a:pt x="100968" y="355133"/>
                  <a:pt x="97842" y="348235"/>
                  <a:pt x="91835" y="343145"/>
                </a:cubicBezTo>
                <a:cubicBezTo>
                  <a:pt x="85828" y="338054"/>
                  <a:pt x="78406" y="335452"/>
                  <a:pt x="69570" y="335339"/>
                </a:cubicBezTo>
                <a:close/>
                <a:moveTo>
                  <a:pt x="986256" y="309145"/>
                </a:moveTo>
                <a:cubicBezTo>
                  <a:pt x="974408" y="309490"/>
                  <a:pt x="965834" y="313830"/>
                  <a:pt x="960534" y="322164"/>
                </a:cubicBezTo>
                <a:cubicBezTo>
                  <a:pt x="955234" y="330498"/>
                  <a:pt x="952632" y="340757"/>
                  <a:pt x="952728" y="352941"/>
                </a:cubicBezTo>
                <a:cubicBezTo>
                  <a:pt x="952676" y="365292"/>
                  <a:pt x="955243" y="375533"/>
                  <a:pt x="960429" y="383666"/>
                </a:cubicBezTo>
                <a:cubicBezTo>
                  <a:pt x="965616" y="391800"/>
                  <a:pt x="973736" y="396017"/>
                  <a:pt x="984790" y="396318"/>
                </a:cubicBezTo>
                <a:cubicBezTo>
                  <a:pt x="992552" y="396239"/>
                  <a:pt x="999083" y="394511"/>
                  <a:pt x="1004382" y="391132"/>
                </a:cubicBezTo>
                <a:cubicBezTo>
                  <a:pt x="1009682" y="387753"/>
                  <a:pt x="1012441" y="383195"/>
                  <a:pt x="1012660" y="377459"/>
                </a:cubicBezTo>
                <a:lnTo>
                  <a:pt x="1012660" y="321928"/>
                </a:lnTo>
                <a:cubicBezTo>
                  <a:pt x="1012450" y="317636"/>
                  <a:pt x="1009831" y="314432"/>
                  <a:pt x="1004802" y="312315"/>
                </a:cubicBezTo>
                <a:cubicBezTo>
                  <a:pt x="999772" y="310197"/>
                  <a:pt x="993591" y="309141"/>
                  <a:pt x="986256" y="309145"/>
                </a:cubicBezTo>
                <a:close/>
                <a:moveTo>
                  <a:pt x="870699" y="309145"/>
                </a:moveTo>
                <a:cubicBezTo>
                  <a:pt x="863506" y="309260"/>
                  <a:pt x="857519" y="311335"/>
                  <a:pt x="852740" y="315370"/>
                </a:cubicBezTo>
                <a:cubicBezTo>
                  <a:pt x="847960" y="319404"/>
                  <a:pt x="844380" y="324708"/>
                  <a:pt x="841999" y="331280"/>
                </a:cubicBezTo>
                <a:cubicBezTo>
                  <a:pt x="839617" y="337852"/>
                  <a:pt x="838427" y="345003"/>
                  <a:pt x="838428" y="352732"/>
                </a:cubicBezTo>
                <a:cubicBezTo>
                  <a:pt x="838427" y="360460"/>
                  <a:pt x="839617" y="367611"/>
                  <a:pt x="841999" y="374183"/>
                </a:cubicBezTo>
                <a:cubicBezTo>
                  <a:pt x="844380" y="380756"/>
                  <a:pt x="847960" y="386059"/>
                  <a:pt x="852740" y="390094"/>
                </a:cubicBezTo>
                <a:cubicBezTo>
                  <a:pt x="857519" y="394128"/>
                  <a:pt x="863506" y="396203"/>
                  <a:pt x="870699" y="396318"/>
                </a:cubicBezTo>
                <a:cubicBezTo>
                  <a:pt x="877892" y="396203"/>
                  <a:pt x="883879" y="394128"/>
                  <a:pt x="888658" y="390094"/>
                </a:cubicBezTo>
                <a:cubicBezTo>
                  <a:pt x="893438" y="386059"/>
                  <a:pt x="897018" y="380756"/>
                  <a:pt x="899400" y="374183"/>
                </a:cubicBezTo>
                <a:cubicBezTo>
                  <a:pt x="901781" y="367611"/>
                  <a:pt x="902971" y="360460"/>
                  <a:pt x="902970" y="352732"/>
                </a:cubicBezTo>
                <a:cubicBezTo>
                  <a:pt x="902971" y="345003"/>
                  <a:pt x="901781" y="337852"/>
                  <a:pt x="899400" y="331280"/>
                </a:cubicBezTo>
                <a:cubicBezTo>
                  <a:pt x="897018" y="324708"/>
                  <a:pt x="893438" y="319404"/>
                  <a:pt x="888658" y="315370"/>
                </a:cubicBezTo>
                <a:cubicBezTo>
                  <a:pt x="883879" y="311335"/>
                  <a:pt x="877892" y="309260"/>
                  <a:pt x="870699" y="309145"/>
                </a:cubicBezTo>
                <a:close/>
                <a:moveTo>
                  <a:pt x="684181" y="309145"/>
                </a:moveTo>
                <a:cubicBezTo>
                  <a:pt x="676593" y="309189"/>
                  <a:pt x="670080" y="310778"/>
                  <a:pt x="664640" y="313912"/>
                </a:cubicBezTo>
                <a:cubicBezTo>
                  <a:pt x="659201" y="317047"/>
                  <a:pt x="656354" y="321465"/>
                  <a:pt x="656101" y="327167"/>
                </a:cubicBezTo>
                <a:lnTo>
                  <a:pt x="656101" y="377459"/>
                </a:lnTo>
                <a:cubicBezTo>
                  <a:pt x="656310" y="383212"/>
                  <a:pt x="659035" y="387840"/>
                  <a:pt x="664273" y="391341"/>
                </a:cubicBezTo>
                <a:cubicBezTo>
                  <a:pt x="669512" y="394842"/>
                  <a:pt x="676008" y="396641"/>
                  <a:pt x="683761" y="396737"/>
                </a:cubicBezTo>
                <a:cubicBezTo>
                  <a:pt x="694815" y="396410"/>
                  <a:pt x="702935" y="391931"/>
                  <a:pt x="708122" y="383300"/>
                </a:cubicBezTo>
                <a:cubicBezTo>
                  <a:pt x="713308" y="374669"/>
                  <a:pt x="715875" y="363851"/>
                  <a:pt x="715823" y="350846"/>
                </a:cubicBezTo>
                <a:cubicBezTo>
                  <a:pt x="715997" y="338749"/>
                  <a:pt x="713710" y="328839"/>
                  <a:pt x="708960" y="321116"/>
                </a:cubicBezTo>
                <a:cubicBezTo>
                  <a:pt x="704210" y="313393"/>
                  <a:pt x="695950" y="309403"/>
                  <a:pt x="684181" y="309145"/>
                </a:cubicBezTo>
                <a:close/>
                <a:moveTo>
                  <a:pt x="459448" y="309145"/>
                </a:moveTo>
                <a:cubicBezTo>
                  <a:pt x="450559" y="309468"/>
                  <a:pt x="443452" y="312908"/>
                  <a:pt x="438126" y="319466"/>
                </a:cubicBezTo>
                <a:cubicBezTo>
                  <a:pt x="432800" y="326023"/>
                  <a:pt x="429779" y="333759"/>
                  <a:pt x="429063" y="342673"/>
                </a:cubicBezTo>
                <a:lnTo>
                  <a:pt x="486689" y="342673"/>
                </a:lnTo>
                <a:cubicBezTo>
                  <a:pt x="486536" y="332200"/>
                  <a:pt x="483961" y="324019"/>
                  <a:pt x="478962" y="318130"/>
                </a:cubicBezTo>
                <a:cubicBezTo>
                  <a:pt x="473963" y="312240"/>
                  <a:pt x="467459" y="309246"/>
                  <a:pt x="459448" y="309145"/>
                </a:cubicBezTo>
                <a:close/>
                <a:moveTo>
                  <a:pt x="192748" y="309145"/>
                </a:moveTo>
                <a:cubicBezTo>
                  <a:pt x="183859" y="309468"/>
                  <a:pt x="176752" y="312908"/>
                  <a:pt x="171426" y="319466"/>
                </a:cubicBezTo>
                <a:cubicBezTo>
                  <a:pt x="166100" y="326023"/>
                  <a:pt x="163079" y="333759"/>
                  <a:pt x="162363" y="342673"/>
                </a:cubicBezTo>
                <a:lnTo>
                  <a:pt x="219989" y="342673"/>
                </a:lnTo>
                <a:cubicBezTo>
                  <a:pt x="219836" y="332200"/>
                  <a:pt x="217261" y="324019"/>
                  <a:pt x="212262" y="318130"/>
                </a:cubicBezTo>
                <a:cubicBezTo>
                  <a:pt x="207263" y="312240"/>
                  <a:pt x="200759" y="309246"/>
                  <a:pt x="192748" y="309145"/>
                </a:cubicBezTo>
                <a:close/>
                <a:moveTo>
                  <a:pt x="1074039" y="300344"/>
                </a:moveTo>
                <a:lnTo>
                  <a:pt x="1079277" y="300344"/>
                </a:lnTo>
                <a:cubicBezTo>
                  <a:pt x="1080788" y="300388"/>
                  <a:pt x="1082063" y="300929"/>
                  <a:pt x="1083102" y="301968"/>
                </a:cubicBezTo>
                <a:cubicBezTo>
                  <a:pt x="1084141" y="303007"/>
                  <a:pt x="1084682" y="304282"/>
                  <a:pt x="1084726" y="305792"/>
                </a:cubicBezTo>
                <a:lnTo>
                  <a:pt x="1084726" y="373268"/>
                </a:lnTo>
                <a:cubicBezTo>
                  <a:pt x="1084665" y="380645"/>
                  <a:pt x="1086516" y="386321"/>
                  <a:pt x="1090279" y="390293"/>
                </a:cubicBezTo>
                <a:cubicBezTo>
                  <a:pt x="1094042" y="394266"/>
                  <a:pt x="1100084" y="396274"/>
                  <a:pt x="1108405" y="396318"/>
                </a:cubicBezTo>
                <a:cubicBezTo>
                  <a:pt x="1117363" y="396296"/>
                  <a:pt x="1123912" y="395292"/>
                  <a:pt x="1128050" y="393306"/>
                </a:cubicBezTo>
                <a:cubicBezTo>
                  <a:pt x="1132189" y="391319"/>
                  <a:pt x="1134232" y="388482"/>
                  <a:pt x="1134180" y="384793"/>
                </a:cubicBezTo>
                <a:lnTo>
                  <a:pt x="1134180" y="305792"/>
                </a:lnTo>
                <a:cubicBezTo>
                  <a:pt x="1134223" y="304282"/>
                  <a:pt x="1134765" y="303007"/>
                  <a:pt x="1135804" y="301968"/>
                </a:cubicBezTo>
                <a:cubicBezTo>
                  <a:pt x="1136843" y="300929"/>
                  <a:pt x="1138117" y="300388"/>
                  <a:pt x="1139628" y="300344"/>
                </a:cubicBezTo>
                <a:lnTo>
                  <a:pt x="1144867" y="300344"/>
                </a:lnTo>
                <a:cubicBezTo>
                  <a:pt x="1146377" y="300388"/>
                  <a:pt x="1147652" y="300929"/>
                  <a:pt x="1148691" y="301968"/>
                </a:cubicBezTo>
                <a:cubicBezTo>
                  <a:pt x="1149730" y="303007"/>
                  <a:pt x="1150271" y="304282"/>
                  <a:pt x="1150315" y="305792"/>
                </a:cubicBezTo>
                <a:lnTo>
                  <a:pt x="1150315" y="399671"/>
                </a:lnTo>
                <a:cubicBezTo>
                  <a:pt x="1150271" y="401181"/>
                  <a:pt x="1149730" y="402456"/>
                  <a:pt x="1148691" y="403495"/>
                </a:cubicBezTo>
                <a:cubicBezTo>
                  <a:pt x="1147652" y="404534"/>
                  <a:pt x="1146377" y="405076"/>
                  <a:pt x="1144867" y="405119"/>
                </a:cubicBezTo>
                <a:lnTo>
                  <a:pt x="1139628" y="405119"/>
                </a:lnTo>
                <a:cubicBezTo>
                  <a:pt x="1138117" y="405076"/>
                  <a:pt x="1136843" y="404534"/>
                  <a:pt x="1135804" y="403495"/>
                </a:cubicBezTo>
                <a:cubicBezTo>
                  <a:pt x="1134765" y="402456"/>
                  <a:pt x="1134223" y="401181"/>
                  <a:pt x="1134180" y="399671"/>
                </a:cubicBezTo>
                <a:lnTo>
                  <a:pt x="1134180" y="398833"/>
                </a:lnTo>
                <a:cubicBezTo>
                  <a:pt x="1131381" y="401592"/>
                  <a:pt x="1127653" y="403775"/>
                  <a:pt x="1122995" y="405381"/>
                </a:cubicBezTo>
                <a:cubicBezTo>
                  <a:pt x="1118337" y="406988"/>
                  <a:pt x="1112565" y="407808"/>
                  <a:pt x="1105681" y="407843"/>
                </a:cubicBezTo>
                <a:cubicBezTo>
                  <a:pt x="1092676" y="407734"/>
                  <a:pt x="1083220" y="404809"/>
                  <a:pt x="1077313" y="399068"/>
                </a:cubicBezTo>
                <a:cubicBezTo>
                  <a:pt x="1071406" y="393328"/>
                  <a:pt x="1068499" y="385426"/>
                  <a:pt x="1068591" y="375363"/>
                </a:cubicBezTo>
                <a:lnTo>
                  <a:pt x="1068591" y="305792"/>
                </a:lnTo>
                <a:cubicBezTo>
                  <a:pt x="1068634" y="304282"/>
                  <a:pt x="1069175" y="303007"/>
                  <a:pt x="1070215" y="301968"/>
                </a:cubicBezTo>
                <a:cubicBezTo>
                  <a:pt x="1071254" y="300929"/>
                  <a:pt x="1072528" y="300388"/>
                  <a:pt x="1074039" y="300344"/>
                </a:cubicBezTo>
                <a:close/>
                <a:moveTo>
                  <a:pt x="1383258" y="297620"/>
                </a:moveTo>
                <a:cubicBezTo>
                  <a:pt x="1393731" y="297742"/>
                  <a:pt x="1401913" y="299122"/>
                  <a:pt x="1407802" y="301759"/>
                </a:cubicBezTo>
                <a:cubicBezTo>
                  <a:pt x="1413691" y="304395"/>
                  <a:pt x="1416686" y="307556"/>
                  <a:pt x="1416786" y="311241"/>
                </a:cubicBezTo>
                <a:cubicBezTo>
                  <a:pt x="1416751" y="313162"/>
                  <a:pt x="1416140" y="314716"/>
                  <a:pt x="1414953" y="315903"/>
                </a:cubicBezTo>
                <a:cubicBezTo>
                  <a:pt x="1413765" y="317091"/>
                  <a:pt x="1412211" y="317702"/>
                  <a:pt x="1410290" y="317737"/>
                </a:cubicBezTo>
                <a:cubicBezTo>
                  <a:pt x="1407666" y="317631"/>
                  <a:pt x="1405185" y="316888"/>
                  <a:pt x="1402847" y="315509"/>
                </a:cubicBezTo>
                <a:cubicBezTo>
                  <a:pt x="1400510" y="314130"/>
                  <a:pt x="1397719" y="312752"/>
                  <a:pt x="1394473" y="311373"/>
                </a:cubicBezTo>
                <a:cubicBezTo>
                  <a:pt x="1391228" y="309994"/>
                  <a:pt x="1386931" y="309251"/>
                  <a:pt x="1381582" y="309145"/>
                </a:cubicBezTo>
                <a:cubicBezTo>
                  <a:pt x="1375619" y="309237"/>
                  <a:pt x="1370834" y="310678"/>
                  <a:pt x="1367228" y="313467"/>
                </a:cubicBezTo>
                <a:cubicBezTo>
                  <a:pt x="1363622" y="316257"/>
                  <a:pt x="1361771" y="319845"/>
                  <a:pt x="1361675" y="324233"/>
                </a:cubicBezTo>
                <a:cubicBezTo>
                  <a:pt x="1361984" y="330008"/>
                  <a:pt x="1365072" y="334397"/>
                  <a:pt x="1370941" y="337398"/>
                </a:cubicBezTo>
                <a:cubicBezTo>
                  <a:pt x="1376809" y="340400"/>
                  <a:pt x="1383604" y="343198"/>
                  <a:pt x="1391326" y="345790"/>
                </a:cubicBezTo>
                <a:cubicBezTo>
                  <a:pt x="1399048" y="348383"/>
                  <a:pt x="1405843" y="351953"/>
                  <a:pt x="1411711" y="356500"/>
                </a:cubicBezTo>
                <a:cubicBezTo>
                  <a:pt x="1417580" y="361048"/>
                  <a:pt x="1420669" y="367754"/>
                  <a:pt x="1420977" y="376620"/>
                </a:cubicBezTo>
                <a:cubicBezTo>
                  <a:pt x="1420807" y="386264"/>
                  <a:pt x="1417114" y="393851"/>
                  <a:pt x="1409897" y="399383"/>
                </a:cubicBezTo>
                <a:cubicBezTo>
                  <a:pt x="1402681" y="404914"/>
                  <a:pt x="1392963" y="407734"/>
                  <a:pt x="1380744" y="407843"/>
                </a:cubicBezTo>
                <a:cubicBezTo>
                  <a:pt x="1369991" y="407734"/>
                  <a:pt x="1361373" y="406224"/>
                  <a:pt x="1354891" y="403312"/>
                </a:cubicBezTo>
                <a:cubicBezTo>
                  <a:pt x="1348407" y="400400"/>
                  <a:pt x="1345081" y="396741"/>
                  <a:pt x="1344911" y="392337"/>
                </a:cubicBezTo>
                <a:cubicBezTo>
                  <a:pt x="1344941" y="390224"/>
                  <a:pt x="1345614" y="388582"/>
                  <a:pt x="1346928" y="387412"/>
                </a:cubicBezTo>
                <a:cubicBezTo>
                  <a:pt x="1348242" y="386242"/>
                  <a:pt x="1350014" y="385648"/>
                  <a:pt x="1352245" y="385631"/>
                </a:cubicBezTo>
                <a:cubicBezTo>
                  <a:pt x="1354847" y="385763"/>
                  <a:pt x="1357512" y="386687"/>
                  <a:pt x="1360239" y="388402"/>
                </a:cubicBezTo>
                <a:cubicBezTo>
                  <a:pt x="1362966" y="390117"/>
                  <a:pt x="1366065" y="391832"/>
                  <a:pt x="1369537" y="393547"/>
                </a:cubicBezTo>
                <a:cubicBezTo>
                  <a:pt x="1373009" y="395263"/>
                  <a:pt x="1377163" y="396186"/>
                  <a:pt x="1382001" y="396318"/>
                </a:cubicBezTo>
                <a:cubicBezTo>
                  <a:pt x="1389654" y="396161"/>
                  <a:pt x="1395408" y="394380"/>
                  <a:pt x="1399263" y="390975"/>
                </a:cubicBezTo>
                <a:cubicBezTo>
                  <a:pt x="1403118" y="387569"/>
                  <a:pt x="1405047" y="383483"/>
                  <a:pt x="1405052" y="378716"/>
                </a:cubicBezTo>
                <a:cubicBezTo>
                  <a:pt x="1404748" y="372430"/>
                  <a:pt x="1401714" y="367726"/>
                  <a:pt x="1395949" y="364604"/>
                </a:cubicBezTo>
                <a:cubicBezTo>
                  <a:pt x="1390185" y="361481"/>
                  <a:pt x="1383509" y="358677"/>
                  <a:pt x="1375924" y="356189"/>
                </a:cubicBezTo>
                <a:cubicBezTo>
                  <a:pt x="1368339" y="353702"/>
                  <a:pt x="1361664" y="350268"/>
                  <a:pt x="1355899" y="345889"/>
                </a:cubicBezTo>
                <a:cubicBezTo>
                  <a:pt x="1350134" y="341509"/>
                  <a:pt x="1347100" y="334919"/>
                  <a:pt x="1346797" y="326119"/>
                </a:cubicBezTo>
                <a:cubicBezTo>
                  <a:pt x="1346980" y="316955"/>
                  <a:pt x="1350385" y="309927"/>
                  <a:pt x="1357012" y="305033"/>
                </a:cubicBezTo>
                <a:cubicBezTo>
                  <a:pt x="1363639" y="300139"/>
                  <a:pt x="1372388" y="297668"/>
                  <a:pt x="1383258" y="297620"/>
                </a:cubicBezTo>
                <a:close/>
                <a:moveTo>
                  <a:pt x="1224381" y="297620"/>
                </a:moveTo>
                <a:cubicBezTo>
                  <a:pt x="1234427" y="297742"/>
                  <a:pt x="1242259" y="299122"/>
                  <a:pt x="1247877" y="301759"/>
                </a:cubicBezTo>
                <a:cubicBezTo>
                  <a:pt x="1253496" y="304395"/>
                  <a:pt x="1256351" y="307556"/>
                  <a:pt x="1256443" y="311241"/>
                </a:cubicBezTo>
                <a:cubicBezTo>
                  <a:pt x="1256408" y="313162"/>
                  <a:pt x="1255797" y="314716"/>
                  <a:pt x="1254609" y="315903"/>
                </a:cubicBezTo>
                <a:cubicBezTo>
                  <a:pt x="1253422" y="317091"/>
                  <a:pt x="1251867" y="317702"/>
                  <a:pt x="1249947" y="317737"/>
                </a:cubicBezTo>
                <a:cubicBezTo>
                  <a:pt x="1246493" y="317396"/>
                  <a:pt x="1243027" y="316034"/>
                  <a:pt x="1239548" y="313651"/>
                </a:cubicBezTo>
                <a:cubicBezTo>
                  <a:pt x="1236068" y="311267"/>
                  <a:pt x="1230663" y="309905"/>
                  <a:pt x="1223334" y="309564"/>
                </a:cubicBezTo>
                <a:cubicBezTo>
                  <a:pt x="1215734" y="309722"/>
                  <a:pt x="1209489" y="311944"/>
                  <a:pt x="1204598" y="316231"/>
                </a:cubicBezTo>
                <a:cubicBezTo>
                  <a:pt x="1199707" y="320518"/>
                  <a:pt x="1196086" y="325922"/>
                  <a:pt x="1193733" y="332444"/>
                </a:cubicBezTo>
                <a:cubicBezTo>
                  <a:pt x="1191380" y="338966"/>
                  <a:pt x="1190211" y="345659"/>
                  <a:pt x="1190225" y="352522"/>
                </a:cubicBezTo>
                <a:cubicBezTo>
                  <a:pt x="1190487" y="366064"/>
                  <a:pt x="1193735" y="376647"/>
                  <a:pt x="1199969" y="384269"/>
                </a:cubicBezTo>
                <a:cubicBezTo>
                  <a:pt x="1206203" y="391891"/>
                  <a:pt x="1213851" y="395768"/>
                  <a:pt x="1222915" y="395899"/>
                </a:cubicBezTo>
                <a:cubicBezTo>
                  <a:pt x="1228477" y="395788"/>
                  <a:pt x="1232906" y="395009"/>
                  <a:pt x="1236202" y="393563"/>
                </a:cubicBezTo>
                <a:cubicBezTo>
                  <a:pt x="1239497" y="392117"/>
                  <a:pt x="1242235" y="390671"/>
                  <a:pt x="1244413" y="389224"/>
                </a:cubicBezTo>
                <a:cubicBezTo>
                  <a:pt x="1246591" y="387778"/>
                  <a:pt x="1248785" y="387000"/>
                  <a:pt x="1250994" y="386888"/>
                </a:cubicBezTo>
                <a:cubicBezTo>
                  <a:pt x="1253007" y="386910"/>
                  <a:pt x="1254587" y="387495"/>
                  <a:pt x="1255735" y="388643"/>
                </a:cubicBezTo>
                <a:cubicBezTo>
                  <a:pt x="1256883" y="389791"/>
                  <a:pt x="1257469" y="391372"/>
                  <a:pt x="1257490" y="393384"/>
                </a:cubicBezTo>
                <a:cubicBezTo>
                  <a:pt x="1257329" y="397104"/>
                  <a:pt x="1254194" y="400404"/>
                  <a:pt x="1248087" y="403286"/>
                </a:cubicBezTo>
                <a:cubicBezTo>
                  <a:pt x="1241979" y="406167"/>
                  <a:pt x="1233868" y="407686"/>
                  <a:pt x="1223753" y="407843"/>
                </a:cubicBezTo>
                <a:cubicBezTo>
                  <a:pt x="1208591" y="407695"/>
                  <a:pt x="1196638" y="402805"/>
                  <a:pt x="1187893" y="393175"/>
                </a:cubicBezTo>
                <a:cubicBezTo>
                  <a:pt x="1179149" y="383544"/>
                  <a:pt x="1174687" y="370063"/>
                  <a:pt x="1174509" y="352732"/>
                </a:cubicBezTo>
                <a:cubicBezTo>
                  <a:pt x="1174714" y="336500"/>
                  <a:pt x="1179280" y="323334"/>
                  <a:pt x="1188208" y="313231"/>
                </a:cubicBezTo>
                <a:cubicBezTo>
                  <a:pt x="1197135" y="303129"/>
                  <a:pt x="1209193" y="297926"/>
                  <a:pt x="1224381" y="297620"/>
                </a:cubicBezTo>
                <a:close/>
                <a:moveTo>
                  <a:pt x="870699" y="297620"/>
                </a:moveTo>
                <a:cubicBezTo>
                  <a:pt x="880735" y="297742"/>
                  <a:pt x="889394" y="300269"/>
                  <a:pt x="896675" y="305203"/>
                </a:cubicBezTo>
                <a:cubicBezTo>
                  <a:pt x="903957" y="310136"/>
                  <a:pt x="909573" y="316746"/>
                  <a:pt x="913525" y="325032"/>
                </a:cubicBezTo>
                <a:cubicBezTo>
                  <a:pt x="917477" y="333319"/>
                  <a:pt x="919476" y="342552"/>
                  <a:pt x="919524" y="352732"/>
                </a:cubicBezTo>
                <a:cubicBezTo>
                  <a:pt x="919476" y="362912"/>
                  <a:pt x="917477" y="372145"/>
                  <a:pt x="913525" y="380431"/>
                </a:cubicBezTo>
                <a:cubicBezTo>
                  <a:pt x="909573" y="388717"/>
                  <a:pt x="903957" y="395327"/>
                  <a:pt x="896675" y="400261"/>
                </a:cubicBezTo>
                <a:cubicBezTo>
                  <a:pt x="889394" y="405194"/>
                  <a:pt x="880735" y="407722"/>
                  <a:pt x="870699" y="407843"/>
                </a:cubicBezTo>
                <a:cubicBezTo>
                  <a:pt x="860665" y="407722"/>
                  <a:pt x="852025" y="405194"/>
                  <a:pt x="844777" y="400261"/>
                </a:cubicBezTo>
                <a:cubicBezTo>
                  <a:pt x="837529" y="395327"/>
                  <a:pt x="831947" y="388717"/>
                  <a:pt x="828029" y="380431"/>
                </a:cubicBezTo>
                <a:cubicBezTo>
                  <a:pt x="824110" y="372145"/>
                  <a:pt x="822129" y="362912"/>
                  <a:pt x="822083" y="352732"/>
                </a:cubicBezTo>
                <a:cubicBezTo>
                  <a:pt x="822129" y="342552"/>
                  <a:pt x="824110" y="333319"/>
                  <a:pt x="828029" y="325032"/>
                </a:cubicBezTo>
                <a:cubicBezTo>
                  <a:pt x="831947" y="316746"/>
                  <a:pt x="837529" y="310136"/>
                  <a:pt x="844777" y="305203"/>
                </a:cubicBezTo>
                <a:cubicBezTo>
                  <a:pt x="852025" y="300269"/>
                  <a:pt x="860665" y="297742"/>
                  <a:pt x="870699" y="297620"/>
                </a:cubicBezTo>
                <a:close/>
                <a:moveTo>
                  <a:pt x="809472" y="297620"/>
                </a:moveTo>
                <a:cubicBezTo>
                  <a:pt x="813336" y="297646"/>
                  <a:pt x="816191" y="298327"/>
                  <a:pt x="818038" y="299663"/>
                </a:cubicBezTo>
                <a:cubicBezTo>
                  <a:pt x="819884" y="300999"/>
                  <a:pt x="820801" y="302833"/>
                  <a:pt x="820788" y="305164"/>
                </a:cubicBezTo>
                <a:cubicBezTo>
                  <a:pt x="820793" y="307395"/>
                  <a:pt x="820155" y="309167"/>
                  <a:pt x="818876" y="310481"/>
                </a:cubicBezTo>
                <a:cubicBezTo>
                  <a:pt x="817597" y="311795"/>
                  <a:pt x="815650" y="312467"/>
                  <a:pt x="813035" y="312498"/>
                </a:cubicBezTo>
                <a:cubicBezTo>
                  <a:pt x="810852" y="312411"/>
                  <a:pt x="808145" y="312061"/>
                  <a:pt x="804915" y="311450"/>
                </a:cubicBezTo>
                <a:cubicBezTo>
                  <a:pt x="801684" y="310839"/>
                  <a:pt x="797825" y="310490"/>
                  <a:pt x="793337" y="310403"/>
                </a:cubicBezTo>
                <a:cubicBezTo>
                  <a:pt x="789386" y="310407"/>
                  <a:pt x="786182" y="311498"/>
                  <a:pt x="783724" y="313677"/>
                </a:cubicBezTo>
                <a:cubicBezTo>
                  <a:pt x="781266" y="315855"/>
                  <a:pt x="780000" y="319094"/>
                  <a:pt x="779926" y="323395"/>
                </a:cubicBezTo>
                <a:lnTo>
                  <a:pt x="779926" y="399671"/>
                </a:lnTo>
                <a:cubicBezTo>
                  <a:pt x="779882" y="401181"/>
                  <a:pt x="779341" y="402456"/>
                  <a:pt x="778302" y="403495"/>
                </a:cubicBezTo>
                <a:cubicBezTo>
                  <a:pt x="777263" y="404534"/>
                  <a:pt x="775988" y="405076"/>
                  <a:pt x="774478" y="405119"/>
                </a:cubicBezTo>
                <a:lnTo>
                  <a:pt x="769239" y="405119"/>
                </a:lnTo>
                <a:cubicBezTo>
                  <a:pt x="767728" y="405076"/>
                  <a:pt x="766453" y="404534"/>
                  <a:pt x="765415" y="403495"/>
                </a:cubicBezTo>
                <a:cubicBezTo>
                  <a:pt x="764375" y="402456"/>
                  <a:pt x="763834" y="401181"/>
                  <a:pt x="763791" y="399671"/>
                </a:cubicBezTo>
                <a:lnTo>
                  <a:pt x="763791" y="305792"/>
                </a:lnTo>
                <a:cubicBezTo>
                  <a:pt x="763834" y="304282"/>
                  <a:pt x="764375" y="303007"/>
                  <a:pt x="765415" y="301968"/>
                </a:cubicBezTo>
                <a:cubicBezTo>
                  <a:pt x="766453" y="300929"/>
                  <a:pt x="767728" y="300388"/>
                  <a:pt x="769239" y="300344"/>
                </a:cubicBezTo>
                <a:lnTo>
                  <a:pt x="774478" y="300344"/>
                </a:lnTo>
                <a:cubicBezTo>
                  <a:pt x="775988" y="300388"/>
                  <a:pt x="777263" y="300929"/>
                  <a:pt x="778302" y="301968"/>
                </a:cubicBezTo>
                <a:cubicBezTo>
                  <a:pt x="779341" y="303007"/>
                  <a:pt x="779882" y="304282"/>
                  <a:pt x="779926" y="305792"/>
                </a:cubicBezTo>
                <a:lnTo>
                  <a:pt x="779926" y="307678"/>
                </a:lnTo>
                <a:cubicBezTo>
                  <a:pt x="783383" y="304417"/>
                  <a:pt x="787575" y="301929"/>
                  <a:pt x="792499" y="300213"/>
                </a:cubicBezTo>
                <a:cubicBezTo>
                  <a:pt x="797423" y="298497"/>
                  <a:pt x="803081" y="297633"/>
                  <a:pt x="809472" y="297620"/>
                </a:cubicBezTo>
                <a:close/>
                <a:moveTo>
                  <a:pt x="685857" y="297620"/>
                </a:moveTo>
                <a:cubicBezTo>
                  <a:pt x="700905" y="297781"/>
                  <a:pt x="712404" y="302540"/>
                  <a:pt x="720354" y="311896"/>
                </a:cubicBezTo>
                <a:cubicBezTo>
                  <a:pt x="728304" y="321251"/>
                  <a:pt x="732312" y="334234"/>
                  <a:pt x="732377" y="350846"/>
                </a:cubicBezTo>
                <a:cubicBezTo>
                  <a:pt x="732220" y="368164"/>
                  <a:pt x="727977" y="381933"/>
                  <a:pt x="719647" y="392153"/>
                </a:cubicBezTo>
                <a:cubicBezTo>
                  <a:pt x="711317" y="402373"/>
                  <a:pt x="699844" y="407603"/>
                  <a:pt x="685228" y="407843"/>
                </a:cubicBezTo>
                <a:cubicBezTo>
                  <a:pt x="678946" y="407821"/>
                  <a:pt x="673227" y="406870"/>
                  <a:pt x="668071" y="404988"/>
                </a:cubicBezTo>
                <a:cubicBezTo>
                  <a:pt x="662916" y="403107"/>
                  <a:pt x="658925" y="400426"/>
                  <a:pt x="656101" y="396947"/>
                </a:cubicBezTo>
                <a:lnTo>
                  <a:pt x="656101" y="437809"/>
                </a:lnTo>
                <a:cubicBezTo>
                  <a:pt x="656057" y="439319"/>
                  <a:pt x="655516" y="440594"/>
                  <a:pt x="654477" y="441633"/>
                </a:cubicBezTo>
                <a:cubicBezTo>
                  <a:pt x="653438" y="442672"/>
                  <a:pt x="652163" y="443214"/>
                  <a:pt x="650653" y="443257"/>
                </a:cubicBezTo>
                <a:lnTo>
                  <a:pt x="645414" y="443257"/>
                </a:lnTo>
                <a:cubicBezTo>
                  <a:pt x="643903" y="443214"/>
                  <a:pt x="642629" y="442672"/>
                  <a:pt x="641589" y="441633"/>
                </a:cubicBezTo>
                <a:cubicBezTo>
                  <a:pt x="640551" y="440594"/>
                  <a:pt x="640009" y="439319"/>
                  <a:pt x="639966" y="437809"/>
                </a:cubicBezTo>
                <a:lnTo>
                  <a:pt x="639966" y="305792"/>
                </a:lnTo>
                <a:cubicBezTo>
                  <a:pt x="640009" y="304282"/>
                  <a:pt x="640551" y="303007"/>
                  <a:pt x="641589" y="301968"/>
                </a:cubicBezTo>
                <a:cubicBezTo>
                  <a:pt x="642629" y="300929"/>
                  <a:pt x="643903" y="300388"/>
                  <a:pt x="645414" y="300344"/>
                </a:cubicBezTo>
                <a:lnTo>
                  <a:pt x="650653" y="300344"/>
                </a:lnTo>
                <a:cubicBezTo>
                  <a:pt x="652163" y="300388"/>
                  <a:pt x="653438" y="300929"/>
                  <a:pt x="654477" y="301968"/>
                </a:cubicBezTo>
                <a:cubicBezTo>
                  <a:pt x="655516" y="303007"/>
                  <a:pt x="656057" y="304282"/>
                  <a:pt x="656101" y="305792"/>
                </a:cubicBezTo>
                <a:lnTo>
                  <a:pt x="656101" y="307678"/>
                </a:lnTo>
                <a:cubicBezTo>
                  <a:pt x="659554" y="304326"/>
                  <a:pt x="663911" y="301811"/>
                  <a:pt x="669171" y="300135"/>
                </a:cubicBezTo>
                <a:cubicBezTo>
                  <a:pt x="674432" y="298458"/>
                  <a:pt x="679994" y="297620"/>
                  <a:pt x="685857" y="297620"/>
                </a:cubicBezTo>
                <a:close/>
                <a:moveTo>
                  <a:pt x="580872" y="297620"/>
                </a:moveTo>
                <a:cubicBezTo>
                  <a:pt x="584736" y="297646"/>
                  <a:pt x="587591" y="298327"/>
                  <a:pt x="589438" y="299663"/>
                </a:cubicBezTo>
                <a:cubicBezTo>
                  <a:pt x="591284" y="300999"/>
                  <a:pt x="592201" y="302833"/>
                  <a:pt x="592188" y="305164"/>
                </a:cubicBezTo>
                <a:cubicBezTo>
                  <a:pt x="592192" y="307395"/>
                  <a:pt x="591555" y="309167"/>
                  <a:pt x="590276" y="310481"/>
                </a:cubicBezTo>
                <a:cubicBezTo>
                  <a:pt x="588997" y="311795"/>
                  <a:pt x="587050" y="312467"/>
                  <a:pt x="584435" y="312498"/>
                </a:cubicBezTo>
                <a:cubicBezTo>
                  <a:pt x="582252" y="312411"/>
                  <a:pt x="579545" y="312061"/>
                  <a:pt x="576315" y="311450"/>
                </a:cubicBezTo>
                <a:cubicBezTo>
                  <a:pt x="573084" y="310839"/>
                  <a:pt x="569225" y="310490"/>
                  <a:pt x="564737" y="310403"/>
                </a:cubicBezTo>
                <a:cubicBezTo>
                  <a:pt x="560786" y="310407"/>
                  <a:pt x="557582" y="311498"/>
                  <a:pt x="555124" y="313677"/>
                </a:cubicBezTo>
                <a:cubicBezTo>
                  <a:pt x="552666" y="315855"/>
                  <a:pt x="551400" y="319094"/>
                  <a:pt x="551326" y="323395"/>
                </a:cubicBezTo>
                <a:lnTo>
                  <a:pt x="551326" y="399671"/>
                </a:lnTo>
                <a:cubicBezTo>
                  <a:pt x="551282" y="401181"/>
                  <a:pt x="550741" y="402456"/>
                  <a:pt x="549702" y="403495"/>
                </a:cubicBezTo>
                <a:cubicBezTo>
                  <a:pt x="548663" y="404534"/>
                  <a:pt x="547388" y="405076"/>
                  <a:pt x="545878" y="405119"/>
                </a:cubicBezTo>
                <a:lnTo>
                  <a:pt x="540639" y="405119"/>
                </a:lnTo>
                <a:cubicBezTo>
                  <a:pt x="539128" y="405076"/>
                  <a:pt x="537854" y="404534"/>
                  <a:pt x="536815" y="403495"/>
                </a:cubicBezTo>
                <a:cubicBezTo>
                  <a:pt x="535776" y="402456"/>
                  <a:pt x="535234" y="401181"/>
                  <a:pt x="535191" y="399671"/>
                </a:cubicBezTo>
                <a:lnTo>
                  <a:pt x="535191" y="305792"/>
                </a:lnTo>
                <a:cubicBezTo>
                  <a:pt x="535234" y="304282"/>
                  <a:pt x="535776" y="303007"/>
                  <a:pt x="536815" y="301968"/>
                </a:cubicBezTo>
                <a:cubicBezTo>
                  <a:pt x="537854" y="300929"/>
                  <a:pt x="539128" y="300388"/>
                  <a:pt x="540639" y="300344"/>
                </a:cubicBezTo>
                <a:lnTo>
                  <a:pt x="545878" y="300344"/>
                </a:lnTo>
                <a:cubicBezTo>
                  <a:pt x="547388" y="300388"/>
                  <a:pt x="548663" y="300929"/>
                  <a:pt x="549702" y="301968"/>
                </a:cubicBezTo>
                <a:cubicBezTo>
                  <a:pt x="550741" y="303007"/>
                  <a:pt x="551282" y="304282"/>
                  <a:pt x="551326" y="305792"/>
                </a:cubicBezTo>
                <a:lnTo>
                  <a:pt x="551326" y="307678"/>
                </a:lnTo>
                <a:cubicBezTo>
                  <a:pt x="554783" y="304417"/>
                  <a:pt x="558974" y="301929"/>
                  <a:pt x="563899" y="300213"/>
                </a:cubicBezTo>
                <a:cubicBezTo>
                  <a:pt x="568823" y="298497"/>
                  <a:pt x="574481" y="297633"/>
                  <a:pt x="580872" y="297620"/>
                </a:cubicBezTo>
                <a:close/>
                <a:moveTo>
                  <a:pt x="460076" y="297620"/>
                </a:moveTo>
                <a:cubicBezTo>
                  <a:pt x="469114" y="297740"/>
                  <a:pt x="476813" y="299991"/>
                  <a:pt x="483173" y="304372"/>
                </a:cubicBezTo>
                <a:cubicBezTo>
                  <a:pt x="489534" y="308753"/>
                  <a:pt x="494392" y="314543"/>
                  <a:pt x="497749" y="321742"/>
                </a:cubicBezTo>
                <a:cubicBezTo>
                  <a:pt x="501105" y="328940"/>
                  <a:pt x="502797" y="336825"/>
                  <a:pt x="502825" y="345397"/>
                </a:cubicBezTo>
                <a:cubicBezTo>
                  <a:pt x="502868" y="348663"/>
                  <a:pt x="502467" y="350828"/>
                  <a:pt x="501620" y="351893"/>
                </a:cubicBezTo>
                <a:cubicBezTo>
                  <a:pt x="500773" y="352959"/>
                  <a:pt x="499219" y="353448"/>
                  <a:pt x="496957" y="353360"/>
                </a:cubicBezTo>
                <a:lnTo>
                  <a:pt x="428434" y="353360"/>
                </a:lnTo>
                <a:cubicBezTo>
                  <a:pt x="428875" y="367125"/>
                  <a:pt x="432289" y="377576"/>
                  <a:pt x="438676" y="384714"/>
                </a:cubicBezTo>
                <a:cubicBezTo>
                  <a:pt x="445063" y="391852"/>
                  <a:pt x="453035" y="395441"/>
                  <a:pt x="462591" y="395480"/>
                </a:cubicBezTo>
                <a:cubicBezTo>
                  <a:pt x="468777" y="395371"/>
                  <a:pt x="473705" y="394611"/>
                  <a:pt x="477376" y="393198"/>
                </a:cubicBezTo>
                <a:cubicBezTo>
                  <a:pt x="481047" y="391786"/>
                  <a:pt x="484066" y="390373"/>
                  <a:pt x="486433" y="388960"/>
                </a:cubicBezTo>
                <a:cubicBezTo>
                  <a:pt x="488800" y="387548"/>
                  <a:pt x="491121" y="386787"/>
                  <a:pt x="493395" y="386679"/>
                </a:cubicBezTo>
                <a:cubicBezTo>
                  <a:pt x="495307" y="386705"/>
                  <a:pt x="496826" y="387281"/>
                  <a:pt x="497953" y="388408"/>
                </a:cubicBezTo>
                <a:cubicBezTo>
                  <a:pt x="499079" y="389534"/>
                  <a:pt x="499655" y="391053"/>
                  <a:pt x="499681" y="392965"/>
                </a:cubicBezTo>
                <a:cubicBezTo>
                  <a:pt x="499568" y="396794"/>
                  <a:pt x="496285" y="400190"/>
                  <a:pt x="489832" y="403155"/>
                </a:cubicBezTo>
                <a:cubicBezTo>
                  <a:pt x="483380" y="406119"/>
                  <a:pt x="474439" y="407682"/>
                  <a:pt x="463010" y="407843"/>
                </a:cubicBezTo>
                <a:cubicBezTo>
                  <a:pt x="446879" y="407512"/>
                  <a:pt x="434455" y="402360"/>
                  <a:pt x="425736" y="392389"/>
                </a:cubicBezTo>
                <a:cubicBezTo>
                  <a:pt x="417018" y="382418"/>
                  <a:pt x="412609" y="369618"/>
                  <a:pt x="412509" y="353989"/>
                </a:cubicBezTo>
                <a:cubicBezTo>
                  <a:pt x="412814" y="337522"/>
                  <a:pt x="417389" y="324093"/>
                  <a:pt x="426234" y="313703"/>
                </a:cubicBezTo>
                <a:cubicBezTo>
                  <a:pt x="435079" y="303313"/>
                  <a:pt x="446360" y="297952"/>
                  <a:pt x="460076" y="297620"/>
                </a:cubicBezTo>
                <a:close/>
                <a:moveTo>
                  <a:pt x="193376" y="297620"/>
                </a:moveTo>
                <a:cubicBezTo>
                  <a:pt x="202414" y="297740"/>
                  <a:pt x="210113" y="299991"/>
                  <a:pt x="216473" y="304372"/>
                </a:cubicBezTo>
                <a:cubicBezTo>
                  <a:pt x="222834" y="308753"/>
                  <a:pt x="227692" y="314543"/>
                  <a:pt x="231049" y="321742"/>
                </a:cubicBezTo>
                <a:cubicBezTo>
                  <a:pt x="234405" y="328940"/>
                  <a:pt x="236097" y="336825"/>
                  <a:pt x="236125" y="345397"/>
                </a:cubicBezTo>
                <a:cubicBezTo>
                  <a:pt x="236168" y="348663"/>
                  <a:pt x="235767" y="350828"/>
                  <a:pt x="234920" y="351893"/>
                </a:cubicBezTo>
                <a:cubicBezTo>
                  <a:pt x="234073" y="352959"/>
                  <a:pt x="232519" y="353448"/>
                  <a:pt x="230257" y="353360"/>
                </a:cubicBezTo>
                <a:lnTo>
                  <a:pt x="161734" y="353360"/>
                </a:lnTo>
                <a:cubicBezTo>
                  <a:pt x="162175" y="367125"/>
                  <a:pt x="165589" y="377576"/>
                  <a:pt x="171976" y="384714"/>
                </a:cubicBezTo>
                <a:cubicBezTo>
                  <a:pt x="178363" y="391852"/>
                  <a:pt x="186335" y="395441"/>
                  <a:pt x="195891" y="395480"/>
                </a:cubicBezTo>
                <a:cubicBezTo>
                  <a:pt x="202077" y="395371"/>
                  <a:pt x="207005" y="394611"/>
                  <a:pt x="210676" y="393198"/>
                </a:cubicBezTo>
                <a:cubicBezTo>
                  <a:pt x="214347" y="391786"/>
                  <a:pt x="217366" y="390373"/>
                  <a:pt x="219733" y="388960"/>
                </a:cubicBezTo>
                <a:cubicBezTo>
                  <a:pt x="222100" y="387548"/>
                  <a:pt x="224421" y="386787"/>
                  <a:pt x="226695" y="386679"/>
                </a:cubicBezTo>
                <a:cubicBezTo>
                  <a:pt x="228607" y="386705"/>
                  <a:pt x="230126" y="387281"/>
                  <a:pt x="231253" y="388408"/>
                </a:cubicBezTo>
                <a:cubicBezTo>
                  <a:pt x="232379" y="389534"/>
                  <a:pt x="232955" y="391053"/>
                  <a:pt x="232981" y="392965"/>
                </a:cubicBezTo>
                <a:cubicBezTo>
                  <a:pt x="232868" y="396794"/>
                  <a:pt x="229585" y="400190"/>
                  <a:pt x="223132" y="403155"/>
                </a:cubicBezTo>
                <a:cubicBezTo>
                  <a:pt x="216680" y="406119"/>
                  <a:pt x="207739" y="407682"/>
                  <a:pt x="196310" y="407843"/>
                </a:cubicBezTo>
                <a:cubicBezTo>
                  <a:pt x="180179" y="407512"/>
                  <a:pt x="167755" y="402360"/>
                  <a:pt x="159036" y="392389"/>
                </a:cubicBezTo>
                <a:cubicBezTo>
                  <a:pt x="150318" y="382418"/>
                  <a:pt x="145909" y="369618"/>
                  <a:pt x="145809" y="353989"/>
                </a:cubicBezTo>
                <a:cubicBezTo>
                  <a:pt x="146114" y="337522"/>
                  <a:pt x="150689" y="324093"/>
                  <a:pt x="159534" y="313703"/>
                </a:cubicBezTo>
                <a:cubicBezTo>
                  <a:pt x="168379" y="303313"/>
                  <a:pt x="179660" y="297952"/>
                  <a:pt x="193376" y="297620"/>
                </a:cubicBezTo>
                <a:close/>
                <a:moveTo>
                  <a:pt x="34576" y="272474"/>
                </a:moveTo>
                <a:lnTo>
                  <a:pt x="34576" y="323395"/>
                </a:lnTo>
                <a:lnTo>
                  <a:pt x="65170" y="323395"/>
                </a:lnTo>
                <a:cubicBezTo>
                  <a:pt x="72949" y="323181"/>
                  <a:pt x="79550" y="320622"/>
                  <a:pt x="84972" y="315720"/>
                </a:cubicBezTo>
                <a:cubicBezTo>
                  <a:pt x="90394" y="310817"/>
                  <a:pt x="93223" y="304854"/>
                  <a:pt x="93459" y="297830"/>
                </a:cubicBezTo>
                <a:cubicBezTo>
                  <a:pt x="93472" y="290172"/>
                  <a:pt x="91298" y="284060"/>
                  <a:pt x="86937" y="279494"/>
                </a:cubicBezTo>
                <a:cubicBezTo>
                  <a:pt x="82576" y="274927"/>
                  <a:pt x="75949" y="272588"/>
                  <a:pt x="67056" y="272474"/>
                </a:cubicBezTo>
                <a:close/>
                <a:moveTo>
                  <a:pt x="1287780" y="269959"/>
                </a:moveTo>
                <a:lnTo>
                  <a:pt x="1293019" y="269959"/>
                </a:lnTo>
                <a:cubicBezTo>
                  <a:pt x="1294529" y="270003"/>
                  <a:pt x="1295804" y="270544"/>
                  <a:pt x="1296843" y="271583"/>
                </a:cubicBezTo>
                <a:cubicBezTo>
                  <a:pt x="1297882" y="272622"/>
                  <a:pt x="1298423" y="273897"/>
                  <a:pt x="1298467" y="275408"/>
                </a:cubicBezTo>
                <a:lnTo>
                  <a:pt x="1298467" y="300344"/>
                </a:lnTo>
                <a:lnTo>
                  <a:pt x="1322984" y="300344"/>
                </a:lnTo>
                <a:cubicBezTo>
                  <a:pt x="1324495" y="300388"/>
                  <a:pt x="1325769" y="300929"/>
                  <a:pt x="1326809" y="301968"/>
                </a:cubicBezTo>
                <a:cubicBezTo>
                  <a:pt x="1327848" y="303007"/>
                  <a:pt x="1328389" y="304282"/>
                  <a:pt x="1328433" y="305792"/>
                </a:cubicBezTo>
                <a:lnTo>
                  <a:pt x="1328433" y="306631"/>
                </a:lnTo>
                <a:cubicBezTo>
                  <a:pt x="1328389" y="308141"/>
                  <a:pt x="1327848" y="309416"/>
                  <a:pt x="1326809" y="310455"/>
                </a:cubicBezTo>
                <a:cubicBezTo>
                  <a:pt x="1325769" y="311494"/>
                  <a:pt x="1324495" y="312035"/>
                  <a:pt x="1322984" y="312079"/>
                </a:cubicBezTo>
                <a:lnTo>
                  <a:pt x="1298467" y="312079"/>
                </a:lnTo>
                <a:lnTo>
                  <a:pt x="1298467" y="379973"/>
                </a:lnTo>
                <a:cubicBezTo>
                  <a:pt x="1298380" y="384435"/>
                  <a:pt x="1299445" y="387980"/>
                  <a:pt x="1301662" y="390608"/>
                </a:cubicBezTo>
                <a:cubicBezTo>
                  <a:pt x="1303880" y="393236"/>
                  <a:pt x="1307774" y="394581"/>
                  <a:pt x="1313345" y="394642"/>
                </a:cubicBezTo>
                <a:cubicBezTo>
                  <a:pt x="1315960" y="394598"/>
                  <a:pt x="1317959" y="394423"/>
                  <a:pt x="1319343" y="394118"/>
                </a:cubicBezTo>
                <a:cubicBezTo>
                  <a:pt x="1320727" y="393812"/>
                  <a:pt x="1322150" y="393638"/>
                  <a:pt x="1323613" y="393594"/>
                </a:cubicBezTo>
                <a:cubicBezTo>
                  <a:pt x="1324731" y="393555"/>
                  <a:pt x="1325796" y="393948"/>
                  <a:pt x="1326809" y="394773"/>
                </a:cubicBezTo>
                <a:cubicBezTo>
                  <a:pt x="1327821" y="395598"/>
                  <a:pt x="1328363" y="397091"/>
                  <a:pt x="1328433" y="399252"/>
                </a:cubicBezTo>
                <a:lnTo>
                  <a:pt x="1328433" y="399880"/>
                </a:lnTo>
                <a:cubicBezTo>
                  <a:pt x="1328323" y="402041"/>
                  <a:pt x="1327651" y="403587"/>
                  <a:pt x="1326416" y="404517"/>
                </a:cubicBezTo>
                <a:cubicBezTo>
                  <a:pt x="1325180" y="405447"/>
                  <a:pt x="1324036" y="405997"/>
                  <a:pt x="1322984" y="406167"/>
                </a:cubicBezTo>
                <a:cubicBezTo>
                  <a:pt x="1321325" y="406477"/>
                  <a:pt x="1319614" y="406695"/>
                  <a:pt x="1317850" y="406822"/>
                </a:cubicBezTo>
                <a:cubicBezTo>
                  <a:pt x="1316087" y="406948"/>
                  <a:pt x="1314166" y="407009"/>
                  <a:pt x="1312088" y="407005"/>
                </a:cubicBezTo>
                <a:cubicBezTo>
                  <a:pt x="1302689" y="407215"/>
                  <a:pt x="1295398" y="405119"/>
                  <a:pt x="1290216" y="400719"/>
                </a:cubicBezTo>
                <a:cubicBezTo>
                  <a:pt x="1285034" y="396318"/>
                  <a:pt x="1282406" y="388355"/>
                  <a:pt x="1282331" y="376830"/>
                </a:cubicBezTo>
                <a:lnTo>
                  <a:pt x="1282331" y="312079"/>
                </a:lnTo>
                <a:lnTo>
                  <a:pt x="1268292" y="312079"/>
                </a:lnTo>
                <a:cubicBezTo>
                  <a:pt x="1266781" y="312035"/>
                  <a:pt x="1265507" y="311494"/>
                  <a:pt x="1264467" y="310455"/>
                </a:cubicBezTo>
                <a:cubicBezTo>
                  <a:pt x="1263428" y="309416"/>
                  <a:pt x="1262887" y="308141"/>
                  <a:pt x="1262843" y="306631"/>
                </a:cubicBezTo>
                <a:lnTo>
                  <a:pt x="1262843" y="305792"/>
                </a:lnTo>
                <a:cubicBezTo>
                  <a:pt x="1262887" y="304282"/>
                  <a:pt x="1263428" y="303007"/>
                  <a:pt x="1264467" y="301968"/>
                </a:cubicBezTo>
                <a:cubicBezTo>
                  <a:pt x="1265507" y="300929"/>
                  <a:pt x="1266781" y="300388"/>
                  <a:pt x="1268292" y="300344"/>
                </a:cubicBezTo>
                <a:lnTo>
                  <a:pt x="1282331" y="300344"/>
                </a:lnTo>
                <a:lnTo>
                  <a:pt x="1282331" y="275408"/>
                </a:lnTo>
                <a:cubicBezTo>
                  <a:pt x="1282375" y="273897"/>
                  <a:pt x="1282917" y="272622"/>
                  <a:pt x="1283955" y="271583"/>
                </a:cubicBezTo>
                <a:cubicBezTo>
                  <a:pt x="1284995" y="270544"/>
                  <a:pt x="1286269" y="270003"/>
                  <a:pt x="1287780" y="269959"/>
                </a:cubicBezTo>
                <a:close/>
                <a:moveTo>
                  <a:pt x="354330" y="269959"/>
                </a:moveTo>
                <a:lnTo>
                  <a:pt x="359569" y="269959"/>
                </a:lnTo>
                <a:cubicBezTo>
                  <a:pt x="361079" y="270003"/>
                  <a:pt x="362354" y="270544"/>
                  <a:pt x="363393" y="271583"/>
                </a:cubicBezTo>
                <a:cubicBezTo>
                  <a:pt x="364432" y="272622"/>
                  <a:pt x="364973" y="273897"/>
                  <a:pt x="365017" y="275408"/>
                </a:cubicBezTo>
                <a:lnTo>
                  <a:pt x="365017" y="300344"/>
                </a:lnTo>
                <a:lnTo>
                  <a:pt x="389534" y="300344"/>
                </a:lnTo>
                <a:cubicBezTo>
                  <a:pt x="391045" y="300388"/>
                  <a:pt x="392319" y="300929"/>
                  <a:pt x="393359" y="301968"/>
                </a:cubicBezTo>
                <a:cubicBezTo>
                  <a:pt x="394397" y="303007"/>
                  <a:pt x="394939" y="304282"/>
                  <a:pt x="394982" y="305792"/>
                </a:cubicBezTo>
                <a:lnTo>
                  <a:pt x="394982" y="306631"/>
                </a:lnTo>
                <a:cubicBezTo>
                  <a:pt x="394939" y="308141"/>
                  <a:pt x="394397" y="309416"/>
                  <a:pt x="393359" y="310455"/>
                </a:cubicBezTo>
                <a:cubicBezTo>
                  <a:pt x="392319" y="311494"/>
                  <a:pt x="391045" y="312035"/>
                  <a:pt x="389534" y="312079"/>
                </a:cubicBezTo>
                <a:lnTo>
                  <a:pt x="365017" y="312079"/>
                </a:lnTo>
                <a:lnTo>
                  <a:pt x="365017" y="379973"/>
                </a:lnTo>
                <a:cubicBezTo>
                  <a:pt x="364930" y="384435"/>
                  <a:pt x="365995" y="387980"/>
                  <a:pt x="368213" y="390608"/>
                </a:cubicBezTo>
                <a:cubicBezTo>
                  <a:pt x="370430" y="393236"/>
                  <a:pt x="374324" y="394581"/>
                  <a:pt x="379895" y="394642"/>
                </a:cubicBezTo>
                <a:cubicBezTo>
                  <a:pt x="382510" y="394598"/>
                  <a:pt x="384509" y="394423"/>
                  <a:pt x="385893" y="394118"/>
                </a:cubicBezTo>
                <a:cubicBezTo>
                  <a:pt x="387277" y="393812"/>
                  <a:pt x="388700" y="393638"/>
                  <a:pt x="390163" y="393594"/>
                </a:cubicBezTo>
                <a:cubicBezTo>
                  <a:pt x="391281" y="393555"/>
                  <a:pt x="392346" y="393948"/>
                  <a:pt x="393359" y="394773"/>
                </a:cubicBezTo>
                <a:cubicBezTo>
                  <a:pt x="394371" y="395598"/>
                  <a:pt x="394913" y="397091"/>
                  <a:pt x="394982" y="399252"/>
                </a:cubicBezTo>
                <a:lnTo>
                  <a:pt x="394982" y="399880"/>
                </a:lnTo>
                <a:cubicBezTo>
                  <a:pt x="394873" y="402041"/>
                  <a:pt x="394201" y="403587"/>
                  <a:pt x="392966" y="404517"/>
                </a:cubicBezTo>
                <a:cubicBezTo>
                  <a:pt x="391730" y="405447"/>
                  <a:pt x="390586" y="405997"/>
                  <a:pt x="389534" y="406167"/>
                </a:cubicBezTo>
                <a:cubicBezTo>
                  <a:pt x="387875" y="406477"/>
                  <a:pt x="386164" y="406695"/>
                  <a:pt x="384400" y="406822"/>
                </a:cubicBezTo>
                <a:cubicBezTo>
                  <a:pt x="382637" y="406948"/>
                  <a:pt x="380716" y="407009"/>
                  <a:pt x="378638" y="407005"/>
                </a:cubicBezTo>
                <a:cubicBezTo>
                  <a:pt x="369238" y="407215"/>
                  <a:pt x="361948" y="405119"/>
                  <a:pt x="356766" y="400719"/>
                </a:cubicBezTo>
                <a:cubicBezTo>
                  <a:pt x="351584" y="396318"/>
                  <a:pt x="348956" y="388355"/>
                  <a:pt x="348881" y="376830"/>
                </a:cubicBezTo>
                <a:lnTo>
                  <a:pt x="348881" y="312079"/>
                </a:lnTo>
                <a:lnTo>
                  <a:pt x="334842" y="312079"/>
                </a:lnTo>
                <a:cubicBezTo>
                  <a:pt x="333331" y="312035"/>
                  <a:pt x="332056" y="311494"/>
                  <a:pt x="331017" y="310455"/>
                </a:cubicBezTo>
                <a:cubicBezTo>
                  <a:pt x="329978" y="309416"/>
                  <a:pt x="329437" y="308141"/>
                  <a:pt x="329393" y="306631"/>
                </a:cubicBezTo>
                <a:lnTo>
                  <a:pt x="329393" y="305792"/>
                </a:lnTo>
                <a:cubicBezTo>
                  <a:pt x="329437" y="304282"/>
                  <a:pt x="329978" y="303007"/>
                  <a:pt x="331017" y="301968"/>
                </a:cubicBezTo>
                <a:cubicBezTo>
                  <a:pt x="332056" y="300929"/>
                  <a:pt x="333331" y="300388"/>
                  <a:pt x="334842" y="300344"/>
                </a:cubicBezTo>
                <a:lnTo>
                  <a:pt x="348881" y="300344"/>
                </a:lnTo>
                <a:lnTo>
                  <a:pt x="348881" y="275408"/>
                </a:lnTo>
                <a:cubicBezTo>
                  <a:pt x="348925" y="273897"/>
                  <a:pt x="349467" y="272622"/>
                  <a:pt x="350506" y="271583"/>
                </a:cubicBezTo>
                <a:cubicBezTo>
                  <a:pt x="351545" y="270544"/>
                  <a:pt x="352819" y="270003"/>
                  <a:pt x="354330" y="269959"/>
                </a:cubicBezTo>
                <a:close/>
                <a:moveTo>
                  <a:pt x="278130" y="269959"/>
                </a:moveTo>
                <a:lnTo>
                  <a:pt x="283369" y="269959"/>
                </a:lnTo>
                <a:cubicBezTo>
                  <a:pt x="284879" y="270003"/>
                  <a:pt x="286154" y="270544"/>
                  <a:pt x="287193" y="271583"/>
                </a:cubicBezTo>
                <a:cubicBezTo>
                  <a:pt x="288232" y="272622"/>
                  <a:pt x="288773" y="273897"/>
                  <a:pt x="288817" y="275408"/>
                </a:cubicBezTo>
                <a:lnTo>
                  <a:pt x="288817" y="300344"/>
                </a:lnTo>
                <a:lnTo>
                  <a:pt x="313334" y="300344"/>
                </a:lnTo>
                <a:cubicBezTo>
                  <a:pt x="314845" y="300388"/>
                  <a:pt x="316119" y="300929"/>
                  <a:pt x="317159" y="301968"/>
                </a:cubicBezTo>
                <a:cubicBezTo>
                  <a:pt x="318198" y="303007"/>
                  <a:pt x="318739" y="304282"/>
                  <a:pt x="318783" y="305792"/>
                </a:cubicBezTo>
                <a:lnTo>
                  <a:pt x="318783" y="306631"/>
                </a:lnTo>
                <a:cubicBezTo>
                  <a:pt x="318739" y="308141"/>
                  <a:pt x="318198" y="309416"/>
                  <a:pt x="317159" y="310455"/>
                </a:cubicBezTo>
                <a:cubicBezTo>
                  <a:pt x="316119" y="311494"/>
                  <a:pt x="314845" y="312035"/>
                  <a:pt x="313334" y="312079"/>
                </a:cubicBezTo>
                <a:lnTo>
                  <a:pt x="288817" y="312079"/>
                </a:lnTo>
                <a:lnTo>
                  <a:pt x="288817" y="379973"/>
                </a:lnTo>
                <a:cubicBezTo>
                  <a:pt x="288730" y="384435"/>
                  <a:pt x="289795" y="387980"/>
                  <a:pt x="292013" y="390608"/>
                </a:cubicBezTo>
                <a:cubicBezTo>
                  <a:pt x="294230" y="393236"/>
                  <a:pt x="298124" y="394581"/>
                  <a:pt x="303695" y="394642"/>
                </a:cubicBezTo>
                <a:cubicBezTo>
                  <a:pt x="306310" y="394598"/>
                  <a:pt x="308309" y="394423"/>
                  <a:pt x="309693" y="394118"/>
                </a:cubicBezTo>
                <a:cubicBezTo>
                  <a:pt x="311077" y="393812"/>
                  <a:pt x="312500" y="393638"/>
                  <a:pt x="313963" y="393594"/>
                </a:cubicBezTo>
                <a:cubicBezTo>
                  <a:pt x="315080" y="393555"/>
                  <a:pt x="316146" y="393948"/>
                  <a:pt x="317159" y="394773"/>
                </a:cubicBezTo>
                <a:cubicBezTo>
                  <a:pt x="318171" y="395598"/>
                  <a:pt x="318713" y="397091"/>
                  <a:pt x="318783" y="399252"/>
                </a:cubicBezTo>
                <a:lnTo>
                  <a:pt x="318783" y="399880"/>
                </a:lnTo>
                <a:cubicBezTo>
                  <a:pt x="318673" y="402041"/>
                  <a:pt x="318001" y="403587"/>
                  <a:pt x="316766" y="404517"/>
                </a:cubicBezTo>
                <a:cubicBezTo>
                  <a:pt x="315530" y="405447"/>
                  <a:pt x="314386" y="405997"/>
                  <a:pt x="313334" y="406167"/>
                </a:cubicBezTo>
                <a:cubicBezTo>
                  <a:pt x="311675" y="406477"/>
                  <a:pt x="309964" y="406695"/>
                  <a:pt x="308200" y="406822"/>
                </a:cubicBezTo>
                <a:cubicBezTo>
                  <a:pt x="306437" y="406948"/>
                  <a:pt x="304516" y="407009"/>
                  <a:pt x="302438" y="407005"/>
                </a:cubicBezTo>
                <a:cubicBezTo>
                  <a:pt x="293038" y="407215"/>
                  <a:pt x="285748" y="405119"/>
                  <a:pt x="280566" y="400719"/>
                </a:cubicBezTo>
                <a:cubicBezTo>
                  <a:pt x="275384" y="396318"/>
                  <a:pt x="272756" y="388355"/>
                  <a:pt x="272682" y="376830"/>
                </a:cubicBezTo>
                <a:lnTo>
                  <a:pt x="272682" y="312079"/>
                </a:lnTo>
                <a:lnTo>
                  <a:pt x="258642" y="312079"/>
                </a:lnTo>
                <a:cubicBezTo>
                  <a:pt x="257131" y="312035"/>
                  <a:pt x="255856" y="311494"/>
                  <a:pt x="254817" y="310455"/>
                </a:cubicBezTo>
                <a:cubicBezTo>
                  <a:pt x="253778" y="309416"/>
                  <a:pt x="253237" y="308141"/>
                  <a:pt x="253193" y="306631"/>
                </a:cubicBezTo>
                <a:lnTo>
                  <a:pt x="253193" y="305792"/>
                </a:lnTo>
                <a:cubicBezTo>
                  <a:pt x="253237" y="304282"/>
                  <a:pt x="253778" y="303007"/>
                  <a:pt x="254817" y="301968"/>
                </a:cubicBezTo>
                <a:cubicBezTo>
                  <a:pt x="255856" y="300929"/>
                  <a:pt x="257131" y="300388"/>
                  <a:pt x="258642" y="300344"/>
                </a:cubicBezTo>
                <a:lnTo>
                  <a:pt x="272682" y="300344"/>
                </a:lnTo>
                <a:lnTo>
                  <a:pt x="272682" y="275408"/>
                </a:lnTo>
                <a:cubicBezTo>
                  <a:pt x="272725" y="273897"/>
                  <a:pt x="273267" y="272622"/>
                  <a:pt x="274306" y="271583"/>
                </a:cubicBezTo>
                <a:cubicBezTo>
                  <a:pt x="275345" y="270544"/>
                  <a:pt x="276619" y="270003"/>
                  <a:pt x="278130" y="269959"/>
                </a:cubicBezTo>
                <a:close/>
                <a:moveTo>
                  <a:pt x="1018108" y="259901"/>
                </a:moveTo>
                <a:lnTo>
                  <a:pt x="1023347" y="259901"/>
                </a:lnTo>
                <a:cubicBezTo>
                  <a:pt x="1024857" y="259945"/>
                  <a:pt x="1026132" y="260486"/>
                  <a:pt x="1027171" y="261525"/>
                </a:cubicBezTo>
                <a:cubicBezTo>
                  <a:pt x="1028210" y="262564"/>
                  <a:pt x="1028751" y="263839"/>
                  <a:pt x="1028795" y="265349"/>
                </a:cubicBezTo>
                <a:lnTo>
                  <a:pt x="1028795" y="399671"/>
                </a:lnTo>
                <a:cubicBezTo>
                  <a:pt x="1028751" y="401181"/>
                  <a:pt x="1028210" y="402456"/>
                  <a:pt x="1027171" y="403495"/>
                </a:cubicBezTo>
                <a:cubicBezTo>
                  <a:pt x="1026132" y="404534"/>
                  <a:pt x="1024857" y="405076"/>
                  <a:pt x="1023347" y="405119"/>
                </a:cubicBezTo>
                <a:lnTo>
                  <a:pt x="1018108" y="405119"/>
                </a:lnTo>
                <a:cubicBezTo>
                  <a:pt x="1016597" y="405076"/>
                  <a:pt x="1015323" y="404534"/>
                  <a:pt x="1014284" y="403495"/>
                </a:cubicBezTo>
                <a:cubicBezTo>
                  <a:pt x="1013245" y="402456"/>
                  <a:pt x="1012703" y="401181"/>
                  <a:pt x="1012660" y="399671"/>
                </a:cubicBezTo>
                <a:lnTo>
                  <a:pt x="1012660" y="396947"/>
                </a:lnTo>
                <a:cubicBezTo>
                  <a:pt x="1009826" y="400426"/>
                  <a:pt x="1005801" y="403107"/>
                  <a:pt x="1000584" y="404988"/>
                </a:cubicBezTo>
                <a:cubicBezTo>
                  <a:pt x="995367" y="406870"/>
                  <a:pt x="989614" y="407821"/>
                  <a:pt x="983323" y="407843"/>
                </a:cubicBezTo>
                <a:cubicBezTo>
                  <a:pt x="968257" y="407651"/>
                  <a:pt x="956688" y="402744"/>
                  <a:pt x="948616" y="393122"/>
                </a:cubicBezTo>
                <a:cubicBezTo>
                  <a:pt x="940544" y="383501"/>
                  <a:pt x="936467" y="370316"/>
                  <a:pt x="936383" y="353570"/>
                </a:cubicBezTo>
                <a:cubicBezTo>
                  <a:pt x="936493" y="336845"/>
                  <a:pt x="940884" y="323408"/>
                  <a:pt x="949559" y="313258"/>
                </a:cubicBezTo>
                <a:cubicBezTo>
                  <a:pt x="958233" y="303108"/>
                  <a:pt x="970536" y="297895"/>
                  <a:pt x="986466" y="297620"/>
                </a:cubicBezTo>
                <a:cubicBezTo>
                  <a:pt x="992277" y="297672"/>
                  <a:pt x="997419" y="298406"/>
                  <a:pt x="1001894" y="299820"/>
                </a:cubicBezTo>
                <a:cubicBezTo>
                  <a:pt x="1006369" y="301235"/>
                  <a:pt x="1009888" y="303016"/>
                  <a:pt x="1012450" y="305164"/>
                </a:cubicBezTo>
                <a:lnTo>
                  <a:pt x="1012660" y="305164"/>
                </a:lnTo>
                <a:lnTo>
                  <a:pt x="1012660" y="265349"/>
                </a:lnTo>
                <a:cubicBezTo>
                  <a:pt x="1012703" y="263839"/>
                  <a:pt x="1013245" y="262564"/>
                  <a:pt x="1014284" y="261525"/>
                </a:cubicBezTo>
                <a:cubicBezTo>
                  <a:pt x="1015323" y="260486"/>
                  <a:pt x="1016597" y="259945"/>
                  <a:pt x="1018108" y="259901"/>
                </a:cubicBezTo>
                <a:close/>
                <a:moveTo>
                  <a:pt x="22003" y="259901"/>
                </a:moveTo>
                <a:lnTo>
                  <a:pt x="67056" y="259901"/>
                </a:lnTo>
                <a:cubicBezTo>
                  <a:pt x="82274" y="260054"/>
                  <a:pt x="93433" y="263520"/>
                  <a:pt x="100531" y="270300"/>
                </a:cubicBezTo>
                <a:cubicBezTo>
                  <a:pt x="107630" y="277080"/>
                  <a:pt x="111140" y="286256"/>
                  <a:pt x="111061" y="297830"/>
                </a:cubicBezTo>
                <a:cubicBezTo>
                  <a:pt x="110957" y="305404"/>
                  <a:pt x="108861" y="311682"/>
                  <a:pt x="104775" y="316663"/>
                </a:cubicBezTo>
                <a:cubicBezTo>
                  <a:pt x="100689" y="321644"/>
                  <a:pt x="95240" y="325145"/>
                  <a:pt x="88430" y="327167"/>
                </a:cubicBezTo>
                <a:lnTo>
                  <a:pt x="88430" y="327376"/>
                </a:lnTo>
                <a:cubicBezTo>
                  <a:pt x="97214" y="329594"/>
                  <a:pt x="104426" y="333698"/>
                  <a:pt x="110066" y="339687"/>
                </a:cubicBezTo>
                <a:cubicBezTo>
                  <a:pt x="115706" y="345677"/>
                  <a:pt x="118623" y="353448"/>
                  <a:pt x="118815" y="363000"/>
                </a:cubicBezTo>
                <a:cubicBezTo>
                  <a:pt x="118535" y="376214"/>
                  <a:pt x="113803" y="386508"/>
                  <a:pt x="104618" y="393882"/>
                </a:cubicBezTo>
                <a:cubicBezTo>
                  <a:pt x="95432" y="401256"/>
                  <a:pt x="83471" y="405001"/>
                  <a:pt x="68732" y="405119"/>
                </a:cubicBezTo>
                <a:lnTo>
                  <a:pt x="22003" y="405119"/>
                </a:lnTo>
                <a:cubicBezTo>
                  <a:pt x="20492" y="405076"/>
                  <a:pt x="19217" y="404534"/>
                  <a:pt x="18178" y="403495"/>
                </a:cubicBezTo>
                <a:cubicBezTo>
                  <a:pt x="17139" y="402456"/>
                  <a:pt x="16598" y="401181"/>
                  <a:pt x="16554" y="399671"/>
                </a:cubicBezTo>
                <a:lnTo>
                  <a:pt x="16554" y="265349"/>
                </a:lnTo>
                <a:cubicBezTo>
                  <a:pt x="16598" y="263839"/>
                  <a:pt x="17139" y="262564"/>
                  <a:pt x="18178" y="261525"/>
                </a:cubicBezTo>
                <a:cubicBezTo>
                  <a:pt x="19217" y="260486"/>
                  <a:pt x="20492" y="259945"/>
                  <a:pt x="22003" y="259901"/>
                </a:cubicBezTo>
                <a:close/>
                <a:moveTo>
                  <a:pt x="43167" y="82984"/>
                </a:moveTo>
                <a:lnTo>
                  <a:pt x="43167" y="125313"/>
                </a:lnTo>
                <a:lnTo>
                  <a:pt x="61398" y="125313"/>
                </a:lnTo>
                <a:cubicBezTo>
                  <a:pt x="70169" y="125156"/>
                  <a:pt x="76307" y="123008"/>
                  <a:pt x="79812" y="118869"/>
                </a:cubicBezTo>
                <a:cubicBezTo>
                  <a:pt x="83318" y="114730"/>
                  <a:pt x="85003" y="109544"/>
                  <a:pt x="84868" y="103310"/>
                </a:cubicBezTo>
                <a:cubicBezTo>
                  <a:pt x="84999" y="97787"/>
                  <a:pt x="83270" y="93064"/>
                  <a:pt x="79681" y="89139"/>
                </a:cubicBezTo>
                <a:cubicBezTo>
                  <a:pt x="76093" y="85214"/>
                  <a:pt x="69859" y="83163"/>
                  <a:pt x="60979" y="82984"/>
                </a:cubicBezTo>
                <a:close/>
                <a:moveTo>
                  <a:pt x="1281322" y="60143"/>
                </a:moveTo>
                <a:cubicBezTo>
                  <a:pt x="1274957" y="60029"/>
                  <a:pt x="1269928" y="62666"/>
                  <a:pt x="1266234" y="68053"/>
                </a:cubicBezTo>
                <a:cubicBezTo>
                  <a:pt x="1262541" y="73440"/>
                  <a:pt x="1260655" y="82259"/>
                  <a:pt x="1260576" y="94509"/>
                </a:cubicBezTo>
                <a:cubicBezTo>
                  <a:pt x="1260524" y="105401"/>
                  <a:pt x="1262148" y="113897"/>
                  <a:pt x="1265448" y="119995"/>
                </a:cubicBezTo>
                <a:cubicBezTo>
                  <a:pt x="1268749" y="126094"/>
                  <a:pt x="1274040" y="129194"/>
                  <a:pt x="1281322" y="129294"/>
                </a:cubicBezTo>
                <a:cubicBezTo>
                  <a:pt x="1288704" y="129194"/>
                  <a:pt x="1294056" y="126094"/>
                  <a:pt x="1297379" y="119995"/>
                </a:cubicBezTo>
                <a:cubicBezTo>
                  <a:pt x="1300701" y="113897"/>
                  <a:pt x="1302334" y="105401"/>
                  <a:pt x="1302277" y="94509"/>
                </a:cubicBezTo>
                <a:cubicBezTo>
                  <a:pt x="1302203" y="82259"/>
                  <a:pt x="1300308" y="73440"/>
                  <a:pt x="1296593" y="68053"/>
                </a:cubicBezTo>
                <a:cubicBezTo>
                  <a:pt x="1292878" y="62666"/>
                  <a:pt x="1287787" y="60029"/>
                  <a:pt x="1281322" y="60143"/>
                </a:cubicBezTo>
                <a:close/>
                <a:moveTo>
                  <a:pt x="947947" y="60143"/>
                </a:moveTo>
                <a:cubicBezTo>
                  <a:pt x="941582" y="60029"/>
                  <a:pt x="936553" y="62666"/>
                  <a:pt x="932859" y="68053"/>
                </a:cubicBezTo>
                <a:cubicBezTo>
                  <a:pt x="929166" y="73440"/>
                  <a:pt x="927280" y="82259"/>
                  <a:pt x="927201" y="94509"/>
                </a:cubicBezTo>
                <a:cubicBezTo>
                  <a:pt x="927149" y="105401"/>
                  <a:pt x="928773" y="113897"/>
                  <a:pt x="932073" y="119995"/>
                </a:cubicBezTo>
                <a:cubicBezTo>
                  <a:pt x="935374" y="126094"/>
                  <a:pt x="940665" y="129194"/>
                  <a:pt x="947947" y="129294"/>
                </a:cubicBezTo>
                <a:cubicBezTo>
                  <a:pt x="955329" y="129194"/>
                  <a:pt x="960681" y="126094"/>
                  <a:pt x="964004" y="119995"/>
                </a:cubicBezTo>
                <a:cubicBezTo>
                  <a:pt x="967326" y="113897"/>
                  <a:pt x="968959" y="105401"/>
                  <a:pt x="968902" y="94509"/>
                </a:cubicBezTo>
                <a:cubicBezTo>
                  <a:pt x="968828" y="82259"/>
                  <a:pt x="966933" y="73440"/>
                  <a:pt x="963218" y="68053"/>
                </a:cubicBezTo>
                <a:cubicBezTo>
                  <a:pt x="959503" y="62666"/>
                  <a:pt x="954412" y="60029"/>
                  <a:pt x="947947" y="60143"/>
                </a:cubicBezTo>
                <a:close/>
                <a:moveTo>
                  <a:pt x="1916773" y="59724"/>
                </a:moveTo>
                <a:cubicBezTo>
                  <a:pt x="1911613" y="59658"/>
                  <a:pt x="1907317" y="61518"/>
                  <a:pt x="1903885" y="65303"/>
                </a:cubicBezTo>
                <a:cubicBezTo>
                  <a:pt x="1900454" y="69088"/>
                  <a:pt x="1898673" y="75191"/>
                  <a:pt x="1898542" y="83612"/>
                </a:cubicBezTo>
                <a:lnTo>
                  <a:pt x="1935423" y="83612"/>
                </a:lnTo>
                <a:cubicBezTo>
                  <a:pt x="1935602" y="77666"/>
                  <a:pt x="1934405" y="72270"/>
                  <a:pt x="1931834" y="67425"/>
                </a:cubicBezTo>
                <a:cubicBezTo>
                  <a:pt x="1929263" y="62579"/>
                  <a:pt x="1924242" y="60012"/>
                  <a:pt x="1916773" y="59724"/>
                </a:cubicBezTo>
                <a:close/>
                <a:moveTo>
                  <a:pt x="421348" y="59724"/>
                </a:moveTo>
                <a:cubicBezTo>
                  <a:pt x="416188" y="59658"/>
                  <a:pt x="411892" y="61518"/>
                  <a:pt x="408460" y="65303"/>
                </a:cubicBezTo>
                <a:cubicBezTo>
                  <a:pt x="405029" y="69088"/>
                  <a:pt x="403248" y="75191"/>
                  <a:pt x="403117" y="83612"/>
                </a:cubicBezTo>
                <a:lnTo>
                  <a:pt x="439998" y="83612"/>
                </a:lnTo>
                <a:cubicBezTo>
                  <a:pt x="440177" y="77666"/>
                  <a:pt x="438981" y="72270"/>
                  <a:pt x="436409" y="67425"/>
                </a:cubicBezTo>
                <a:cubicBezTo>
                  <a:pt x="433838" y="62579"/>
                  <a:pt x="428817" y="60012"/>
                  <a:pt x="421348" y="59724"/>
                </a:cubicBezTo>
                <a:close/>
                <a:moveTo>
                  <a:pt x="183223" y="59724"/>
                </a:moveTo>
                <a:cubicBezTo>
                  <a:pt x="178063" y="59658"/>
                  <a:pt x="173767" y="61518"/>
                  <a:pt x="170335" y="65303"/>
                </a:cubicBezTo>
                <a:cubicBezTo>
                  <a:pt x="166904" y="69088"/>
                  <a:pt x="165123" y="75191"/>
                  <a:pt x="164992" y="83612"/>
                </a:cubicBezTo>
                <a:lnTo>
                  <a:pt x="201873" y="83612"/>
                </a:lnTo>
                <a:cubicBezTo>
                  <a:pt x="202052" y="77666"/>
                  <a:pt x="200855" y="72270"/>
                  <a:pt x="198284" y="67425"/>
                </a:cubicBezTo>
                <a:cubicBezTo>
                  <a:pt x="195713" y="62579"/>
                  <a:pt x="190692" y="60012"/>
                  <a:pt x="183223" y="59724"/>
                </a:cubicBezTo>
                <a:close/>
                <a:moveTo>
                  <a:pt x="1583360" y="41493"/>
                </a:moveTo>
                <a:lnTo>
                  <a:pt x="1602009" y="41493"/>
                </a:lnTo>
                <a:cubicBezTo>
                  <a:pt x="1603839" y="41541"/>
                  <a:pt x="1605367" y="42178"/>
                  <a:pt x="1606593" y="43405"/>
                </a:cubicBezTo>
                <a:cubicBezTo>
                  <a:pt x="1607820" y="44632"/>
                  <a:pt x="1608458" y="46160"/>
                  <a:pt x="1608506" y="47989"/>
                </a:cubicBezTo>
                <a:lnTo>
                  <a:pt x="1608506" y="115673"/>
                </a:lnTo>
                <a:cubicBezTo>
                  <a:pt x="1608370" y="119908"/>
                  <a:pt x="1609479" y="123226"/>
                  <a:pt x="1611832" y="125627"/>
                </a:cubicBezTo>
                <a:cubicBezTo>
                  <a:pt x="1614185" y="128028"/>
                  <a:pt x="1618595" y="129251"/>
                  <a:pt x="1625060" y="129294"/>
                </a:cubicBezTo>
                <a:cubicBezTo>
                  <a:pt x="1629705" y="129251"/>
                  <a:pt x="1633302" y="128709"/>
                  <a:pt x="1635852" y="127670"/>
                </a:cubicBezTo>
                <a:cubicBezTo>
                  <a:pt x="1638401" y="126631"/>
                  <a:pt x="1639694" y="125356"/>
                  <a:pt x="1639729" y="123846"/>
                </a:cubicBezTo>
                <a:lnTo>
                  <a:pt x="1639729" y="47989"/>
                </a:lnTo>
                <a:cubicBezTo>
                  <a:pt x="1639790" y="46160"/>
                  <a:pt x="1640453" y="44632"/>
                  <a:pt x="1641719" y="43405"/>
                </a:cubicBezTo>
                <a:cubicBezTo>
                  <a:pt x="1642985" y="42178"/>
                  <a:pt x="1644487" y="41541"/>
                  <a:pt x="1646225" y="41493"/>
                </a:cubicBezTo>
                <a:lnTo>
                  <a:pt x="1664875" y="41493"/>
                </a:lnTo>
                <a:cubicBezTo>
                  <a:pt x="1666704" y="41541"/>
                  <a:pt x="1668232" y="42178"/>
                  <a:pt x="1669458" y="43405"/>
                </a:cubicBezTo>
                <a:cubicBezTo>
                  <a:pt x="1670685" y="44632"/>
                  <a:pt x="1671323" y="46160"/>
                  <a:pt x="1671371" y="47989"/>
                </a:cubicBezTo>
                <a:lnTo>
                  <a:pt x="1671371" y="141448"/>
                </a:lnTo>
                <a:cubicBezTo>
                  <a:pt x="1671323" y="143277"/>
                  <a:pt x="1670685" y="144805"/>
                  <a:pt x="1669458" y="146032"/>
                </a:cubicBezTo>
                <a:cubicBezTo>
                  <a:pt x="1668232" y="147259"/>
                  <a:pt x="1666704" y="147896"/>
                  <a:pt x="1664875" y="147944"/>
                </a:cubicBezTo>
                <a:lnTo>
                  <a:pt x="1648111" y="147944"/>
                </a:lnTo>
                <a:cubicBezTo>
                  <a:pt x="1646373" y="147896"/>
                  <a:pt x="1644871" y="147259"/>
                  <a:pt x="1643605" y="146032"/>
                </a:cubicBezTo>
                <a:cubicBezTo>
                  <a:pt x="1642339" y="144805"/>
                  <a:pt x="1641675" y="143277"/>
                  <a:pt x="1641615" y="141448"/>
                </a:cubicBezTo>
                <a:lnTo>
                  <a:pt x="1641615" y="139772"/>
                </a:lnTo>
                <a:cubicBezTo>
                  <a:pt x="1638646" y="142967"/>
                  <a:pt x="1634944" y="145534"/>
                  <a:pt x="1630508" y="147473"/>
                </a:cubicBezTo>
                <a:cubicBezTo>
                  <a:pt x="1626073" y="149411"/>
                  <a:pt x="1620485" y="150406"/>
                  <a:pt x="1613744" y="150459"/>
                </a:cubicBezTo>
                <a:cubicBezTo>
                  <a:pt x="1602398" y="150385"/>
                  <a:pt x="1593449" y="147180"/>
                  <a:pt x="1586896" y="140846"/>
                </a:cubicBezTo>
                <a:cubicBezTo>
                  <a:pt x="1580343" y="134511"/>
                  <a:pt x="1576999" y="125492"/>
                  <a:pt x="1576863" y="113787"/>
                </a:cubicBezTo>
                <a:lnTo>
                  <a:pt x="1576863" y="47989"/>
                </a:lnTo>
                <a:cubicBezTo>
                  <a:pt x="1576925" y="46160"/>
                  <a:pt x="1577588" y="44632"/>
                  <a:pt x="1578854" y="43405"/>
                </a:cubicBezTo>
                <a:cubicBezTo>
                  <a:pt x="1580120" y="42178"/>
                  <a:pt x="1581622" y="41541"/>
                  <a:pt x="1583360" y="41493"/>
                </a:cubicBezTo>
                <a:close/>
                <a:moveTo>
                  <a:pt x="573710" y="41493"/>
                </a:moveTo>
                <a:lnTo>
                  <a:pt x="592360" y="41493"/>
                </a:lnTo>
                <a:cubicBezTo>
                  <a:pt x="594097" y="41541"/>
                  <a:pt x="595599" y="42178"/>
                  <a:pt x="596865" y="43405"/>
                </a:cubicBezTo>
                <a:cubicBezTo>
                  <a:pt x="598131" y="44632"/>
                  <a:pt x="598795" y="46160"/>
                  <a:pt x="598856" y="47989"/>
                </a:cubicBezTo>
                <a:lnTo>
                  <a:pt x="598856" y="141448"/>
                </a:lnTo>
                <a:cubicBezTo>
                  <a:pt x="598795" y="143277"/>
                  <a:pt x="598131" y="144805"/>
                  <a:pt x="596865" y="146032"/>
                </a:cubicBezTo>
                <a:cubicBezTo>
                  <a:pt x="595599" y="147259"/>
                  <a:pt x="594097" y="147896"/>
                  <a:pt x="592360" y="147944"/>
                </a:cubicBezTo>
                <a:lnTo>
                  <a:pt x="573710" y="147944"/>
                </a:lnTo>
                <a:cubicBezTo>
                  <a:pt x="571880" y="147896"/>
                  <a:pt x="570353" y="147259"/>
                  <a:pt x="569126" y="146032"/>
                </a:cubicBezTo>
                <a:cubicBezTo>
                  <a:pt x="567899" y="144805"/>
                  <a:pt x="567262" y="143277"/>
                  <a:pt x="567214" y="141448"/>
                </a:cubicBezTo>
                <a:lnTo>
                  <a:pt x="567214" y="47989"/>
                </a:lnTo>
                <a:cubicBezTo>
                  <a:pt x="567262" y="46160"/>
                  <a:pt x="567899" y="44632"/>
                  <a:pt x="569126" y="43405"/>
                </a:cubicBezTo>
                <a:cubicBezTo>
                  <a:pt x="570353" y="42178"/>
                  <a:pt x="571880" y="41541"/>
                  <a:pt x="573710" y="41493"/>
                </a:cubicBezTo>
                <a:close/>
                <a:moveTo>
                  <a:pt x="2094605" y="38978"/>
                </a:moveTo>
                <a:cubicBezTo>
                  <a:pt x="2105531" y="39030"/>
                  <a:pt x="2114167" y="40602"/>
                  <a:pt x="2120510" y="43693"/>
                </a:cubicBezTo>
                <a:cubicBezTo>
                  <a:pt x="2126853" y="46784"/>
                  <a:pt x="2130093" y="51080"/>
                  <a:pt x="2130228" y="56580"/>
                </a:cubicBezTo>
                <a:cubicBezTo>
                  <a:pt x="2130193" y="60012"/>
                  <a:pt x="2129163" y="62841"/>
                  <a:pt x="2127137" y="65067"/>
                </a:cubicBezTo>
                <a:cubicBezTo>
                  <a:pt x="2125111" y="67294"/>
                  <a:pt x="2122300" y="68446"/>
                  <a:pt x="2118703" y="68525"/>
                </a:cubicBezTo>
                <a:cubicBezTo>
                  <a:pt x="2115222" y="68413"/>
                  <a:pt x="2112381" y="67635"/>
                  <a:pt x="2110181" y="66189"/>
                </a:cubicBezTo>
                <a:cubicBezTo>
                  <a:pt x="2107981" y="64742"/>
                  <a:pt x="2105513" y="63296"/>
                  <a:pt x="2102777" y="61850"/>
                </a:cubicBezTo>
                <a:cubicBezTo>
                  <a:pt x="2100041" y="60404"/>
                  <a:pt x="2096129" y="59625"/>
                  <a:pt x="2091042" y="59514"/>
                </a:cubicBezTo>
                <a:cubicBezTo>
                  <a:pt x="2086449" y="59575"/>
                  <a:pt x="2083062" y="60448"/>
                  <a:pt x="2080879" y="62133"/>
                </a:cubicBezTo>
                <a:cubicBezTo>
                  <a:pt x="2078696" y="63819"/>
                  <a:pt x="2077613" y="65949"/>
                  <a:pt x="2077631" y="68525"/>
                </a:cubicBezTo>
                <a:cubicBezTo>
                  <a:pt x="2077543" y="71310"/>
                  <a:pt x="2078923" y="73598"/>
                  <a:pt x="2081770" y="75387"/>
                </a:cubicBezTo>
                <a:cubicBezTo>
                  <a:pt x="2084616" y="77177"/>
                  <a:pt x="2089453" y="78732"/>
                  <a:pt x="2096281" y="80050"/>
                </a:cubicBezTo>
                <a:cubicBezTo>
                  <a:pt x="2109365" y="82517"/>
                  <a:pt x="2119135" y="86280"/>
                  <a:pt x="2125592" y="91339"/>
                </a:cubicBezTo>
                <a:cubicBezTo>
                  <a:pt x="2132049" y="96399"/>
                  <a:pt x="2135270" y="103672"/>
                  <a:pt x="2135257" y="113159"/>
                </a:cubicBezTo>
                <a:cubicBezTo>
                  <a:pt x="2135065" y="124431"/>
                  <a:pt x="2130891" y="133424"/>
                  <a:pt x="2122737" y="140138"/>
                </a:cubicBezTo>
                <a:cubicBezTo>
                  <a:pt x="2114581" y="146853"/>
                  <a:pt x="2103597" y="150293"/>
                  <a:pt x="2089785" y="150459"/>
                </a:cubicBezTo>
                <a:cubicBezTo>
                  <a:pt x="2077286" y="150393"/>
                  <a:pt x="2067131" y="148481"/>
                  <a:pt x="2059321" y="144722"/>
                </a:cubicBezTo>
                <a:cubicBezTo>
                  <a:pt x="2051511" y="140963"/>
                  <a:pt x="2047486" y="135751"/>
                  <a:pt x="2047246" y="129085"/>
                </a:cubicBezTo>
                <a:cubicBezTo>
                  <a:pt x="2047316" y="125854"/>
                  <a:pt x="2048486" y="123147"/>
                  <a:pt x="2050756" y="120965"/>
                </a:cubicBezTo>
                <a:cubicBezTo>
                  <a:pt x="2053026" y="118782"/>
                  <a:pt x="2055977" y="117647"/>
                  <a:pt x="2059610" y="117559"/>
                </a:cubicBezTo>
                <a:cubicBezTo>
                  <a:pt x="2063080" y="117712"/>
                  <a:pt x="2066244" y="118780"/>
                  <a:pt x="2069101" y="120765"/>
                </a:cubicBezTo>
                <a:cubicBezTo>
                  <a:pt x="2071959" y="122749"/>
                  <a:pt x="2075061" y="124733"/>
                  <a:pt x="2078407" y="126717"/>
                </a:cubicBezTo>
                <a:cubicBezTo>
                  <a:pt x="2081753" y="128702"/>
                  <a:pt x="2085895" y="129770"/>
                  <a:pt x="2090833" y="129923"/>
                </a:cubicBezTo>
                <a:cubicBezTo>
                  <a:pt x="2094975" y="129918"/>
                  <a:pt x="2098267" y="128984"/>
                  <a:pt x="2100708" y="127120"/>
                </a:cubicBezTo>
                <a:cubicBezTo>
                  <a:pt x="2103148" y="125256"/>
                  <a:pt x="2104397" y="122488"/>
                  <a:pt x="2104453" y="118817"/>
                </a:cubicBezTo>
                <a:cubicBezTo>
                  <a:pt x="2104571" y="114988"/>
                  <a:pt x="2103078" y="111958"/>
                  <a:pt x="2099974" y="109727"/>
                </a:cubicBezTo>
                <a:cubicBezTo>
                  <a:pt x="2096870" y="107497"/>
                  <a:pt x="2091448" y="105777"/>
                  <a:pt x="2083708" y="104567"/>
                </a:cubicBezTo>
                <a:cubicBezTo>
                  <a:pt x="2071563" y="102577"/>
                  <a:pt x="2062482" y="98857"/>
                  <a:pt x="2056466" y="93409"/>
                </a:cubicBezTo>
                <a:cubicBezTo>
                  <a:pt x="2050451" y="87960"/>
                  <a:pt x="2047447" y="80783"/>
                  <a:pt x="2047456" y="71877"/>
                </a:cubicBezTo>
                <a:cubicBezTo>
                  <a:pt x="2047429" y="61981"/>
                  <a:pt x="2051306" y="54062"/>
                  <a:pt x="2059086" y="48120"/>
                </a:cubicBezTo>
                <a:cubicBezTo>
                  <a:pt x="2066865" y="42178"/>
                  <a:pt x="2078705" y="39131"/>
                  <a:pt x="2094605" y="38978"/>
                </a:cubicBezTo>
                <a:close/>
                <a:moveTo>
                  <a:pt x="2028463" y="38978"/>
                </a:moveTo>
                <a:cubicBezTo>
                  <a:pt x="2033527" y="39035"/>
                  <a:pt x="2037439" y="40336"/>
                  <a:pt x="2040198" y="42881"/>
                </a:cubicBezTo>
                <a:cubicBezTo>
                  <a:pt x="2042957" y="45426"/>
                  <a:pt x="2044354" y="48875"/>
                  <a:pt x="2044389" y="53228"/>
                </a:cubicBezTo>
                <a:cubicBezTo>
                  <a:pt x="2044345" y="57790"/>
                  <a:pt x="2043070" y="61396"/>
                  <a:pt x="2040564" y="64046"/>
                </a:cubicBezTo>
                <a:cubicBezTo>
                  <a:pt x="2038059" y="66695"/>
                  <a:pt x="2034583" y="68049"/>
                  <a:pt x="2030139" y="68106"/>
                </a:cubicBezTo>
                <a:cubicBezTo>
                  <a:pt x="2026433" y="67896"/>
                  <a:pt x="2023316" y="67058"/>
                  <a:pt x="2020788" y="65591"/>
                </a:cubicBezTo>
                <a:cubicBezTo>
                  <a:pt x="2018260" y="64124"/>
                  <a:pt x="2015929" y="63286"/>
                  <a:pt x="2013794" y="63076"/>
                </a:cubicBezTo>
                <a:cubicBezTo>
                  <a:pt x="2012109" y="63094"/>
                  <a:pt x="2010817" y="63583"/>
                  <a:pt x="2009918" y="64543"/>
                </a:cubicBezTo>
                <a:cubicBezTo>
                  <a:pt x="2009018" y="65504"/>
                  <a:pt x="2008564" y="66831"/>
                  <a:pt x="2008556" y="68525"/>
                </a:cubicBezTo>
                <a:lnTo>
                  <a:pt x="2008556" y="141448"/>
                </a:lnTo>
                <a:cubicBezTo>
                  <a:pt x="2008494" y="143277"/>
                  <a:pt x="2007831" y="144805"/>
                  <a:pt x="2006565" y="146032"/>
                </a:cubicBezTo>
                <a:cubicBezTo>
                  <a:pt x="2005299" y="147259"/>
                  <a:pt x="2003797" y="147896"/>
                  <a:pt x="2002059" y="147944"/>
                </a:cubicBezTo>
                <a:lnTo>
                  <a:pt x="1983410" y="147944"/>
                </a:lnTo>
                <a:cubicBezTo>
                  <a:pt x="1981580" y="147896"/>
                  <a:pt x="1980052" y="147259"/>
                  <a:pt x="1978826" y="146032"/>
                </a:cubicBezTo>
                <a:cubicBezTo>
                  <a:pt x="1977599" y="144805"/>
                  <a:pt x="1976962" y="143277"/>
                  <a:pt x="1976913" y="141448"/>
                </a:cubicBezTo>
                <a:lnTo>
                  <a:pt x="1976913" y="47989"/>
                </a:lnTo>
                <a:cubicBezTo>
                  <a:pt x="1976962" y="46160"/>
                  <a:pt x="1977599" y="44632"/>
                  <a:pt x="1978826" y="43405"/>
                </a:cubicBezTo>
                <a:cubicBezTo>
                  <a:pt x="1980052" y="42178"/>
                  <a:pt x="1981580" y="41541"/>
                  <a:pt x="1983410" y="41493"/>
                </a:cubicBezTo>
                <a:lnTo>
                  <a:pt x="2000174" y="41493"/>
                </a:lnTo>
                <a:cubicBezTo>
                  <a:pt x="2001911" y="41541"/>
                  <a:pt x="2003413" y="42178"/>
                  <a:pt x="2004679" y="43405"/>
                </a:cubicBezTo>
                <a:cubicBezTo>
                  <a:pt x="2005945" y="44632"/>
                  <a:pt x="2006609" y="46160"/>
                  <a:pt x="2006670" y="47989"/>
                </a:cubicBezTo>
                <a:lnTo>
                  <a:pt x="2006670" y="50503"/>
                </a:lnTo>
                <a:cubicBezTo>
                  <a:pt x="2009359" y="47273"/>
                  <a:pt x="2012624" y="44566"/>
                  <a:pt x="2016466" y="42383"/>
                </a:cubicBezTo>
                <a:cubicBezTo>
                  <a:pt x="2020308" y="40201"/>
                  <a:pt x="2024307" y="39066"/>
                  <a:pt x="2028463" y="38978"/>
                </a:cubicBezTo>
                <a:close/>
                <a:moveTo>
                  <a:pt x="1917611" y="38978"/>
                </a:moveTo>
                <a:cubicBezTo>
                  <a:pt x="1932847" y="39206"/>
                  <a:pt x="1944757" y="44200"/>
                  <a:pt x="1953339" y="53961"/>
                </a:cubicBezTo>
                <a:cubicBezTo>
                  <a:pt x="1961922" y="63722"/>
                  <a:pt x="1966288" y="76889"/>
                  <a:pt x="1966436" y="93461"/>
                </a:cubicBezTo>
                <a:cubicBezTo>
                  <a:pt x="1966515" y="96177"/>
                  <a:pt x="1966043" y="98185"/>
                  <a:pt x="1965021" y="99486"/>
                </a:cubicBezTo>
                <a:cubicBezTo>
                  <a:pt x="1964000" y="100787"/>
                  <a:pt x="1961957" y="101433"/>
                  <a:pt x="1958892" y="101424"/>
                </a:cubicBezTo>
                <a:lnTo>
                  <a:pt x="1898751" y="101424"/>
                </a:lnTo>
                <a:cubicBezTo>
                  <a:pt x="1898891" y="110644"/>
                  <a:pt x="1901179" y="117559"/>
                  <a:pt x="1905614" y="122169"/>
                </a:cubicBezTo>
                <a:cubicBezTo>
                  <a:pt x="1910050" y="126780"/>
                  <a:pt x="1915795" y="129085"/>
                  <a:pt x="1922850" y="129085"/>
                </a:cubicBezTo>
                <a:cubicBezTo>
                  <a:pt x="1927713" y="128966"/>
                  <a:pt x="1931723" y="128133"/>
                  <a:pt x="1934879" y="126586"/>
                </a:cubicBezTo>
                <a:cubicBezTo>
                  <a:pt x="1938035" y="125038"/>
                  <a:pt x="1940912" y="123491"/>
                  <a:pt x="1943510" y="121944"/>
                </a:cubicBezTo>
                <a:cubicBezTo>
                  <a:pt x="1946107" y="120397"/>
                  <a:pt x="1948999" y="119564"/>
                  <a:pt x="1952187" y="119445"/>
                </a:cubicBezTo>
                <a:cubicBezTo>
                  <a:pt x="1955574" y="119524"/>
                  <a:pt x="1958229" y="120624"/>
                  <a:pt x="1960149" y="122746"/>
                </a:cubicBezTo>
                <a:cubicBezTo>
                  <a:pt x="1962071" y="124867"/>
                  <a:pt x="1963048" y="127539"/>
                  <a:pt x="1963083" y="130761"/>
                </a:cubicBezTo>
                <a:cubicBezTo>
                  <a:pt x="1962970" y="136441"/>
                  <a:pt x="1959373" y="141112"/>
                  <a:pt x="1952291" y="144775"/>
                </a:cubicBezTo>
                <a:cubicBezTo>
                  <a:pt x="1945210" y="148437"/>
                  <a:pt x="1935327" y="150332"/>
                  <a:pt x="1922640" y="150459"/>
                </a:cubicBezTo>
                <a:cubicBezTo>
                  <a:pt x="1904741" y="150354"/>
                  <a:pt x="1891033" y="145534"/>
                  <a:pt x="1881516" y="136000"/>
                </a:cubicBezTo>
                <a:cubicBezTo>
                  <a:pt x="1871999" y="126465"/>
                  <a:pt x="1867197" y="112845"/>
                  <a:pt x="1867109" y="95138"/>
                </a:cubicBezTo>
                <a:cubicBezTo>
                  <a:pt x="1867341" y="77396"/>
                  <a:pt x="1872012" y="63635"/>
                  <a:pt x="1881123" y="53856"/>
                </a:cubicBezTo>
                <a:cubicBezTo>
                  <a:pt x="1890234" y="44077"/>
                  <a:pt x="1902397" y="39118"/>
                  <a:pt x="1917611" y="38978"/>
                </a:cubicBezTo>
                <a:close/>
                <a:moveTo>
                  <a:pt x="1747742" y="38978"/>
                </a:moveTo>
                <a:cubicBezTo>
                  <a:pt x="1754037" y="38987"/>
                  <a:pt x="1759521" y="40017"/>
                  <a:pt x="1764192" y="42069"/>
                </a:cubicBezTo>
                <a:cubicBezTo>
                  <a:pt x="1768863" y="44121"/>
                  <a:pt x="1772670" y="47142"/>
                  <a:pt x="1775612" y="51132"/>
                </a:cubicBezTo>
                <a:lnTo>
                  <a:pt x="1776241" y="51132"/>
                </a:lnTo>
                <a:cubicBezTo>
                  <a:pt x="1779406" y="47509"/>
                  <a:pt x="1783396" y="44592"/>
                  <a:pt x="1788211" y="42383"/>
                </a:cubicBezTo>
                <a:cubicBezTo>
                  <a:pt x="1793027" y="40174"/>
                  <a:pt x="1799165" y="39040"/>
                  <a:pt x="1806625" y="38978"/>
                </a:cubicBezTo>
                <a:cubicBezTo>
                  <a:pt x="1818286" y="39053"/>
                  <a:pt x="1827131" y="42257"/>
                  <a:pt x="1833160" y="48591"/>
                </a:cubicBezTo>
                <a:cubicBezTo>
                  <a:pt x="1839189" y="54926"/>
                  <a:pt x="1842219" y="63945"/>
                  <a:pt x="1842249" y="75649"/>
                </a:cubicBezTo>
                <a:lnTo>
                  <a:pt x="1842249" y="141448"/>
                </a:lnTo>
                <a:cubicBezTo>
                  <a:pt x="1842188" y="143277"/>
                  <a:pt x="1841524" y="144805"/>
                  <a:pt x="1840258" y="146032"/>
                </a:cubicBezTo>
                <a:cubicBezTo>
                  <a:pt x="1838992" y="147259"/>
                  <a:pt x="1837491" y="147896"/>
                  <a:pt x="1835753" y="147944"/>
                </a:cubicBezTo>
                <a:lnTo>
                  <a:pt x="1817103" y="147944"/>
                </a:lnTo>
                <a:cubicBezTo>
                  <a:pt x="1815274" y="147896"/>
                  <a:pt x="1813746" y="147259"/>
                  <a:pt x="1812519" y="146032"/>
                </a:cubicBezTo>
                <a:cubicBezTo>
                  <a:pt x="1811293" y="144805"/>
                  <a:pt x="1810655" y="143277"/>
                  <a:pt x="1810607" y="141448"/>
                </a:cubicBezTo>
                <a:lnTo>
                  <a:pt x="1810607" y="73763"/>
                </a:lnTo>
                <a:cubicBezTo>
                  <a:pt x="1810830" y="69529"/>
                  <a:pt x="1810070" y="66211"/>
                  <a:pt x="1808328" y="63810"/>
                </a:cubicBezTo>
                <a:cubicBezTo>
                  <a:pt x="1806586" y="61409"/>
                  <a:pt x="1802526" y="60186"/>
                  <a:pt x="1796148" y="60143"/>
                </a:cubicBezTo>
                <a:cubicBezTo>
                  <a:pt x="1791547" y="60186"/>
                  <a:pt x="1788124" y="60728"/>
                  <a:pt x="1785880" y="61767"/>
                </a:cubicBezTo>
                <a:cubicBezTo>
                  <a:pt x="1783636" y="62806"/>
                  <a:pt x="1782519" y="64080"/>
                  <a:pt x="1782527" y="65591"/>
                </a:cubicBezTo>
                <a:lnTo>
                  <a:pt x="1782527" y="141448"/>
                </a:lnTo>
                <a:cubicBezTo>
                  <a:pt x="1782466" y="143277"/>
                  <a:pt x="1781803" y="144805"/>
                  <a:pt x="1780537" y="146032"/>
                </a:cubicBezTo>
                <a:cubicBezTo>
                  <a:pt x="1779271" y="147259"/>
                  <a:pt x="1777769" y="147896"/>
                  <a:pt x="1776031" y="147944"/>
                </a:cubicBezTo>
                <a:lnTo>
                  <a:pt x="1757381" y="147944"/>
                </a:lnTo>
                <a:cubicBezTo>
                  <a:pt x="1755552" y="147896"/>
                  <a:pt x="1754024" y="147259"/>
                  <a:pt x="1752797" y="146032"/>
                </a:cubicBezTo>
                <a:cubicBezTo>
                  <a:pt x="1751571" y="144805"/>
                  <a:pt x="1750933" y="143277"/>
                  <a:pt x="1750885" y="141448"/>
                </a:cubicBezTo>
                <a:lnTo>
                  <a:pt x="1750885" y="73763"/>
                </a:lnTo>
                <a:cubicBezTo>
                  <a:pt x="1751108" y="69529"/>
                  <a:pt x="1750348" y="66211"/>
                  <a:pt x="1748606" y="63810"/>
                </a:cubicBezTo>
                <a:cubicBezTo>
                  <a:pt x="1746865" y="61409"/>
                  <a:pt x="1742804" y="60186"/>
                  <a:pt x="1736426" y="60143"/>
                </a:cubicBezTo>
                <a:cubicBezTo>
                  <a:pt x="1731825" y="60186"/>
                  <a:pt x="1728402" y="60728"/>
                  <a:pt x="1726158" y="61767"/>
                </a:cubicBezTo>
                <a:cubicBezTo>
                  <a:pt x="1723914" y="62806"/>
                  <a:pt x="1722797" y="64080"/>
                  <a:pt x="1722805" y="65591"/>
                </a:cubicBezTo>
                <a:lnTo>
                  <a:pt x="1722805" y="141448"/>
                </a:lnTo>
                <a:cubicBezTo>
                  <a:pt x="1722745" y="143277"/>
                  <a:pt x="1722081" y="144805"/>
                  <a:pt x="1720815" y="146032"/>
                </a:cubicBezTo>
                <a:cubicBezTo>
                  <a:pt x="1719549" y="147259"/>
                  <a:pt x="1718047" y="147896"/>
                  <a:pt x="1716309" y="147944"/>
                </a:cubicBezTo>
                <a:lnTo>
                  <a:pt x="1697660" y="147944"/>
                </a:lnTo>
                <a:cubicBezTo>
                  <a:pt x="1695831" y="147896"/>
                  <a:pt x="1694302" y="147259"/>
                  <a:pt x="1693076" y="146032"/>
                </a:cubicBezTo>
                <a:cubicBezTo>
                  <a:pt x="1691849" y="144805"/>
                  <a:pt x="1691212" y="143277"/>
                  <a:pt x="1691163" y="141448"/>
                </a:cubicBezTo>
                <a:lnTo>
                  <a:pt x="1691163" y="47989"/>
                </a:lnTo>
                <a:cubicBezTo>
                  <a:pt x="1691212" y="46160"/>
                  <a:pt x="1691849" y="44632"/>
                  <a:pt x="1693076" y="43405"/>
                </a:cubicBezTo>
                <a:cubicBezTo>
                  <a:pt x="1694302" y="42178"/>
                  <a:pt x="1695831" y="41541"/>
                  <a:pt x="1697660" y="41493"/>
                </a:cubicBezTo>
                <a:lnTo>
                  <a:pt x="1714424" y="41493"/>
                </a:lnTo>
                <a:cubicBezTo>
                  <a:pt x="1716161" y="41541"/>
                  <a:pt x="1717663" y="42178"/>
                  <a:pt x="1718929" y="43405"/>
                </a:cubicBezTo>
                <a:cubicBezTo>
                  <a:pt x="1720195" y="44632"/>
                  <a:pt x="1720859" y="46160"/>
                  <a:pt x="1720919" y="47989"/>
                </a:cubicBezTo>
                <a:lnTo>
                  <a:pt x="1720919" y="49665"/>
                </a:lnTo>
                <a:cubicBezTo>
                  <a:pt x="1723295" y="46653"/>
                  <a:pt x="1726508" y="44138"/>
                  <a:pt x="1730559" y="42121"/>
                </a:cubicBezTo>
                <a:cubicBezTo>
                  <a:pt x="1734610" y="40105"/>
                  <a:pt x="1740338" y="39057"/>
                  <a:pt x="1747742" y="38978"/>
                </a:cubicBezTo>
                <a:close/>
                <a:moveTo>
                  <a:pt x="1523104" y="38978"/>
                </a:moveTo>
                <a:cubicBezTo>
                  <a:pt x="1534032" y="39030"/>
                  <a:pt x="1542667" y="40602"/>
                  <a:pt x="1549010" y="43693"/>
                </a:cubicBezTo>
                <a:cubicBezTo>
                  <a:pt x="1555353" y="46784"/>
                  <a:pt x="1558593" y="51080"/>
                  <a:pt x="1558728" y="56580"/>
                </a:cubicBezTo>
                <a:cubicBezTo>
                  <a:pt x="1558693" y="60012"/>
                  <a:pt x="1557663" y="62841"/>
                  <a:pt x="1555637" y="65067"/>
                </a:cubicBezTo>
                <a:cubicBezTo>
                  <a:pt x="1553611" y="67294"/>
                  <a:pt x="1550800" y="68446"/>
                  <a:pt x="1547203" y="68525"/>
                </a:cubicBezTo>
                <a:cubicBezTo>
                  <a:pt x="1543722" y="68413"/>
                  <a:pt x="1540881" y="67635"/>
                  <a:pt x="1538681" y="66189"/>
                </a:cubicBezTo>
                <a:cubicBezTo>
                  <a:pt x="1536481" y="64742"/>
                  <a:pt x="1534013" y="63296"/>
                  <a:pt x="1531277" y="61850"/>
                </a:cubicBezTo>
                <a:cubicBezTo>
                  <a:pt x="1528541" y="60404"/>
                  <a:pt x="1524629" y="59625"/>
                  <a:pt x="1519542" y="59514"/>
                </a:cubicBezTo>
                <a:cubicBezTo>
                  <a:pt x="1514949" y="59575"/>
                  <a:pt x="1511562" y="60448"/>
                  <a:pt x="1509379" y="62133"/>
                </a:cubicBezTo>
                <a:cubicBezTo>
                  <a:pt x="1507196" y="63819"/>
                  <a:pt x="1506113" y="65949"/>
                  <a:pt x="1506131" y="68525"/>
                </a:cubicBezTo>
                <a:cubicBezTo>
                  <a:pt x="1506044" y="71310"/>
                  <a:pt x="1507423" y="73598"/>
                  <a:pt x="1510269" y="75387"/>
                </a:cubicBezTo>
                <a:cubicBezTo>
                  <a:pt x="1513116" y="77177"/>
                  <a:pt x="1517953" y="78732"/>
                  <a:pt x="1524781" y="80050"/>
                </a:cubicBezTo>
                <a:cubicBezTo>
                  <a:pt x="1537865" y="82517"/>
                  <a:pt x="1547635" y="86280"/>
                  <a:pt x="1554092" y="91339"/>
                </a:cubicBezTo>
                <a:cubicBezTo>
                  <a:pt x="1560548" y="96399"/>
                  <a:pt x="1563770" y="103672"/>
                  <a:pt x="1563757" y="113159"/>
                </a:cubicBezTo>
                <a:cubicBezTo>
                  <a:pt x="1563565" y="124431"/>
                  <a:pt x="1559391" y="133424"/>
                  <a:pt x="1551237" y="140138"/>
                </a:cubicBezTo>
                <a:cubicBezTo>
                  <a:pt x="1543081" y="146853"/>
                  <a:pt x="1532098" y="150293"/>
                  <a:pt x="1518285" y="150459"/>
                </a:cubicBezTo>
                <a:cubicBezTo>
                  <a:pt x="1505786" y="150393"/>
                  <a:pt x="1495631" y="148481"/>
                  <a:pt x="1487821" y="144722"/>
                </a:cubicBezTo>
                <a:cubicBezTo>
                  <a:pt x="1480011" y="140963"/>
                  <a:pt x="1475986" y="135751"/>
                  <a:pt x="1475746" y="129085"/>
                </a:cubicBezTo>
                <a:cubicBezTo>
                  <a:pt x="1475816" y="125854"/>
                  <a:pt x="1476986" y="123147"/>
                  <a:pt x="1479256" y="120965"/>
                </a:cubicBezTo>
                <a:cubicBezTo>
                  <a:pt x="1481526" y="118782"/>
                  <a:pt x="1484477" y="117647"/>
                  <a:pt x="1488110" y="117559"/>
                </a:cubicBezTo>
                <a:cubicBezTo>
                  <a:pt x="1491580" y="117712"/>
                  <a:pt x="1494744" y="118780"/>
                  <a:pt x="1497601" y="120765"/>
                </a:cubicBezTo>
                <a:cubicBezTo>
                  <a:pt x="1500459" y="122749"/>
                  <a:pt x="1503561" y="124733"/>
                  <a:pt x="1506907" y="126717"/>
                </a:cubicBezTo>
                <a:cubicBezTo>
                  <a:pt x="1510253" y="128702"/>
                  <a:pt x="1514395" y="129770"/>
                  <a:pt x="1519333" y="129923"/>
                </a:cubicBezTo>
                <a:cubicBezTo>
                  <a:pt x="1523476" y="129918"/>
                  <a:pt x="1526767" y="128984"/>
                  <a:pt x="1529207" y="127120"/>
                </a:cubicBezTo>
                <a:cubicBezTo>
                  <a:pt x="1531648" y="125256"/>
                  <a:pt x="1532897" y="122488"/>
                  <a:pt x="1532953" y="118817"/>
                </a:cubicBezTo>
                <a:cubicBezTo>
                  <a:pt x="1533071" y="114988"/>
                  <a:pt x="1531578" y="111958"/>
                  <a:pt x="1528474" y="109727"/>
                </a:cubicBezTo>
                <a:cubicBezTo>
                  <a:pt x="1525370" y="107497"/>
                  <a:pt x="1519948" y="105777"/>
                  <a:pt x="1512208" y="104567"/>
                </a:cubicBezTo>
                <a:cubicBezTo>
                  <a:pt x="1500063" y="102577"/>
                  <a:pt x="1490982" y="98857"/>
                  <a:pt x="1484966" y="93409"/>
                </a:cubicBezTo>
                <a:cubicBezTo>
                  <a:pt x="1478951" y="87960"/>
                  <a:pt x="1475947" y="80783"/>
                  <a:pt x="1475956" y="71877"/>
                </a:cubicBezTo>
                <a:cubicBezTo>
                  <a:pt x="1475929" y="61981"/>
                  <a:pt x="1479806" y="54062"/>
                  <a:pt x="1487586" y="48120"/>
                </a:cubicBezTo>
                <a:cubicBezTo>
                  <a:pt x="1495365" y="42178"/>
                  <a:pt x="1507205" y="39131"/>
                  <a:pt x="1523104" y="38978"/>
                </a:cubicBezTo>
                <a:close/>
                <a:moveTo>
                  <a:pt x="1415415" y="38978"/>
                </a:moveTo>
                <a:cubicBezTo>
                  <a:pt x="1426761" y="39053"/>
                  <a:pt x="1435711" y="42257"/>
                  <a:pt x="1442263" y="48591"/>
                </a:cubicBezTo>
                <a:cubicBezTo>
                  <a:pt x="1448816" y="54926"/>
                  <a:pt x="1452160" y="63945"/>
                  <a:pt x="1452295" y="75649"/>
                </a:cubicBezTo>
                <a:lnTo>
                  <a:pt x="1452295" y="141448"/>
                </a:lnTo>
                <a:cubicBezTo>
                  <a:pt x="1452235" y="143277"/>
                  <a:pt x="1451571" y="144805"/>
                  <a:pt x="1450305" y="146032"/>
                </a:cubicBezTo>
                <a:cubicBezTo>
                  <a:pt x="1449039" y="147259"/>
                  <a:pt x="1447537" y="147896"/>
                  <a:pt x="1445799" y="147944"/>
                </a:cubicBezTo>
                <a:lnTo>
                  <a:pt x="1427149" y="147944"/>
                </a:lnTo>
                <a:cubicBezTo>
                  <a:pt x="1425320" y="147896"/>
                  <a:pt x="1423792" y="147259"/>
                  <a:pt x="1422566" y="146032"/>
                </a:cubicBezTo>
                <a:cubicBezTo>
                  <a:pt x="1421339" y="144805"/>
                  <a:pt x="1420701" y="143277"/>
                  <a:pt x="1420654" y="141448"/>
                </a:cubicBezTo>
                <a:lnTo>
                  <a:pt x="1420654" y="73763"/>
                </a:lnTo>
                <a:cubicBezTo>
                  <a:pt x="1420789" y="69529"/>
                  <a:pt x="1419680" y="66211"/>
                  <a:pt x="1417327" y="63810"/>
                </a:cubicBezTo>
                <a:cubicBezTo>
                  <a:pt x="1414974" y="61409"/>
                  <a:pt x="1410565" y="60186"/>
                  <a:pt x="1404099" y="60143"/>
                </a:cubicBezTo>
                <a:cubicBezTo>
                  <a:pt x="1399454" y="60186"/>
                  <a:pt x="1395857" y="60728"/>
                  <a:pt x="1393307" y="61767"/>
                </a:cubicBezTo>
                <a:cubicBezTo>
                  <a:pt x="1390758" y="62806"/>
                  <a:pt x="1389465" y="64080"/>
                  <a:pt x="1389431" y="65591"/>
                </a:cubicBezTo>
                <a:lnTo>
                  <a:pt x="1389431" y="141448"/>
                </a:lnTo>
                <a:cubicBezTo>
                  <a:pt x="1389370" y="143277"/>
                  <a:pt x="1388706" y="144805"/>
                  <a:pt x="1387440" y="146032"/>
                </a:cubicBezTo>
                <a:cubicBezTo>
                  <a:pt x="1386174" y="147259"/>
                  <a:pt x="1384672" y="147896"/>
                  <a:pt x="1382935" y="147944"/>
                </a:cubicBezTo>
                <a:lnTo>
                  <a:pt x="1364285" y="147944"/>
                </a:lnTo>
                <a:cubicBezTo>
                  <a:pt x="1362455" y="147896"/>
                  <a:pt x="1360927" y="147259"/>
                  <a:pt x="1359701" y="146032"/>
                </a:cubicBezTo>
                <a:cubicBezTo>
                  <a:pt x="1358474" y="144805"/>
                  <a:pt x="1357837" y="143277"/>
                  <a:pt x="1357789" y="141448"/>
                </a:cubicBezTo>
                <a:lnTo>
                  <a:pt x="1357789" y="47989"/>
                </a:lnTo>
                <a:cubicBezTo>
                  <a:pt x="1357837" y="46160"/>
                  <a:pt x="1358474" y="44632"/>
                  <a:pt x="1359701" y="43405"/>
                </a:cubicBezTo>
                <a:cubicBezTo>
                  <a:pt x="1360927" y="42178"/>
                  <a:pt x="1362455" y="41541"/>
                  <a:pt x="1364285" y="41493"/>
                </a:cubicBezTo>
                <a:lnTo>
                  <a:pt x="1381049" y="41493"/>
                </a:lnTo>
                <a:cubicBezTo>
                  <a:pt x="1382786" y="41541"/>
                  <a:pt x="1384288" y="42178"/>
                  <a:pt x="1385554" y="43405"/>
                </a:cubicBezTo>
                <a:cubicBezTo>
                  <a:pt x="1386820" y="44632"/>
                  <a:pt x="1387483" y="46160"/>
                  <a:pt x="1387545" y="47989"/>
                </a:cubicBezTo>
                <a:lnTo>
                  <a:pt x="1387545" y="49665"/>
                </a:lnTo>
                <a:cubicBezTo>
                  <a:pt x="1390670" y="46378"/>
                  <a:pt x="1394373" y="43785"/>
                  <a:pt x="1398651" y="41886"/>
                </a:cubicBezTo>
                <a:cubicBezTo>
                  <a:pt x="1402929" y="39987"/>
                  <a:pt x="1408517" y="39018"/>
                  <a:pt x="1415415" y="38978"/>
                </a:cubicBezTo>
                <a:close/>
                <a:moveTo>
                  <a:pt x="1281322" y="38978"/>
                </a:moveTo>
                <a:cubicBezTo>
                  <a:pt x="1296990" y="38961"/>
                  <a:pt x="1309607" y="43554"/>
                  <a:pt x="1319172" y="52756"/>
                </a:cubicBezTo>
                <a:cubicBezTo>
                  <a:pt x="1328737" y="61959"/>
                  <a:pt x="1333653" y="75876"/>
                  <a:pt x="1333919" y="94509"/>
                </a:cubicBezTo>
                <a:cubicBezTo>
                  <a:pt x="1333653" y="112884"/>
                  <a:pt x="1328737" y="126793"/>
                  <a:pt x="1319172" y="136236"/>
                </a:cubicBezTo>
                <a:cubicBezTo>
                  <a:pt x="1309607" y="145678"/>
                  <a:pt x="1296990" y="150419"/>
                  <a:pt x="1281322" y="150459"/>
                </a:cubicBezTo>
                <a:cubicBezTo>
                  <a:pt x="1265754" y="150485"/>
                  <a:pt x="1253199" y="145875"/>
                  <a:pt x="1243655" y="136628"/>
                </a:cubicBezTo>
                <a:cubicBezTo>
                  <a:pt x="1234112" y="127382"/>
                  <a:pt x="1229205" y="113342"/>
                  <a:pt x="1228934" y="94509"/>
                </a:cubicBezTo>
                <a:cubicBezTo>
                  <a:pt x="1229205" y="75876"/>
                  <a:pt x="1234112" y="61959"/>
                  <a:pt x="1243655" y="52756"/>
                </a:cubicBezTo>
                <a:cubicBezTo>
                  <a:pt x="1253199" y="43554"/>
                  <a:pt x="1265754" y="38961"/>
                  <a:pt x="1281322" y="38978"/>
                </a:cubicBezTo>
                <a:close/>
                <a:moveTo>
                  <a:pt x="1178852" y="38978"/>
                </a:moveTo>
                <a:cubicBezTo>
                  <a:pt x="1189369" y="39088"/>
                  <a:pt x="1197725" y="40912"/>
                  <a:pt x="1203919" y="44453"/>
                </a:cubicBezTo>
                <a:cubicBezTo>
                  <a:pt x="1210114" y="47993"/>
                  <a:pt x="1213283" y="52595"/>
                  <a:pt x="1213428" y="58257"/>
                </a:cubicBezTo>
                <a:cubicBezTo>
                  <a:pt x="1213393" y="61177"/>
                  <a:pt x="1212467" y="63666"/>
                  <a:pt x="1210651" y="65722"/>
                </a:cubicBezTo>
                <a:cubicBezTo>
                  <a:pt x="1208835" y="67778"/>
                  <a:pt x="1206338" y="68852"/>
                  <a:pt x="1203160" y="68944"/>
                </a:cubicBezTo>
                <a:cubicBezTo>
                  <a:pt x="1199723" y="68838"/>
                  <a:pt x="1196934" y="68095"/>
                  <a:pt x="1194793" y="66716"/>
                </a:cubicBezTo>
                <a:cubicBezTo>
                  <a:pt x="1192652" y="65337"/>
                  <a:pt x="1190407" y="63959"/>
                  <a:pt x="1188057" y="62580"/>
                </a:cubicBezTo>
                <a:cubicBezTo>
                  <a:pt x="1185706" y="61201"/>
                  <a:pt x="1182498" y="60458"/>
                  <a:pt x="1178433" y="60352"/>
                </a:cubicBezTo>
                <a:cubicBezTo>
                  <a:pt x="1171164" y="60413"/>
                  <a:pt x="1165585" y="63434"/>
                  <a:pt x="1161695" y="69415"/>
                </a:cubicBezTo>
                <a:cubicBezTo>
                  <a:pt x="1157805" y="75396"/>
                  <a:pt x="1155841" y="83970"/>
                  <a:pt x="1155801" y="95138"/>
                </a:cubicBezTo>
                <a:cubicBezTo>
                  <a:pt x="1155745" y="105170"/>
                  <a:pt x="1157482" y="113290"/>
                  <a:pt x="1161014" y="119498"/>
                </a:cubicBezTo>
                <a:cubicBezTo>
                  <a:pt x="1164546" y="125706"/>
                  <a:pt x="1170212" y="128901"/>
                  <a:pt x="1178014" y="129085"/>
                </a:cubicBezTo>
                <a:cubicBezTo>
                  <a:pt x="1181914" y="128976"/>
                  <a:pt x="1185173" y="128215"/>
                  <a:pt x="1187793" y="126803"/>
                </a:cubicBezTo>
                <a:cubicBezTo>
                  <a:pt x="1190412" y="125390"/>
                  <a:pt x="1192880" y="123978"/>
                  <a:pt x="1195197" y="122565"/>
                </a:cubicBezTo>
                <a:cubicBezTo>
                  <a:pt x="1197513" y="121153"/>
                  <a:pt x="1200168" y="120392"/>
                  <a:pt x="1203160" y="120284"/>
                </a:cubicBezTo>
                <a:cubicBezTo>
                  <a:pt x="1206547" y="120353"/>
                  <a:pt x="1209202" y="121366"/>
                  <a:pt x="1211123" y="123322"/>
                </a:cubicBezTo>
                <a:cubicBezTo>
                  <a:pt x="1213043" y="125278"/>
                  <a:pt x="1214021" y="127757"/>
                  <a:pt x="1214056" y="130761"/>
                </a:cubicBezTo>
                <a:cubicBezTo>
                  <a:pt x="1213899" y="136441"/>
                  <a:pt x="1210494" y="141112"/>
                  <a:pt x="1203841" y="144775"/>
                </a:cubicBezTo>
                <a:cubicBezTo>
                  <a:pt x="1197187" y="148437"/>
                  <a:pt x="1188229" y="150332"/>
                  <a:pt x="1176966" y="150459"/>
                </a:cubicBezTo>
                <a:cubicBezTo>
                  <a:pt x="1160464" y="150350"/>
                  <a:pt x="1147577" y="145591"/>
                  <a:pt x="1138304" y="136183"/>
                </a:cubicBezTo>
                <a:cubicBezTo>
                  <a:pt x="1129031" y="126775"/>
                  <a:pt x="1124317" y="113373"/>
                  <a:pt x="1124159" y="95976"/>
                </a:cubicBezTo>
                <a:cubicBezTo>
                  <a:pt x="1124434" y="77557"/>
                  <a:pt x="1129542" y="63474"/>
                  <a:pt x="1139483" y="53725"/>
                </a:cubicBezTo>
                <a:cubicBezTo>
                  <a:pt x="1149423" y="43977"/>
                  <a:pt x="1162546" y="39061"/>
                  <a:pt x="1178852" y="38978"/>
                </a:cubicBezTo>
                <a:close/>
                <a:moveTo>
                  <a:pt x="1075963" y="38978"/>
                </a:moveTo>
                <a:cubicBezTo>
                  <a:pt x="1081027" y="39035"/>
                  <a:pt x="1084939" y="40336"/>
                  <a:pt x="1087698" y="42881"/>
                </a:cubicBezTo>
                <a:cubicBezTo>
                  <a:pt x="1090457" y="45426"/>
                  <a:pt x="1091854" y="48875"/>
                  <a:pt x="1091889" y="53228"/>
                </a:cubicBezTo>
                <a:cubicBezTo>
                  <a:pt x="1091845" y="57790"/>
                  <a:pt x="1090570" y="61396"/>
                  <a:pt x="1088064" y="64046"/>
                </a:cubicBezTo>
                <a:cubicBezTo>
                  <a:pt x="1085559" y="66695"/>
                  <a:pt x="1082083" y="68049"/>
                  <a:pt x="1077639" y="68106"/>
                </a:cubicBezTo>
                <a:cubicBezTo>
                  <a:pt x="1073933" y="67896"/>
                  <a:pt x="1070816" y="67058"/>
                  <a:pt x="1068288" y="65591"/>
                </a:cubicBezTo>
                <a:cubicBezTo>
                  <a:pt x="1065760" y="64124"/>
                  <a:pt x="1063429" y="63286"/>
                  <a:pt x="1061294" y="63076"/>
                </a:cubicBezTo>
                <a:cubicBezTo>
                  <a:pt x="1059609" y="63094"/>
                  <a:pt x="1058317" y="63583"/>
                  <a:pt x="1057418" y="64543"/>
                </a:cubicBezTo>
                <a:cubicBezTo>
                  <a:pt x="1056518" y="65504"/>
                  <a:pt x="1056065" y="66831"/>
                  <a:pt x="1056055" y="68525"/>
                </a:cubicBezTo>
                <a:lnTo>
                  <a:pt x="1056055" y="141448"/>
                </a:lnTo>
                <a:cubicBezTo>
                  <a:pt x="1055995" y="143277"/>
                  <a:pt x="1055331" y="144805"/>
                  <a:pt x="1054065" y="146032"/>
                </a:cubicBezTo>
                <a:cubicBezTo>
                  <a:pt x="1052799" y="147259"/>
                  <a:pt x="1051297" y="147896"/>
                  <a:pt x="1049559" y="147944"/>
                </a:cubicBezTo>
                <a:lnTo>
                  <a:pt x="1030910" y="147944"/>
                </a:lnTo>
                <a:cubicBezTo>
                  <a:pt x="1029080" y="147896"/>
                  <a:pt x="1027553" y="147259"/>
                  <a:pt x="1026326" y="146032"/>
                </a:cubicBezTo>
                <a:cubicBezTo>
                  <a:pt x="1025099" y="144805"/>
                  <a:pt x="1024462" y="143277"/>
                  <a:pt x="1024413" y="141448"/>
                </a:cubicBezTo>
                <a:lnTo>
                  <a:pt x="1024413" y="47989"/>
                </a:lnTo>
                <a:cubicBezTo>
                  <a:pt x="1024462" y="46160"/>
                  <a:pt x="1025099" y="44632"/>
                  <a:pt x="1026326" y="43405"/>
                </a:cubicBezTo>
                <a:cubicBezTo>
                  <a:pt x="1027553" y="42178"/>
                  <a:pt x="1029080" y="41541"/>
                  <a:pt x="1030910" y="41493"/>
                </a:cubicBezTo>
                <a:lnTo>
                  <a:pt x="1047674" y="41493"/>
                </a:lnTo>
                <a:cubicBezTo>
                  <a:pt x="1049411" y="41541"/>
                  <a:pt x="1050913" y="42178"/>
                  <a:pt x="1052179" y="43405"/>
                </a:cubicBezTo>
                <a:cubicBezTo>
                  <a:pt x="1053445" y="44632"/>
                  <a:pt x="1054109" y="46160"/>
                  <a:pt x="1054170" y="47989"/>
                </a:cubicBezTo>
                <a:lnTo>
                  <a:pt x="1054170" y="50503"/>
                </a:lnTo>
                <a:cubicBezTo>
                  <a:pt x="1056859" y="47273"/>
                  <a:pt x="1060125" y="44566"/>
                  <a:pt x="1063966" y="42383"/>
                </a:cubicBezTo>
                <a:cubicBezTo>
                  <a:pt x="1067808" y="40201"/>
                  <a:pt x="1071807" y="39066"/>
                  <a:pt x="1075963" y="38978"/>
                </a:cubicBezTo>
                <a:close/>
                <a:moveTo>
                  <a:pt x="947947" y="38978"/>
                </a:moveTo>
                <a:cubicBezTo>
                  <a:pt x="963615" y="38961"/>
                  <a:pt x="976232" y="43554"/>
                  <a:pt x="985797" y="52756"/>
                </a:cubicBezTo>
                <a:cubicBezTo>
                  <a:pt x="995362" y="61959"/>
                  <a:pt x="1000278" y="75876"/>
                  <a:pt x="1000544" y="94509"/>
                </a:cubicBezTo>
                <a:cubicBezTo>
                  <a:pt x="1000278" y="112884"/>
                  <a:pt x="995362" y="126793"/>
                  <a:pt x="985797" y="136236"/>
                </a:cubicBezTo>
                <a:cubicBezTo>
                  <a:pt x="976232" y="145678"/>
                  <a:pt x="963615" y="150419"/>
                  <a:pt x="947947" y="150459"/>
                </a:cubicBezTo>
                <a:cubicBezTo>
                  <a:pt x="932379" y="150485"/>
                  <a:pt x="919823" y="145875"/>
                  <a:pt x="910280" y="136628"/>
                </a:cubicBezTo>
                <a:cubicBezTo>
                  <a:pt x="900737" y="127382"/>
                  <a:pt x="895830" y="113342"/>
                  <a:pt x="895559" y="94509"/>
                </a:cubicBezTo>
                <a:cubicBezTo>
                  <a:pt x="895830" y="75876"/>
                  <a:pt x="900737" y="61959"/>
                  <a:pt x="910280" y="52756"/>
                </a:cubicBezTo>
                <a:cubicBezTo>
                  <a:pt x="919823" y="43554"/>
                  <a:pt x="932379" y="38961"/>
                  <a:pt x="947947" y="38978"/>
                </a:cubicBezTo>
                <a:close/>
                <a:moveTo>
                  <a:pt x="742054" y="38978"/>
                </a:moveTo>
                <a:cubicBezTo>
                  <a:pt x="752982" y="39030"/>
                  <a:pt x="761617" y="40602"/>
                  <a:pt x="767960" y="43693"/>
                </a:cubicBezTo>
                <a:cubicBezTo>
                  <a:pt x="774303" y="46784"/>
                  <a:pt x="777543" y="51080"/>
                  <a:pt x="777678" y="56580"/>
                </a:cubicBezTo>
                <a:cubicBezTo>
                  <a:pt x="777643" y="60012"/>
                  <a:pt x="776613" y="62841"/>
                  <a:pt x="774587" y="65067"/>
                </a:cubicBezTo>
                <a:cubicBezTo>
                  <a:pt x="772561" y="67294"/>
                  <a:pt x="769750" y="68446"/>
                  <a:pt x="766153" y="68525"/>
                </a:cubicBezTo>
                <a:cubicBezTo>
                  <a:pt x="762672" y="68413"/>
                  <a:pt x="759831" y="67635"/>
                  <a:pt x="757631" y="66189"/>
                </a:cubicBezTo>
                <a:cubicBezTo>
                  <a:pt x="755431" y="64742"/>
                  <a:pt x="752963" y="63296"/>
                  <a:pt x="750227" y="61850"/>
                </a:cubicBezTo>
                <a:cubicBezTo>
                  <a:pt x="747491" y="60404"/>
                  <a:pt x="743580" y="59625"/>
                  <a:pt x="738492" y="59514"/>
                </a:cubicBezTo>
                <a:cubicBezTo>
                  <a:pt x="733899" y="59575"/>
                  <a:pt x="730512" y="60448"/>
                  <a:pt x="728329" y="62133"/>
                </a:cubicBezTo>
                <a:cubicBezTo>
                  <a:pt x="726146" y="63819"/>
                  <a:pt x="725063" y="65949"/>
                  <a:pt x="725081" y="68525"/>
                </a:cubicBezTo>
                <a:cubicBezTo>
                  <a:pt x="724994" y="71310"/>
                  <a:pt x="726373" y="73598"/>
                  <a:pt x="729220" y="75387"/>
                </a:cubicBezTo>
                <a:cubicBezTo>
                  <a:pt x="732066" y="77177"/>
                  <a:pt x="736903" y="78732"/>
                  <a:pt x="743731" y="80050"/>
                </a:cubicBezTo>
                <a:cubicBezTo>
                  <a:pt x="756815" y="82517"/>
                  <a:pt x="766585" y="86280"/>
                  <a:pt x="773042" y="91339"/>
                </a:cubicBezTo>
                <a:cubicBezTo>
                  <a:pt x="779499" y="96399"/>
                  <a:pt x="782720" y="103672"/>
                  <a:pt x="782707" y="113159"/>
                </a:cubicBezTo>
                <a:cubicBezTo>
                  <a:pt x="782515" y="124431"/>
                  <a:pt x="778342" y="133424"/>
                  <a:pt x="770187" y="140138"/>
                </a:cubicBezTo>
                <a:cubicBezTo>
                  <a:pt x="762032" y="146853"/>
                  <a:pt x="751048" y="150293"/>
                  <a:pt x="737235" y="150459"/>
                </a:cubicBezTo>
                <a:cubicBezTo>
                  <a:pt x="724736" y="150393"/>
                  <a:pt x="714582" y="148481"/>
                  <a:pt x="706772" y="144722"/>
                </a:cubicBezTo>
                <a:cubicBezTo>
                  <a:pt x="698961" y="140963"/>
                  <a:pt x="694936" y="135751"/>
                  <a:pt x="694696" y="129085"/>
                </a:cubicBezTo>
                <a:cubicBezTo>
                  <a:pt x="694766" y="125854"/>
                  <a:pt x="695936" y="123147"/>
                  <a:pt x="698206" y="120965"/>
                </a:cubicBezTo>
                <a:cubicBezTo>
                  <a:pt x="700476" y="118782"/>
                  <a:pt x="703427" y="117647"/>
                  <a:pt x="707060" y="117559"/>
                </a:cubicBezTo>
                <a:cubicBezTo>
                  <a:pt x="710530" y="117712"/>
                  <a:pt x="713694" y="118780"/>
                  <a:pt x="716551" y="120765"/>
                </a:cubicBezTo>
                <a:cubicBezTo>
                  <a:pt x="719409" y="122749"/>
                  <a:pt x="722511" y="124733"/>
                  <a:pt x="725857" y="126717"/>
                </a:cubicBezTo>
                <a:cubicBezTo>
                  <a:pt x="729203" y="128702"/>
                  <a:pt x="733345" y="129770"/>
                  <a:pt x="738283" y="129923"/>
                </a:cubicBezTo>
                <a:cubicBezTo>
                  <a:pt x="742426" y="129918"/>
                  <a:pt x="745717" y="128984"/>
                  <a:pt x="748158" y="127120"/>
                </a:cubicBezTo>
                <a:cubicBezTo>
                  <a:pt x="750598" y="125256"/>
                  <a:pt x="751847" y="122488"/>
                  <a:pt x="751903" y="118817"/>
                </a:cubicBezTo>
                <a:cubicBezTo>
                  <a:pt x="752021" y="114988"/>
                  <a:pt x="750528" y="111958"/>
                  <a:pt x="747424" y="109727"/>
                </a:cubicBezTo>
                <a:cubicBezTo>
                  <a:pt x="744320" y="107497"/>
                  <a:pt x="738898" y="105777"/>
                  <a:pt x="731158" y="104567"/>
                </a:cubicBezTo>
                <a:cubicBezTo>
                  <a:pt x="719013" y="102577"/>
                  <a:pt x="709932" y="98857"/>
                  <a:pt x="703916" y="93409"/>
                </a:cubicBezTo>
                <a:cubicBezTo>
                  <a:pt x="697901" y="87960"/>
                  <a:pt x="694897" y="80783"/>
                  <a:pt x="694906" y="71877"/>
                </a:cubicBezTo>
                <a:cubicBezTo>
                  <a:pt x="694880" y="61981"/>
                  <a:pt x="698756" y="54062"/>
                  <a:pt x="706536" y="48120"/>
                </a:cubicBezTo>
                <a:cubicBezTo>
                  <a:pt x="714315" y="42178"/>
                  <a:pt x="726155" y="39131"/>
                  <a:pt x="742054" y="38978"/>
                </a:cubicBezTo>
                <a:close/>
                <a:moveTo>
                  <a:pt x="422186" y="38978"/>
                </a:moveTo>
                <a:cubicBezTo>
                  <a:pt x="437422" y="39206"/>
                  <a:pt x="449331" y="44200"/>
                  <a:pt x="457914" y="53961"/>
                </a:cubicBezTo>
                <a:cubicBezTo>
                  <a:pt x="466497" y="63722"/>
                  <a:pt x="470863" y="76889"/>
                  <a:pt x="471011" y="93461"/>
                </a:cubicBezTo>
                <a:cubicBezTo>
                  <a:pt x="471090" y="96177"/>
                  <a:pt x="470618" y="98185"/>
                  <a:pt x="469597" y="99486"/>
                </a:cubicBezTo>
                <a:cubicBezTo>
                  <a:pt x="468575" y="100787"/>
                  <a:pt x="466532" y="101433"/>
                  <a:pt x="463467" y="101424"/>
                </a:cubicBezTo>
                <a:lnTo>
                  <a:pt x="403326" y="101424"/>
                </a:lnTo>
                <a:cubicBezTo>
                  <a:pt x="403466" y="110644"/>
                  <a:pt x="405754" y="117559"/>
                  <a:pt x="410189" y="122169"/>
                </a:cubicBezTo>
                <a:cubicBezTo>
                  <a:pt x="414625" y="126780"/>
                  <a:pt x="420370" y="129085"/>
                  <a:pt x="427425" y="129085"/>
                </a:cubicBezTo>
                <a:cubicBezTo>
                  <a:pt x="432288" y="128966"/>
                  <a:pt x="436298" y="128133"/>
                  <a:pt x="439454" y="126586"/>
                </a:cubicBezTo>
                <a:cubicBezTo>
                  <a:pt x="442611" y="125038"/>
                  <a:pt x="445487" y="123491"/>
                  <a:pt x="448085" y="121944"/>
                </a:cubicBezTo>
                <a:cubicBezTo>
                  <a:pt x="450682" y="120397"/>
                  <a:pt x="453574" y="119564"/>
                  <a:pt x="456762" y="119445"/>
                </a:cubicBezTo>
                <a:cubicBezTo>
                  <a:pt x="460149" y="119524"/>
                  <a:pt x="462804" y="120624"/>
                  <a:pt x="464725" y="122746"/>
                </a:cubicBezTo>
                <a:cubicBezTo>
                  <a:pt x="466645" y="124867"/>
                  <a:pt x="467623" y="127539"/>
                  <a:pt x="467658" y="130761"/>
                </a:cubicBezTo>
                <a:cubicBezTo>
                  <a:pt x="467545" y="136441"/>
                  <a:pt x="463948" y="141112"/>
                  <a:pt x="456866" y="144775"/>
                </a:cubicBezTo>
                <a:cubicBezTo>
                  <a:pt x="449785" y="148437"/>
                  <a:pt x="439902" y="150332"/>
                  <a:pt x="427215" y="150459"/>
                </a:cubicBezTo>
                <a:cubicBezTo>
                  <a:pt x="409316" y="150354"/>
                  <a:pt x="395608" y="145534"/>
                  <a:pt x="386091" y="136000"/>
                </a:cubicBezTo>
                <a:cubicBezTo>
                  <a:pt x="376574" y="126465"/>
                  <a:pt x="371772" y="112845"/>
                  <a:pt x="371684" y="95138"/>
                </a:cubicBezTo>
                <a:cubicBezTo>
                  <a:pt x="371916" y="77396"/>
                  <a:pt x="376587" y="63635"/>
                  <a:pt x="385698" y="53856"/>
                </a:cubicBezTo>
                <a:cubicBezTo>
                  <a:pt x="394809" y="44077"/>
                  <a:pt x="406972" y="39118"/>
                  <a:pt x="422186" y="38978"/>
                </a:cubicBezTo>
                <a:close/>
                <a:moveTo>
                  <a:pt x="310515" y="38978"/>
                </a:moveTo>
                <a:cubicBezTo>
                  <a:pt x="321861" y="39053"/>
                  <a:pt x="330811" y="42257"/>
                  <a:pt x="337363" y="48591"/>
                </a:cubicBezTo>
                <a:cubicBezTo>
                  <a:pt x="343916" y="54926"/>
                  <a:pt x="347260" y="63945"/>
                  <a:pt x="347396" y="75649"/>
                </a:cubicBezTo>
                <a:lnTo>
                  <a:pt x="347396" y="141448"/>
                </a:lnTo>
                <a:cubicBezTo>
                  <a:pt x="347335" y="143277"/>
                  <a:pt x="346671" y="144805"/>
                  <a:pt x="345405" y="146032"/>
                </a:cubicBezTo>
                <a:cubicBezTo>
                  <a:pt x="344139" y="147259"/>
                  <a:pt x="342637" y="147896"/>
                  <a:pt x="340900" y="147944"/>
                </a:cubicBezTo>
                <a:lnTo>
                  <a:pt x="322250" y="147944"/>
                </a:lnTo>
                <a:cubicBezTo>
                  <a:pt x="320420" y="147896"/>
                  <a:pt x="318892" y="147259"/>
                  <a:pt x="317666" y="146032"/>
                </a:cubicBezTo>
                <a:cubicBezTo>
                  <a:pt x="316439" y="144805"/>
                  <a:pt x="315802" y="143277"/>
                  <a:pt x="315754" y="141448"/>
                </a:cubicBezTo>
                <a:lnTo>
                  <a:pt x="315754" y="73763"/>
                </a:lnTo>
                <a:cubicBezTo>
                  <a:pt x="315889" y="69529"/>
                  <a:pt x="314780" y="66211"/>
                  <a:pt x="312427" y="63810"/>
                </a:cubicBezTo>
                <a:cubicBezTo>
                  <a:pt x="310074" y="61409"/>
                  <a:pt x="305665" y="60186"/>
                  <a:pt x="299199" y="60143"/>
                </a:cubicBezTo>
                <a:cubicBezTo>
                  <a:pt x="294554" y="60186"/>
                  <a:pt x="290957" y="60728"/>
                  <a:pt x="288407" y="61767"/>
                </a:cubicBezTo>
                <a:cubicBezTo>
                  <a:pt x="285858" y="62806"/>
                  <a:pt x="284566" y="64080"/>
                  <a:pt x="284531" y="65591"/>
                </a:cubicBezTo>
                <a:lnTo>
                  <a:pt x="284531" y="141448"/>
                </a:lnTo>
                <a:cubicBezTo>
                  <a:pt x="284469" y="143277"/>
                  <a:pt x="283806" y="144805"/>
                  <a:pt x="282540" y="146032"/>
                </a:cubicBezTo>
                <a:cubicBezTo>
                  <a:pt x="281274" y="147259"/>
                  <a:pt x="279772" y="147896"/>
                  <a:pt x="278035" y="147944"/>
                </a:cubicBezTo>
                <a:lnTo>
                  <a:pt x="259385" y="147944"/>
                </a:lnTo>
                <a:cubicBezTo>
                  <a:pt x="257555" y="147896"/>
                  <a:pt x="256027" y="147259"/>
                  <a:pt x="254801" y="146032"/>
                </a:cubicBezTo>
                <a:cubicBezTo>
                  <a:pt x="253574" y="144805"/>
                  <a:pt x="252937" y="143277"/>
                  <a:pt x="252889" y="141448"/>
                </a:cubicBezTo>
                <a:lnTo>
                  <a:pt x="252889" y="47989"/>
                </a:lnTo>
                <a:cubicBezTo>
                  <a:pt x="252937" y="46160"/>
                  <a:pt x="253574" y="44632"/>
                  <a:pt x="254801" y="43405"/>
                </a:cubicBezTo>
                <a:cubicBezTo>
                  <a:pt x="256027" y="42178"/>
                  <a:pt x="257555" y="41541"/>
                  <a:pt x="259385" y="41493"/>
                </a:cubicBezTo>
                <a:lnTo>
                  <a:pt x="276149" y="41493"/>
                </a:lnTo>
                <a:cubicBezTo>
                  <a:pt x="277886" y="41541"/>
                  <a:pt x="279388" y="42178"/>
                  <a:pt x="280654" y="43405"/>
                </a:cubicBezTo>
                <a:cubicBezTo>
                  <a:pt x="281920" y="44632"/>
                  <a:pt x="282584" y="46160"/>
                  <a:pt x="282645" y="47989"/>
                </a:cubicBezTo>
                <a:lnTo>
                  <a:pt x="282645" y="49665"/>
                </a:lnTo>
                <a:cubicBezTo>
                  <a:pt x="285770" y="46378"/>
                  <a:pt x="289473" y="43785"/>
                  <a:pt x="293751" y="41886"/>
                </a:cubicBezTo>
                <a:cubicBezTo>
                  <a:pt x="298029" y="39987"/>
                  <a:pt x="303617" y="39018"/>
                  <a:pt x="310515" y="38978"/>
                </a:cubicBezTo>
                <a:close/>
                <a:moveTo>
                  <a:pt x="184061" y="38978"/>
                </a:moveTo>
                <a:cubicBezTo>
                  <a:pt x="199297" y="39206"/>
                  <a:pt x="211206" y="44200"/>
                  <a:pt x="219789" y="53961"/>
                </a:cubicBezTo>
                <a:cubicBezTo>
                  <a:pt x="228372" y="63722"/>
                  <a:pt x="232738" y="76889"/>
                  <a:pt x="232886" y="93461"/>
                </a:cubicBezTo>
                <a:cubicBezTo>
                  <a:pt x="232965" y="96177"/>
                  <a:pt x="232493" y="98185"/>
                  <a:pt x="231472" y="99486"/>
                </a:cubicBezTo>
                <a:cubicBezTo>
                  <a:pt x="230450" y="100787"/>
                  <a:pt x="228407" y="101433"/>
                  <a:pt x="225342" y="101424"/>
                </a:cubicBezTo>
                <a:lnTo>
                  <a:pt x="165201" y="101424"/>
                </a:lnTo>
                <a:cubicBezTo>
                  <a:pt x="165341" y="110644"/>
                  <a:pt x="167629" y="117559"/>
                  <a:pt x="172064" y="122169"/>
                </a:cubicBezTo>
                <a:cubicBezTo>
                  <a:pt x="176500" y="126780"/>
                  <a:pt x="182245" y="129085"/>
                  <a:pt x="189300" y="129085"/>
                </a:cubicBezTo>
                <a:cubicBezTo>
                  <a:pt x="194163" y="128966"/>
                  <a:pt x="198173" y="128133"/>
                  <a:pt x="201329" y="126586"/>
                </a:cubicBezTo>
                <a:cubicBezTo>
                  <a:pt x="204486" y="125038"/>
                  <a:pt x="207362" y="123491"/>
                  <a:pt x="209960" y="121944"/>
                </a:cubicBezTo>
                <a:cubicBezTo>
                  <a:pt x="212557" y="120397"/>
                  <a:pt x="215449" y="119564"/>
                  <a:pt x="218637" y="119445"/>
                </a:cubicBezTo>
                <a:cubicBezTo>
                  <a:pt x="222024" y="119524"/>
                  <a:pt x="224679" y="120624"/>
                  <a:pt x="226600" y="122746"/>
                </a:cubicBezTo>
                <a:cubicBezTo>
                  <a:pt x="228520" y="124867"/>
                  <a:pt x="229498" y="127539"/>
                  <a:pt x="229533" y="130761"/>
                </a:cubicBezTo>
                <a:cubicBezTo>
                  <a:pt x="229420" y="136441"/>
                  <a:pt x="225823" y="141112"/>
                  <a:pt x="218741" y="144775"/>
                </a:cubicBezTo>
                <a:cubicBezTo>
                  <a:pt x="211660" y="148437"/>
                  <a:pt x="201777" y="150332"/>
                  <a:pt x="189090" y="150459"/>
                </a:cubicBezTo>
                <a:cubicBezTo>
                  <a:pt x="171191" y="150354"/>
                  <a:pt x="157483" y="145534"/>
                  <a:pt x="147966" y="136000"/>
                </a:cubicBezTo>
                <a:cubicBezTo>
                  <a:pt x="138449" y="126465"/>
                  <a:pt x="133647" y="112845"/>
                  <a:pt x="133559" y="95138"/>
                </a:cubicBezTo>
                <a:cubicBezTo>
                  <a:pt x="133791" y="77396"/>
                  <a:pt x="138462" y="63635"/>
                  <a:pt x="147573" y="53856"/>
                </a:cubicBezTo>
                <a:cubicBezTo>
                  <a:pt x="156684" y="44077"/>
                  <a:pt x="168847" y="39118"/>
                  <a:pt x="184061" y="38978"/>
                </a:cubicBezTo>
                <a:close/>
                <a:moveTo>
                  <a:pt x="43167" y="25567"/>
                </a:moveTo>
                <a:lnTo>
                  <a:pt x="43167" y="61819"/>
                </a:lnTo>
                <a:lnTo>
                  <a:pt x="58255" y="61819"/>
                </a:lnTo>
                <a:cubicBezTo>
                  <a:pt x="66296" y="61583"/>
                  <a:pt x="71902" y="59488"/>
                  <a:pt x="75071" y="55533"/>
                </a:cubicBezTo>
                <a:cubicBezTo>
                  <a:pt x="78241" y="51577"/>
                  <a:pt x="79760" y="47177"/>
                  <a:pt x="79629" y="42331"/>
                </a:cubicBezTo>
                <a:cubicBezTo>
                  <a:pt x="79769" y="37415"/>
                  <a:pt x="78179" y="33417"/>
                  <a:pt x="74862" y="30334"/>
                </a:cubicBezTo>
                <a:cubicBezTo>
                  <a:pt x="71544" y="27252"/>
                  <a:pt x="65659" y="25663"/>
                  <a:pt x="57207" y="25567"/>
                </a:cubicBezTo>
                <a:close/>
                <a:moveTo>
                  <a:pt x="635260" y="14042"/>
                </a:moveTo>
                <a:lnTo>
                  <a:pt x="653910" y="14042"/>
                </a:lnTo>
                <a:cubicBezTo>
                  <a:pt x="655648" y="14090"/>
                  <a:pt x="657149" y="14727"/>
                  <a:pt x="658415" y="15954"/>
                </a:cubicBezTo>
                <a:cubicBezTo>
                  <a:pt x="659681" y="17181"/>
                  <a:pt x="660345" y="18708"/>
                  <a:pt x="660406" y="20538"/>
                </a:cubicBezTo>
                <a:lnTo>
                  <a:pt x="660406" y="41493"/>
                </a:lnTo>
                <a:lnTo>
                  <a:pt x="674236" y="41493"/>
                </a:lnTo>
                <a:cubicBezTo>
                  <a:pt x="676066" y="41554"/>
                  <a:pt x="677594" y="42218"/>
                  <a:pt x="678820" y="43484"/>
                </a:cubicBezTo>
                <a:cubicBezTo>
                  <a:pt x="680047" y="44750"/>
                  <a:pt x="680685" y="46251"/>
                  <a:pt x="680733" y="47989"/>
                </a:cubicBezTo>
                <a:lnTo>
                  <a:pt x="680733" y="56161"/>
                </a:lnTo>
                <a:cubicBezTo>
                  <a:pt x="680685" y="57990"/>
                  <a:pt x="680047" y="59518"/>
                  <a:pt x="678820" y="60745"/>
                </a:cubicBezTo>
                <a:cubicBezTo>
                  <a:pt x="677594" y="61972"/>
                  <a:pt x="676066" y="62609"/>
                  <a:pt x="674236" y="62657"/>
                </a:cubicBezTo>
                <a:lnTo>
                  <a:pt x="660406" y="62657"/>
                </a:lnTo>
                <a:lnTo>
                  <a:pt x="660406" y="120912"/>
                </a:lnTo>
                <a:cubicBezTo>
                  <a:pt x="660393" y="123117"/>
                  <a:pt x="660995" y="124784"/>
                  <a:pt x="662213" y="125915"/>
                </a:cubicBezTo>
                <a:cubicBezTo>
                  <a:pt x="663432" y="127046"/>
                  <a:pt x="665344" y="127613"/>
                  <a:pt x="667950" y="127618"/>
                </a:cubicBezTo>
                <a:cubicBezTo>
                  <a:pt x="668893" y="127583"/>
                  <a:pt x="670150" y="127443"/>
                  <a:pt x="671722" y="127199"/>
                </a:cubicBezTo>
                <a:cubicBezTo>
                  <a:pt x="673293" y="126954"/>
                  <a:pt x="674551" y="126815"/>
                  <a:pt x="675494" y="126780"/>
                </a:cubicBezTo>
                <a:cubicBezTo>
                  <a:pt x="677271" y="126823"/>
                  <a:pt x="678589" y="127417"/>
                  <a:pt x="679449" y="128561"/>
                </a:cubicBezTo>
                <a:cubicBezTo>
                  <a:pt x="680309" y="129705"/>
                  <a:pt x="680737" y="131136"/>
                  <a:pt x="680733" y="132857"/>
                </a:cubicBezTo>
                <a:lnTo>
                  <a:pt x="680733" y="141448"/>
                </a:lnTo>
                <a:cubicBezTo>
                  <a:pt x="680750" y="143120"/>
                  <a:pt x="680348" y="144491"/>
                  <a:pt x="679528" y="145560"/>
                </a:cubicBezTo>
                <a:cubicBezTo>
                  <a:pt x="678707" y="146630"/>
                  <a:pt x="677362" y="147425"/>
                  <a:pt x="675494" y="147944"/>
                </a:cubicBezTo>
                <a:cubicBezTo>
                  <a:pt x="673817" y="148455"/>
                  <a:pt x="671617" y="148795"/>
                  <a:pt x="668893" y="148966"/>
                </a:cubicBezTo>
                <a:cubicBezTo>
                  <a:pt x="666169" y="149136"/>
                  <a:pt x="662921" y="149215"/>
                  <a:pt x="659149" y="149201"/>
                </a:cubicBezTo>
                <a:cubicBezTo>
                  <a:pt x="649632" y="149442"/>
                  <a:pt x="642210" y="147337"/>
                  <a:pt x="636884" y="142889"/>
                </a:cubicBezTo>
                <a:cubicBezTo>
                  <a:pt x="631558" y="138440"/>
                  <a:pt x="628851" y="130207"/>
                  <a:pt x="628764" y="118188"/>
                </a:cubicBezTo>
                <a:lnTo>
                  <a:pt x="628764" y="62657"/>
                </a:lnTo>
                <a:lnTo>
                  <a:pt x="619963" y="62657"/>
                </a:lnTo>
                <a:cubicBezTo>
                  <a:pt x="618134" y="62609"/>
                  <a:pt x="616606" y="61972"/>
                  <a:pt x="615379" y="60745"/>
                </a:cubicBezTo>
                <a:cubicBezTo>
                  <a:pt x="614152" y="59518"/>
                  <a:pt x="613515" y="57990"/>
                  <a:pt x="613467" y="56161"/>
                </a:cubicBezTo>
                <a:lnTo>
                  <a:pt x="613467" y="47989"/>
                </a:lnTo>
                <a:cubicBezTo>
                  <a:pt x="613515" y="46251"/>
                  <a:pt x="614152" y="44750"/>
                  <a:pt x="615379" y="43484"/>
                </a:cubicBezTo>
                <a:cubicBezTo>
                  <a:pt x="616606" y="42218"/>
                  <a:pt x="618134" y="41554"/>
                  <a:pt x="619963" y="41493"/>
                </a:cubicBezTo>
                <a:lnTo>
                  <a:pt x="628764" y="41493"/>
                </a:lnTo>
                <a:lnTo>
                  <a:pt x="628764" y="20538"/>
                </a:lnTo>
                <a:cubicBezTo>
                  <a:pt x="628812" y="18708"/>
                  <a:pt x="629450" y="17181"/>
                  <a:pt x="630676" y="15954"/>
                </a:cubicBezTo>
                <a:cubicBezTo>
                  <a:pt x="631903" y="14727"/>
                  <a:pt x="633431" y="14090"/>
                  <a:pt x="635260" y="14042"/>
                </a:cubicBezTo>
                <a:close/>
                <a:moveTo>
                  <a:pt x="15087" y="2726"/>
                </a:moveTo>
                <a:lnTo>
                  <a:pt x="60560" y="2726"/>
                </a:lnTo>
                <a:cubicBezTo>
                  <a:pt x="78385" y="2966"/>
                  <a:pt x="91455" y="6572"/>
                  <a:pt x="99772" y="13544"/>
                </a:cubicBezTo>
                <a:cubicBezTo>
                  <a:pt x="108088" y="20516"/>
                  <a:pt x="112201" y="29413"/>
                  <a:pt x="112109" y="40236"/>
                </a:cubicBezTo>
                <a:cubicBezTo>
                  <a:pt x="111961" y="47421"/>
                  <a:pt x="110057" y="53324"/>
                  <a:pt x="106399" y="57942"/>
                </a:cubicBezTo>
                <a:cubicBezTo>
                  <a:pt x="102740" y="62561"/>
                  <a:pt x="98218" y="66159"/>
                  <a:pt x="92831" y="68734"/>
                </a:cubicBezTo>
                <a:lnTo>
                  <a:pt x="92831" y="69153"/>
                </a:lnTo>
                <a:cubicBezTo>
                  <a:pt x="102007" y="72104"/>
                  <a:pt x="108748" y="76732"/>
                  <a:pt x="113052" y="83036"/>
                </a:cubicBezTo>
                <a:cubicBezTo>
                  <a:pt x="117357" y="89340"/>
                  <a:pt x="119487" y="96587"/>
                  <a:pt x="119443" y="104777"/>
                </a:cubicBezTo>
                <a:cubicBezTo>
                  <a:pt x="119347" y="117302"/>
                  <a:pt x="114301" y="127561"/>
                  <a:pt x="104303" y="135554"/>
                </a:cubicBezTo>
                <a:cubicBezTo>
                  <a:pt x="94306" y="143548"/>
                  <a:pt x="79934" y="147678"/>
                  <a:pt x="61188" y="147944"/>
                </a:cubicBezTo>
                <a:lnTo>
                  <a:pt x="15087" y="147944"/>
                </a:lnTo>
                <a:cubicBezTo>
                  <a:pt x="13258" y="147896"/>
                  <a:pt x="11730" y="147259"/>
                  <a:pt x="10504" y="146032"/>
                </a:cubicBezTo>
                <a:cubicBezTo>
                  <a:pt x="9277" y="144805"/>
                  <a:pt x="8639" y="143277"/>
                  <a:pt x="8591" y="141448"/>
                </a:cubicBezTo>
                <a:lnTo>
                  <a:pt x="8591" y="9222"/>
                </a:lnTo>
                <a:cubicBezTo>
                  <a:pt x="8639" y="7393"/>
                  <a:pt x="9277" y="5865"/>
                  <a:pt x="10504" y="4638"/>
                </a:cubicBezTo>
                <a:cubicBezTo>
                  <a:pt x="11730" y="3411"/>
                  <a:pt x="13258" y="2774"/>
                  <a:pt x="15087" y="2726"/>
                </a:cubicBezTo>
                <a:close/>
                <a:moveTo>
                  <a:pt x="865251" y="2"/>
                </a:moveTo>
                <a:cubicBezTo>
                  <a:pt x="871572" y="-33"/>
                  <a:pt x="876322" y="456"/>
                  <a:pt x="879500" y="1469"/>
                </a:cubicBezTo>
                <a:cubicBezTo>
                  <a:pt x="881770" y="2198"/>
                  <a:pt x="883359" y="3202"/>
                  <a:pt x="884267" y="4481"/>
                </a:cubicBezTo>
                <a:cubicBezTo>
                  <a:pt x="885176" y="5760"/>
                  <a:pt x="885612" y="7340"/>
                  <a:pt x="885577" y="9222"/>
                </a:cubicBezTo>
                <a:lnTo>
                  <a:pt x="885577" y="16766"/>
                </a:lnTo>
                <a:cubicBezTo>
                  <a:pt x="885586" y="18486"/>
                  <a:pt x="885149" y="19918"/>
                  <a:pt x="884267" y="21062"/>
                </a:cubicBezTo>
                <a:cubicBezTo>
                  <a:pt x="883386" y="22205"/>
                  <a:pt x="882006" y="22799"/>
                  <a:pt x="880129" y="22843"/>
                </a:cubicBezTo>
                <a:cubicBezTo>
                  <a:pt x="878719" y="22791"/>
                  <a:pt x="876719" y="22581"/>
                  <a:pt x="874130" y="22214"/>
                </a:cubicBezTo>
                <a:cubicBezTo>
                  <a:pt x="871542" y="21847"/>
                  <a:pt x="869280" y="21638"/>
                  <a:pt x="867346" y="21586"/>
                </a:cubicBezTo>
                <a:cubicBezTo>
                  <a:pt x="864766" y="21599"/>
                  <a:pt x="862959" y="22306"/>
                  <a:pt x="861924" y="23707"/>
                </a:cubicBezTo>
                <a:cubicBezTo>
                  <a:pt x="860890" y="25109"/>
                  <a:pt x="860392" y="27126"/>
                  <a:pt x="860431" y="29758"/>
                </a:cubicBezTo>
                <a:lnTo>
                  <a:pt x="860431" y="41493"/>
                </a:lnTo>
                <a:lnTo>
                  <a:pt x="874261" y="41493"/>
                </a:lnTo>
                <a:cubicBezTo>
                  <a:pt x="876091" y="41541"/>
                  <a:pt x="877619" y="42178"/>
                  <a:pt x="878845" y="43405"/>
                </a:cubicBezTo>
                <a:cubicBezTo>
                  <a:pt x="880072" y="44632"/>
                  <a:pt x="880710" y="46160"/>
                  <a:pt x="880757" y="47989"/>
                </a:cubicBezTo>
                <a:lnTo>
                  <a:pt x="880757" y="56161"/>
                </a:lnTo>
                <a:cubicBezTo>
                  <a:pt x="880710" y="57899"/>
                  <a:pt x="880072" y="59401"/>
                  <a:pt x="878845" y="60667"/>
                </a:cubicBezTo>
                <a:cubicBezTo>
                  <a:pt x="877619" y="61933"/>
                  <a:pt x="876091" y="62596"/>
                  <a:pt x="874261" y="62657"/>
                </a:cubicBezTo>
                <a:lnTo>
                  <a:pt x="860431" y="62657"/>
                </a:lnTo>
                <a:lnTo>
                  <a:pt x="860431" y="141448"/>
                </a:lnTo>
                <a:cubicBezTo>
                  <a:pt x="860370" y="143277"/>
                  <a:pt x="859707" y="144805"/>
                  <a:pt x="858440" y="146032"/>
                </a:cubicBezTo>
                <a:cubicBezTo>
                  <a:pt x="857174" y="147259"/>
                  <a:pt x="855673" y="147896"/>
                  <a:pt x="853935" y="147944"/>
                </a:cubicBezTo>
                <a:lnTo>
                  <a:pt x="835285" y="147944"/>
                </a:lnTo>
                <a:cubicBezTo>
                  <a:pt x="833456" y="147896"/>
                  <a:pt x="831928" y="147259"/>
                  <a:pt x="830701" y="146032"/>
                </a:cubicBezTo>
                <a:cubicBezTo>
                  <a:pt x="829475" y="144805"/>
                  <a:pt x="828837" y="143277"/>
                  <a:pt x="828789" y="141448"/>
                </a:cubicBezTo>
                <a:lnTo>
                  <a:pt x="828789" y="62657"/>
                </a:lnTo>
                <a:lnTo>
                  <a:pt x="819988" y="62657"/>
                </a:lnTo>
                <a:cubicBezTo>
                  <a:pt x="818159" y="62596"/>
                  <a:pt x="816631" y="61933"/>
                  <a:pt x="815404" y="60667"/>
                </a:cubicBezTo>
                <a:cubicBezTo>
                  <a:pt x="814177" y="59401"/>
                  <a:pt x="813540" y="57899"/>
                  <a:pt x="813492" y="56161"/>
                </a:cubicBezTo>
                <a:lnTo>
                  <a:pt x="813492" y="47989"/>
                </a:lnTo>
                <a:cubicBezTo>
                  <a:pt x="813540" y="46160"/>
                  <a:pt x="814177" y="44632"/>
                  <a:pt x="815404" y="43405"/>
                </a:cubicBezTo>
                <a:cubicBezTo>
                  <a:pt x="816631" y="42178"/>
                  <a:pt x="818159" y="41541"/>
                  <a:pt x="819988" y="41493"/>
                </a:cubicBezTo>
                <a:lnTo>
                  <a:pt x="828789" y="41493"/>
                </a:lnTo>
                <a:lnTo>
                  <a:pt x="828789" y="31016"/>
                </a:lnTo>
                <a:cubicBezTo>
                  <a:pt x="828658" y="20280"/>
                  <a:pt x="831435" y="12413"/>
                  <a:pt x="837119" y="7415"/>
                </a:cubicBezTo>
                <a:cubicBezTo>
                  <a:pt x="842803" y="2416"/>
                  <a:pt x="852180" y="-55"/>
                  <a:pt x="865251" y="2"/>
                </a:cubicBezTo>
                <a:close/>
                <a:moveTo>
                  <a:pt x="582930" y="2"/>
                </a:moveTo>
                <a:cubicBezTo>
                  <a:pt x="587880" y="98"/>
                  <a:pt x="592019" y="1687"/>
                  <a:pt x="595346" y="4769"/>
                </a:cubicBezTo>
                <a:cubicBezTo>
                  <a:pt x="598672" y="7852"/>
                  <a:pt x="600401" y="11850"/>
                  <a:pt x="600532" y="16766"/>
                </a:cubicBezTo>
                <a:cubicBezTo>
                  <a:pt x="600401" y="21682"/>
                  <a:pt x="598672" y="25681"/>
                  <a:pt x="595346" y="28763"/>
                </a:cubicBezTo>
                <a:cubicBezTo>
                  <a:pt x="592019" y="31845"/>
                  <a:pt x="587880" y="33434"/>
                  <a:pt x="582930" y="33530"/>
                </a:cubicBezTo>
                <a:cubicBezTo>
                  <a:pt x="577988" y="33434"/>
                  <a:pt x="573884" y="31845"/>
                  <a:pt x="570619" y="28763"/>
                </a:cubicBezTo>
                <a:cubicBezTo>
                  <a:pt x="567353" y="25681"/>
                  <a:pt x="565659" y="21682"/>
                  <a:pt x="565537" y="16766"/>
                </a:cubicBezTo>
                <a:cubicBezTo>
                  <a:pt x="565659" y="11850"/>
                  <a:pt x="567353" y="7852"/>
                  <a:pt x="570619" y="4769"/>
                </a:cubicBezTo>
                <a:cubicBezTo>
                  <a:pt x="573884" y="1687"/>
                  <a:pt x="577988" y="98"/>
                  <a:pt x="582930" y="2"/>
                </a:cubicBezTo>
                <a:close/>
                <a:moveTo>
                  <a:pt x="531876" y="2"/>
                </a:moveTo>
                <a:cubicBezTo>
                  <a:pt x="538197" y="-33"/>
                  <a:pt x="542947" y="456"/>
                  <a:pt x="546125" y="1469"/>
                </a:cubicBezTo>
                <a:cubicBezTo>
                  <a:pt x="548395" y="2198"/>
                  <a:pt x="549984" y="3202"/>
                  <a:pt x="550893" y="4481"/>
                </a:cubicBezTo>
                <a:cubicBezTo>
                  <a:pt x="551801" y="5760"/>
                  <a:pt x="552237" y="7340"/>
                  <a:pt x="552202" y="9222"/>
                </a:cubicBezTo>
                <a:lnTo>
                  <a:pt x="552202" y="16766"/>
                </a:lnTo>
                <a:cubicBezTo>
                  <a:pt x="552211" y="18486"/>
                  <a:pt x="551774" y="19918"/>
                  <a:pt x="550893" y="21062"/>
                </a:cubicBezTo>
                <a:cubicBezTo>
                  <a:pt x="550011" y="22205"/>
                  <a:pt x="548631" y="22799"/>
                  <a:pt x="546754" y="22843"/>
                </a:cubicBezTo>
                <a:cubicBezTo>
                  <a:pt x="545344" y="22791"/>
                  <a:pt x="543344" y="22581"/>
                  <a:pt x="540755" y="22214"/>
                </a:cubicBezTo>
                <a:cubicBezTo>
                  <a:pt x="538167" y="21847"/>
                  <a:pt x="535905" y="21638"/>
                  <a:pt x="533971" y="21586"/>
                </a:cubicBezTo>
                <a:cubicBezTo>
                  <a:pt x="531391" y="21599"/>
                  <a:pt x="529584" y="22306"/>
                  <a:pt x="528549" y="23707"/>
                </a:cubicBezTo>
                <a:cubicBezTo>
                  <a:pt x="527515" y="25109"/>
                  <a:pt x="527017" y="27126"/>
                  <a:pt x="527056" y="29758"/>
                </a:cubicBezTo>
                <a:lnTo>
                  <a:pt x="527056" y="41493"/>
                </a:lnTo>
                <a:lnTo>
                  <a:pt x="540887" y="41493"/>
                </a:lnTo>
                <a:cubicBezTo>
                  <a:pt x="542716" y="41541"/>
                  <a:pt x="544244" y="42178"/>
                  <a:pt x="545470" y="43405"/>
                </a:cubicBezTo>
                <a:cubicBezTo>
                  <a:pt x="546697" y="44632"/>
                  <a:pt x="547335" y="46160"/>
                  <a:pt x="547383" y="47989"/>
                </a:cubicBezTo>
                <a:lnTo>
                  <a:pt x="547383" y="56161"/>
                </a:lnTo>
                <a:cubicBezTo>
                  <a:pt x="547335" y="57899"/>
                  <a:pt x="546697" y="59401"/>
                  <a:pt x="545470" y="60667"/>
                </a:cubicBezTo>
                <a:cubicBezTo>
                  <a:pt x="544244" y="61933"/>
                  <a:pt x="542716" y="62596"/>
                  <a:pt x="540887" y="62657"/>
                </a:cubicBezTo>
                <a:lnTo>
                  <a:pt x="527056" y="62657"/>
                </a:lnTo>
                <a:lnTo>
                  <a:pt x="527056" y="141448"/>
                </a:lnTo>
                <a:cubicBezTo>
                  <a:pt x="526995" y="143277"/>
                  <a:pt x="526331" y="144805"/>
                  <a:pt x="525065" y="146032"/>
                </a:cubicBezTo>
                <a:cubicBezTo>
                  <a:pt x="523799" y="147259"/>
                  <a:pt x="522298" y="147896"/>
                  <a:pt x="520560" y="147944"/>
                </a:cubicBezTo>
                <a:lnTo>
                  <a:pt x="501910" y="147944"/>
                </a:lnTo>
                <a:cubicBezTo>
                  <a:pt x="500081" y="147896"/>
                  <a:pt x="498553" y="147259"/>
                  <a:pt x="497326" y="146032"/>
                </a:cubicBezTo>
                <a:cubicBezTo>
                  <a:pt x="496100" y="144805"/>
                  <a:pt x="495462" y="143277"/>
                  <a:pt x="495414" y="141448"/>
                </a:cubicBezTo>
                <a:lnTo>
                  <a:pt x="495414" y="62657"/>
                </a:lnTo>
                <a:lnTo>
                  <a:pt x="486613" y="62657"/>
                </a:lnTo>
                <a:cubicBezTo>
                  <a:pt x="484784" y="62596"/>
                  <a:pt x="483256" y="61933"/>
                  <a:pt x="482029" y="60667"/>
                </a:cubicBezTo>
                <a:cubicBezTo>
                  <a:pt x="480802" y="59401"/>
                  <a:pt x="480165" y="57899"/>
                  <a:pt x="480117" y="56161"/>
                </a:cubicBezTo>
                <a:lnTo>
                  <a:pt x="480117" y="47989"/>
                </a:lnTo>
                <a:cubicBezTo>
                  <a:pt x="480165" y="46160"/>
                  <a:pt x="480802" y="44632"/>
                  <a:pt x="482029" y="43405"/>
                </a:cubicBezTo>
                <a:cubicBezTo>
                  <a:pt x="483256" y="42178"/>
                  <a:pt x="484784" y="41541"/>
                  <a:pt x="486613" y="41493"/>
                </a:cubicBezTo>
                <a:lnTo>
                  <a:pt x="495414" y="41493"/>
                </a:lnTo>
                <a:lnTo>
                  <a:pt x="495414" y="31016"/>
                </a:lnTo>
                <a:cubicBezTo>
                  <a:pt x="495283" y="20280"/>
                  <a:pt x="498060" y="12413"/>
                  <a:pt x="503744" y="7415"/>
                </a:cubicBezTo>
                <a:cubicBezTo>
                  <a:pt x="509428" y="2416"/>
                  <a:pt x="518805" y="-55"/>
                  <a:pt x="531876" y="2"/>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7000"/>
              </a:lnSpc>
            </a:pPr>
            <a:endParaRPr lang="en-US" dirty="0">
              <a:solidFill>
                <a:schemeClr val="tx1"/>
              </a:solidFill>
            </a:endParaRPr>
          </a:p>
        </p:txBody>
      </p:sp>
      <p:grpSp>
        <p:nvGrpSpPr>
          <p:cNvPr id="10" name="Group 9"/>
          <p:cNvGrpSpPr>
            <a:grpSpLocks/>
          </p:cNvGrpSpPr>
          <p:nvPr/>
        </p:nvGrpSpPr>
        <p:grpSpPr>
          <a:xfrm>
            <a:off x="491447" y="2863391"/>
            <a:ext cx="7954231" cy="1745534"/>
            <a:chOff x="491447" y="2863391"/>
            <a:chExt cx="7954231" cy="1745534"/>
          </a:xfrm>
        </p:grpSpPr>
        <p:grpSp>
          <p:nvGrpSpPr>
            <p:cNvPr id="6" name="Group 5"/>
            <p:cNvGrpSpPr/>
            <p:nvPr/>
          </p:nvGrpSpPr>
          <p:grpSpPr>
            <a:xfrm>
              <a:off x="491447" y="2863391"/>
              <a:ext cx="7774285" cy="465201"/>
              <a:chOff x="491447" y="2863391"/>
              <a:chExt cx="7774285" cy="465201"/>
            </a:xfrm>
          </p:grpSpPr>
          <p:sp>
            <p:nvSpPr>
              <p:cNvPr id="48" name="TextBox 47">
                <a:extLst>
                  <a:ext uri="{FF2B5EF4-FFF2-40B4-BE49-F238E27FC236}">
                    <a16:creationId xmlns:a16="http://schemas.microsoft.com/office/drawing/2014/main" id="{76096D76-2F9C-4CB7-906F-B9B21E3EE2E1}"/>
                  </a:ext>
                </a:extLst>
              </p:cNvPr>
              <p:cNvSpPr txBox="1"/>
              <p:nvPr/>
            </p:nvSpPr>
            <p:spPr>
              <a:xfrm>
                <a:off x="491447" y="2863391"/>
                <a:ext cx="2000536" cy="376161"/>
              </a:xfrm>
              <a:custGeom>
                <a:avLst/>
                <a:gdLst/>
                <a:ahLst/>
                <a:cxnLst/>
                <a:rect l="l" t="t" r="r" b="b"/>
                <a:pathLst>
                  <a:path w="2000536" h="376161">
                    <a:moveTo>
                      <a:pt x="1083469" y="150353"/>
                    </a:moveTo>
                    <a:cubicBezTo>
                      <a:pt x="1067557" y="150069"/>
                      <a:pt x="1054984" y="156661"/>
                      <a:pt x="1045750" y="170129"/>
                    </a:cubicBezTo>
                    <a:cubicBezTo>
                      <a:pt x="1036517" y="183597"/>
                      <a:pt x="1031802" y="205643"/>
                      <a:pt x="1031606" y="236268"/>
                    </a:cubicBezTo>
                    <a:cubicBezTo>
                      <a:pt x="1031475" y="263499"/>
                      <a:pt x="1035535" y="284737"/>
                      <a:pt x="1043786" y="299984"/>
                    </a:cubicBezTo>
                    <a:cubicBezTo>
                      <a:pt x="1052037" y="315231"/>
                      <a:pt x="1065265" y="322980"/>
                      <a:pt x="1083469" y="323231"/>
                    </a:cubicBezTo>
                    <a:cubicBezTo>
                      <a:pt x="1101925" y="322980"/>
                      <a:pt x="1115306" y="315231"/>
                      <a:pt x="1123611" y="299984"/>
                    </a:cubicBezTo>
                    <a:cubicBezTo>
                      <a:pt x="1131917" y="284737"/>
                      <a:pt x="1135999" y="263499"/>
                      <a:pt x="1135857" y="236268"/>
                    </a:cubicBezTo>
                    <a:cubicBezTo>
                      <a:pt x="1135671" y="205643"/>
                      <a:pt x="1130934" y="183597"/>
                      <a:pt x="1121647" y="170129"/>
                    </a:cubicBezTo>
                    <a:cubicBezTo>
                      <a:pt x="1112359" y="156661"/>
                      <a:pt x="1099633" y="150069"/>
                      <a:pt x="1083469" y="150353"/>
                    </a:cubicBezTo>
                    <a:close/>
                    <a:moveTo>
                      <a:pt x="144590" y="150353"/>
                    </a:moveTo>
                    <a:cubicBezTo>
                      <a:pt x="122838" y="150047"/>
                      <a:pt x="106489" y="156552"/>
                      <a:pt x="95542" y="169867"/>
                    </a:cubicBezTo>
                    <a:cubicBezTo>
                      <a:pt x="84595" y="183182"/>
                      <a:pt x="79117" y="205141"/>
                      <a:pt x="79106" y="235744"/>
                    </a:cubicBezTo>
                    <a:cubicBezTo>
                      <a:pt x="79542" y="268726"/>
                      <a:pt x="85217" y="291690"/>
                      <a:pt x="96132" y="304634"/>
                    </a:cubicBezTo>
                    <a:cubicBezTo>
                      <a:pt x="107046" y="317578"/>
                      <a:pt x="120579" y="323777"/>
                      <a:pt x="136732" y="323231"/>
                    </a:cubicBezTo>
                    <a:cubicBezTo>
                      <a:pt x="148628" y="323122"/>
                      <a:pt x="158756" y="321769"/>
                      <a:pt x="167117" y="319171"/>
                    </a:cubicBezTo>
                    <a:cubicBezTo>
                      <a:pt x="175477" y="316574"/>
                      <a:pt x="179842" y="313387"/>
                      <a:pt x="180213" y="309611"/>
                    </a:cubicBezTo>
                    <a:lnTo>
                      <a:pt x="180213" y="165545"/>
                    </a:lnTo>
                    <a:cubicBezTo>
                      <a:pt x="179941" y="160328"/>
                      <a:pt x="176426" y="156486"/>
                      <a:pt x="169671" y="154020"/>
                    </a:cubicBezTo>
                    <a:cubicBezTo>
                      <a:pt x="162915" y="151553"/>
                      <a:pt x="154555" y="150331"/>
                      <a:pt x="144590" y="150353"/>
                    </a:cubicBezTo>
                    <a:close/>
                    <a:moveTo>
                      <a:pt x="1657684" y="149305"/>
                    </a:moveTo>
                    <a:cubicBezTo>
                      <a:pt x="1644783" y="149141"/>
                      <a:pt x="1634044" y="153790"/>
                      <a:pt x="1625466" y="163253"/>
                    </a:cubicBezTo>
                    <a:cubicBezTo>
                      <a:pt x="1616887" y="172715"/>
                      <a:pt x="1612434" y="187973"/>
                      <a:pt x="1612107" y="209026"/>
                    </a:cubicBezTo>
                    <a:lnTo>
                      <a:pt x="1704309" y="209026"/>
                    </a:lnTo>
                    <a:cubicBezTo>
                      <a:pt x="1704756" y="194162"/>
                      <a:pt x="1701766" y="180672"/>
                      <a:pt x="1695337" y="168557"/>
                    </a:cubicBezTo>
                    <a:cubicBezTo>
                      <a:pt x="1688909" y="156443"/>
                      <a:pt x="1676358" y="150025"/>
                      <a:pt x="1657684" y="149305"/>
                    </a:cubicBezTo>
                    <a:close/>
                    <a:moveTo>
                      <a:pt x="1263063" y="103728"/>
                    </a:moveTo>
                    <a:lnTo>
                      <a:pt x="1313879" y="103728"/>
                    </a:lnTo>
                    <a:cubicBezTo>
                      <a:pt x="1318103" y="103782"/>
                      <a:pt x="1321704" y="105245"/>
                      <a:pt x="1324684" y="108115"/>
                    </a:cubicBezTo>
                    <a:cubicBezTo>
                      <a:pt x="1327663" y="110985"/>
                      <a:pt x="1329824" y="114936"/>
                      <a:pt x="1331167" y="119968"/>
                    </a:cubicBezTo>
                    <a:lnTo>
                      <a:pt x="1376744" y="301752"/>
                    </a:lnTo>
                    <a:lnTo>
                      <a:pt x="1377268" y="301752"/>
                    </a:lnTo>
                    <a:lnTo>
                      <a:pt x="1427560" y="119968"/>
                    </a:lnTo>
                    <a:cubicBezTo>
                      <a:pt x="1428859" y="115395"/>
                      <a:pt x="1430845" y="111575"/>
                      <a:pt x="1433519" y="108508"/>
                    </a:cubicBezTo>
                    <a:cubicBezTo>
                      <a:pt x="1436193" y="105441"/>
                      <a:pt x="1439620" y="103848"/>
                      <a:pt x="1443800" y="103728"/>
                    </a:cubicBezTo>
                    <a:lnTo>
                      <a:pt x="1485186" y="103728"/>
                    </a:lnTo>
                    <a:cubicBezTo>
                      <a:pt x="1488798" y="103728"/>
                      <a:pt x="1492182" y="105037"/>
                      <a:pt x="1495336" y="107657"/>
                    </a:cubicBezTo>
                    <a:cubicBezTo>
                      <a:pt x="1498490" y="110276"/>
                      <a:pt x="1500171" y="114205"/>
                      <a:pt x="1500378" y="119444"/>
                    </a:cubicBezTo>
                    <a:cubicBezTo>
                      <a:pt x="1500411" y="120655"/>
                      <a:pt x="1500215" y="122292"/>
                      <a:pt x="1499789" y="124355"/>
                    </a:cubicBezTo>
                    <a:cubicBezTo>
                      <a:pt x="1499363" y="126418"/>
                      <a:pt x="1498512" y="129496"/>
                      <a:pt x="1497235" y="133589"/>
                    </a:cubicBezTo>
                    <a:lnTo>
                      <a:pt x="1432799" y="330566"/>
                    </a:lnTo>
                    <a:cubicBezTo>
                      <a:pt x="1426872" y="347821"/>
                      <a:pt x="1418425" y="359804"/>
                      <a:pt x="1407456" y="366516"/>
                    </a:cubicBezTo>
                    <a:cubicBezTo>
                      <a:pt x="1396487" y="373229"/>
                      <a:pt x="1383980" y="376437"/>
                      <a:pt x="1369933" y="376143"/>
                    </a:cubicBezTo>
                    <a:cubicBezTo>
                      <a:pt x="1356171" y="376361"/>
                      <a:pt x="1344144" y="373043"/>
                      <a:pt x="1333852" y="366189"/>
                    </a:cubicBezTo>
                    <a:cubicBezTo>
                      <a:pt x="1323560" y="359335"/>
                      <a:pt x="1315854" y="347635"/>
                      <a:pt x="1310736" y="331089"/>
                    </a:cubicBezTo>
                    <a:lnTo>
                      <a:pt x="1251014" y="133589"/>
                    </a:lnTo>
                    <a:cubicBezTo>
                      <a:pt x="1249966" y="130478"/>
                      <a:pt x="1249180" y="127793"/>
                      <a:pt x="1248656" y="125534"/>
                    </a:cubicBezTo>
                    <a:cubicBezTo>
                      <a:pt x="1248133" y="123275"/>
                      <a:pt x="1247871" y="121245"/>
                      <a:pt x="1247871" y="119444"/>
                    </a:cubicBezTo>
                    <a:cubicBezTo>
                      <a:pt x="1248045" y="113976"/>
                      <a:pt x="1249661" y="109981"/>
                      <a:pt x="1252717" y="107460"/>
                    </a:cubicBezTo>
                    <a:cubicBezTo>
                      <a:pt x="1255772" y="104939"/>
                      <a:pt x="1259221" y="103695"/>
                      <a:pt x="1263063" y="103728"/>
                    </a:cubicBezTo>
                    <a:close/>
                    <a:moveTo>
                      <a:pt x="343139" y="103728"/>
                    </a:moveTo>
                    <a:lnTo>
                      <a:pt x="389764" y="103728"/>
                    </a:lnTo>
                    <a:cubicBezTo>
                      <a:pt x="394107" y="103848"/>
                      <a:pt x="397862" y="105441"/>
                      <a:pt x="401027" y="108508"/>
                    </a:cubicBezTo>
                    <a:cubicBezTo>
                      <a:pt x="404192" y="111575"/>
                      <a:pt x="405851" y="115395"/>
                      <a:pt x="406004" y="119968"/>
                    </a:cubicBezTo>
                    <a:lnTo>
                      <a:pt x="406004" y="353616"/>
                    </a:lnTo>
                    <a:cubicBezTo>
                      <a:pt x="405851" y="358189"/>
                      <a:pt x="404192" y="362009"/>
                      <a:pt x="401027" y="365076"/>
                    </a:cubicBezTo>
                    <a:cubicBezTo>
                      <a:pt x="397862" y="368143"/>
                      <a:pt x="394107" y="369736"/>
                      <a:pt x="389764" y="369856"/>
                    </a:cubicBezTo>
                    <a:lnTo>
                      <a:pt x="343139" y="369856"/>
                    </a:lnTo>
                    <a:cubicBezTo>
                      <a:pt x="338566" y="369736"/>
                      <a:pt x="334746" y="368143"/>
                      <a:pt x="331679" y="365076"/>
                    </a:cubicBezTo>
                    <a:cubicBezTo>
                      <a:pt x="328612" y="362009"/>
                      <a:pt x="327019" y="358189"/>
                      <a:pt x="326898" y="353616"/>
                    </a:cubicBezTo>
                    <a:lnTo>
                      <a:pt x="326898" y="119968"/>
                    </a:lnTo>
                    <a:cubicBezTo>
                      <a:pt x="327019" y="115395"/>
                      <a:pt x="328612" y="111575"/>
                      <a:pt x="331679" y="108508"/>
                    </a:cubicBezTo>
                    <a:cubicBezTo>
                      <a:pt x="334746" y="105441"/>
                      <a:pt x="338566" y="103848"/>
                      <a:pt x="343139" y="103728"/>
                    </a:cubicBezTo>
                    <a:close/>
                    <a:moveTo>
                      <a:pt x="1960722" y="97441"/>
                    </a:moveTo>
                    <a:cubicBezTo>
                      <a:pt x="1973382" y="97583"/>
                      <a:pt x="1983161" y="100835"/>
                      <a:pt x="1990059" y="107198"/>
                    </a:cubicBezTo>
                    <a:cubicBezTo>
                      <a:pt x="1996957" y="113561"/>
                      <a:pt x="2000449" y="122183"/>
                      <a:pt x="2000536" y="133065"/>
                    </a:cubicBezTo>
                    <a:cubicBezTo>
                      <a:pt x="2000427" y="144470"/>
                      <a:pt x="1997240" y="153485"/>
                      <a:pt x="1990976" y="160110"/>
                    </a:cubicBezTo>
                    <a:cubicBezTo>
                      <a:pt x="1984711" y="166735"/>
                      <a:pt x="1976023" y="170118"/>
                      <a:pt x="1964913" y="170260"/>
                    </a:cubicBezTo>
                    <a:cubicBezTo>
                      <a:pt x="1955647" y="169736"/>
                      <a:pt x="1947854" y="167640"/>
                      <a:pt x="1941535" y="163973"/>
                    </a:cubicBezTo>
                    <a:cubicBezTo>
                      <a:pt x="1935216" y="160306"/>
                      <a:pt x="1929387" y="158211"/>
                      <a:pt x="1924051" y="157687"/>
                    </a:cubicBezTo>
                    <a:cubicBezTo>
                      <a:pt x="1919838" y="157730"/>
                      <a:pt x="1916607" y="158953"/>
                      <a:pt x="1914359" y="161354"/>
                    </a:cubicBezTo>
                    <a:cubicBezTo>
                      <a:pt x="1912110" y="163755"/>
                      <a:pt x="1910975" y="167073"/>
                      <a:pt x="1910954" y="171308"/>
                    </a:cubicBezTo>
                    <a:lnTo>
                      <a:pt x="1910954" y="353616"/>
                    </a:lnTo>
                    <a:cubicBezTo>
                      <a:pt x="1910801" y="358189"/>
                      <a:pt x="1909142" y="362009"/>
                      <a:pt x="1905977" y="365076"/>
                    </a:cubicBezTo>
                    <a:cubicBezTo>
                      <a:pt x="1902812" y="368143"/>
                      <a:pt x="1899057" y="369736"/>
                      <a:pt x="1894714" y="369856"/>
                    </a:cubicBezTo>
                    <a:lnTo>
                      <a:pt x="1848089" y="369856"/>
                    </a:lnTo>
                    <a:cubicBezTo>
                      <a:pt x="1843516" y="369736"/>
                      <a:pt x="1839696" y="368143"/>
                      <a:pt x="1836629" y="365076"/>
                    </a:cubicBezTo>
                    <a:cubicBezTo>
                      <a:pt x="1833562" y="362009"/>
                      <a:pt x="1831969" y="358189"/>
                      <a:pt x="1831848" y="353616"/>
                    </a:cubicBezTo>
                    <a:lnTo>
                      <a:pt x="1831848" y="119968"/>
                    </a:lnTo>
                    <a:cubicBezTo>
                      <a:pt x="1831969" y="115395"/>
                      <a:pt x="1833562" y="111575"/>
                      <a:pt x="1836629" y="108508"/>
                    </a:cubicBezTo>
                    <a:cubicBezTo>
                      <a:pt x="1839696" y="105441"/>
                      <a:pt x="1843516" y="103848"/>
                      <a:pt x="1848089" y="103728"/>
                    </a:cubicBezTo>
                    <a:lnTo>
                      <a:pt x="1889999" y="103728"/>
                    </a:lnTo>
                    <a:cubicBezTo>
                      <a:pt x="1894342" y="103848"/>
                      <a:pt x="1898097" y="105441"/>
                      <a:pt x="1901262" y="108508"/>
                    </a:cubicBezTo>
                    <a:cubicBezTo>
                      <a:pt x="1904427" y="111575"/>
                      <a:pt x="1906086" y="115395"/>
                      <a:pt x="1906239" y="119968"/>
                    </a:cubicBezTo>
                    <a:lnTo>
                      <a:pt x="1906239" y="126254"/>
                    </a:lnTo>
                    <a:cubicBezTo>
                      <a:pt x="1912962" y="118178"/>
                      <a:pt x="1921126" y="111411"/>
                      <a:pt x="1930730" y="105954"/>
                    </a:cubicBezTo>
                    <a:cubicBezTo>
                      <a:pt x="1940334" y="100497"/>
                      <a:pt x="1950332" y="97659"/>
                      <a:pt x="1960722" y="97441"/>
                    </a:cubicBezTo>
                    <a:close/>
                    <a:moveTo>
                      <a:pt x="1659779" y="97441"/>
                    </a:moveTo>
                    <a:cubicBezTo>
                      <a:pt x="1697869" y="98009"/>
                      <a:pt x="1727643" y="110494"/>
                      <a:pt x="1749100" y="134898"/>
                    </a:cubicBezTo>
                    <a:cubicBezTo>
                      <a:pt x="1770557" y="159302"/>
                      <a:pt x="1781471" y="192219"/>
                      <a:pt x="1781842" y="233649"/>
                    </a:cubicBezTo>
                    <a:cubicBezTo>
                      <a:pt x="1782039" y="240437"/>
                      <a:pt x="1780860" y="245458"/>
                      <a:pt x="1778306" y="248710"/>
                    </a:cubicBezTo>
                    <a:cubicBezTo>
                      <a:pt x="1775752" y="251962"/>
                      <a:pt x="1770644" y="253578"/>
                      <a:pt x="1762983" y="253556"/>
                    </a:cubicBezTo>
                    <a:lnTo>
                      <a:pt x="1612631" y="253556"/>
                    </a:lnTo>
                    <a:cubicBezTo>
                      <a:pt x="1612980" y="276606"/>
                      <a:pt x="1618699" y="293894"/>
                      <a:pt x="1629788" y="305420"/>
                    </a:cubicBezTo>
                    <a:cubicBezTo>
                      <a:pt x="1640876" y="316945"/>
                      <a:pt x="1655239" y="322707"/>
                      <a:pt x="1672876" y="322707"/>
                    </a:cubicBezTo>
                    <a:cubicBezTo>
                      <a:pt x="1685035" y="322410"/>
                      <a:pt x="1695060" y="320327"/>
                      <a:pt x="1702951" y="316460"/>
                    </a:cubicBezTo>
                    <a:cubicBezTo>
                      <a:pt x="1710841" y="312592"/>
                      <a:pt x="1718033" y="308724"/>
                      <a:pt x="1724526" y="304857"/>
                    </a:cubicBezTo>
                    <a:cubicBezTo>
                      <a:pt x="1731020" y="300989"/>
                      <a:pt x="1738251" y="298907"/>
                      <a:pt x="1746219" y="298609"/>
                    </a:cubicBezTo>
                    <a:cubicBezTo>
                      <a:pt x="1754688" y="298806"/>
                      <a:pt x="1761324" y="301556"/>
                      <a:pt x="1766126" y="306860"/>
                    </a:cubicBezTo>
                    <a:cubicBezTo>
                      <a:pt x="1770928" y="312164"/>
                      <a:pt x="1773373" y="318844"/>
                      <a:pt x="1773460" y="326898"/>
                    </a:cubicBezTo>
                    <a:cubicBezTo>
                      <a:pt x="1773176" y="341098"/>
                      <a:pt x="1764183" y="352776"/>
                      <a:pt x="1746481" y="361933"/>
                    </a:cubicBezTo>
                    <a:cubicBezTo>
                      <a:pt x="1728778" y="371089"/>
                      <a:pt x="1704069" y="375826"/>
                      <a:pt x="1672352" y="376143"/>
                    </a:cubicBezTo>
                    <a:cubicBezTo>
                      <a:pt x="1627605" y="375881"/>
                      <a:pt x="1593334" y="363832"/>
                      <a:pt x="1569542" y="339995"/>
                    </a:cubicBezTo>
                    <a:cubicBezTo>
                      <a:pt x="1545749" y="316159"/>
                      <a:pt x="1533744" y="282107"/>
                      <a:pt x="1533525" y="237840"/>
                    </a:cubicBezTo>
                    <a:cubicBezTo>
                      <a:pt x="1534104" y="193485"/>
                      <a:pt x="1545782" y="159084"/>
                      <a:pt x="1568559" y="134636"/>
                    </a:cubicBezTo>
                    <a:cubicBezTo>
                      <a:pt x="1591337" y="110189"/>
                      <a:pt x="1621744" y="97790"/>
                      <a:pt x="1659779" y="97441"/>
                    </a:cubicBezTo>
                    <a:close/>
                    <a:moveTo>
                      <a:pt x="1083469" y="97441"/>
                    </a:moveTo>
                    <a:cubicBezTo>
                      <a:pt x="1122640" y="97397"/>
                      <a:pt x="1154181" y="108879"/>
                      <a:pt x="1178094" y="131886"/>
                    </a:cubicBezTo>
                    <a:cubicBezTo>
                      <a:pt x="1202007" y="154893"/>
                      <a:pt x="1214296" y="189687"/>
                      <a:pt x="1214962" y="236268"/>
                    </a:cubicBezTo>
                    <a:cubicBezTo>
                      <a:pt x="1214296" y="282205"/>
                      <a:pt x="1202007" y="316978"/>
                      <a:pt x="1178094" y="340585"/>
                    </a:cubicBezTo>
                    <a:cubicBezTo>
                      <a:pt x="1154181" y="364192"/>
                      <a:pt x="1122640" y="376044"/>
                      <a:pt x="1083469" y="376143"/>
                    </a:cubicBezTo>
                    <a:cubicBezTo>
                      <a:pt x="1044550" y="376208"/>
                      <a:pt x="1013161" y="364683"/>
                      <a:pt x="989303" y="341567"/>
                    </a:cubicBezTo>
                    <a:cubicBezTo>
                      <a:pt x="965445" y="318451"/>
                      <a:pt x="953177" y="283351"/>
                      <a:pt x="952501" y="236268"/>
                    </a:cubicBezTo>
                    <a:cubicBezTo>
                      <a:pt x="953177" y="189687"/>
                      <a:pt x="965445" y="154893"/>
                      <a:pt x="989303" y="131886"/>
                    </a:cubicBezTo>
                    <a:cubicBezTo>
                      <a:pt x="1013161" y="108879"/>
                      <a:pt x="1044550" y="97397"/>
                      <a:pt x="1083469" y="97441"/>
                    </a:cubicBezTo>
                    <a:close/>
                    <a:moveTo>
                      <a:pt x="841582" y="97441"/>
                    </a:moveTo>
                    <a:cubicBezTo>
                      <a:pt x="867874" y="97714"/>
                      <a:pt x="888763" y="102276"/>
                      <a:pt x="904250" y="111127"/>
                    </a:cubicBezTo>
                    <a:cubicBezTo>
                      <a:pt x="919737" y="119979"/>
                      <a:pt x="927661" y="131482"/>
                      <a:pt x="928021" y="145638"/>
                    </a:cubicBezTo>
                    <a:cubicBezTo>
                      <a:pt x="927934" y="152939"/>
                      <a:pt x="925620" y="159160"/>
                      <a:pt x="921080" y="164301"/>
                    </a:cubicBezTo>
                    <a:cubicBezTo>
                      <a:pt x="916540" y="169441"/>
                      <a:pt x="910297" y="172126"/>
                      <a:pt x="902351" y="172355"/>
                    </a:cubicBezTo>
                    <a:cubicBezTo>
                      <a:pt x="893759" y="172090"/>
                      <a:pt x="886787" y="170234"/>
                      <a:pt x="881435" y="166787"/>
                    </a:cubicBezTo>
                    <a:cubicBezTo>
                      <a:pt x="876083" y="163339"/>
                      <a:pt x="870469" y="159892"/>
                      <a:pt x="864594" y="156445"/>
                    </a:cubicBezTo>
                    <a:cubicBezTo>
                      <a:pt x="858718" y="152998"/>
                      <a:pt x="850698" y="151142"/>
                      <a:pt x="840534" y="150876"/>
                    </a:cubicBezTo>
                    <a:cubicBezTo>
                      <a:pt x="822362" y="151029"/>
                      <a:pt x="808414" y="158582"/>
                      <a:pt x="798690" y="173534"/>
                    </a:cubicBezTo>
                    <a:cubicBezTo>
                      <a:pt x="788965" y="188486"/>
                      <a:pt x="784054" y="209921"/>
                      <a:pt x="783956" y="237840"/>
                    </a:cubicBezTo>
                    <a:cubicBezTo>
                      <a:pt x="783814" y="262920"/>
                      <a:pt x="788157" y="283220"/>
                      <a:pt x="796987" y="298740"/>
                    </a:cubicBezTo>
                    <a:cubicBezTo>
                      <a:pt x="805817" y="314260"/>
                      <a:pt x="819983" y="322249"/>
                      <a:pt x="839486" y="322707"/>
                    </a:cubicBezTo>
                    <a:cubicBezTo>
                      <a:pt x="849236" y="322436"/>
                      <a:pt x="857385" y="320534"/>
                      <a:pt x="863934" y="317003"/>
                    </a:cubicBezTo>
                    <a:cubicBezTo>
                      <a:pt x="870482" y="313472"/>
                      <a:pt x="876652" y="309940"/>
                      <a:pt x="882444" y="306409"/>
                    </a:cubicBezTo>
                    <a:cubicBezTo>
                      <a:pt x="888236" y="302878"/>
                      <a:pt x="894872" y="300976"/>
                      <a:pt x="902351" y="300705"/>
                    </a:cubicBezTo>
                    <a:cubicBezTo>
                      <a:pt x="910821" y="300879"/>
                      <a:pt x="917456" y="303411"/>
                      <a:pt x="922259" y="308301"/>
                    </a:cubicBezTo>
                    <a:cubicBezTo>
                      <a:pt x="927061" y="313190"/>
                      <a:pt x="929506" y="319390"/>
                      <a:pt x="929593" y="326898"/>
                    </a:cubicBezTo>
                    <a:cubicBezTo>
                      <a:pt x="929200" y="341098"/>
                      <a:pt x="920687" y="352776"/>
                      <a:pt x="904054" y="361933"/>
                    </a:cubicBezTo>
                    <a:cubicBezTo>
                      <a:pt x="887421" y="371089"/>
                      <a:pt x="865025" y="375826"/>
                      <a:pt x="836867" y="376143"/>
                    </a:cubicBezTo>
                    <a:cubicBezTo>
                      <a:pt x="795612" y="375870"/>
                      <a:pt x="763394" y="363973"/>
                      <a:pt x="740212" y="340454"/>
                    </a:cubicBezTo>
                    <a:cubicBezTo>
                      <a:pt x="717031" y="316934"/>
                      <a:pt x="705243" y="283428"/>
                      <a:pt x="704851" y="239935"/>
                    </a:cubicBezTo>
                    <a:cubicBezTo>
                      <a:pt x="705538" y="193889"/>
                      <a:pt x="718308" y="158680"/>
                      <a:pt x="743159" y="134309"/>
                    </a:cubicBezTo>
                    <a:cubicBezTo>
                      <a:pt x="768010" y="109938"/>
                      <a:pt x="800818" y="97648"/>
                      <a:pt x="841582" y="97441"/>
                    </a:cubicBezTo>
                    <a:close/>
                    <a:moveTo>
                      <a:pt x="573501" y="97441"/>
                    </a:moveTo>
                    <a:cubicBezTo>
                      <a:pt x="600819" y="97572"/>
                      <a:pt x="622407" y="101501"/>
                      <a:pt x="638265" y="109228"/>
                    </a:cubicBezTo>
                    <a:cubicBezTo>
                      <a:pt x="654123" y="116955"/>
                      <a:pt x="662221" y="127695"/>
                      <a:pt x="662559" y="141447"/>
                    </a:cubicBezTo>
                    <a:cubicBezTo>
                      <a:pt x="662472" y="150025"/>
                      <a:pt x="659896" y="157097"/>
                      <a:pt x="654832" y="162664"/>
                    </a:cubicBezTo>
                    <a:cubicBezTo>
                      <a:pt x="649768" y="168230"/>
                      <a:pt x="642740" y="171111"/>
                      <a:pt x="633746" y="171308"/>
                    </a:cubicBezTo>
                    <a:cubicBezTo>
                      <a:pt x="625044" y="171029"/>
                      <a:pt x="617943" y="169083"/>
                      <a:pt x="612442" y="165467"/>
                    </a:cubicBezTo>
                    <a:cubicBezTo>
                      <a:pt x="606941" y="161852"/>
                      <a:pt x="600771" y="158236"/>
                      <a:pt x="593932" y="154621"/>
                    </a:cubicBezTo>
                    <a:cubicBezTo>
                      <a:pt x="587092" y="151006"/>
                      <a:pt x="577313" y="149059"/>
                      <a:pt x="564595" y="148781"/>
                    </a:cubicBezTo>
                    <a:cubicBezTo>
                      <a:pt x="553113" y="148934"/>
                      <a:pt x="544644" y="151117"/>
                      <a:pt x="539187" y="155329"/>
                    </a:cubicBezTo>
                    <a:cubicBezTo>
                      <a:pt x="533730" y="159542"/>
                      <a:pt x="531023" y="164868"/>
                      <a:pt x="531067" y="171308"/>
                    </a:cubicBezTo>
                    <a:cubicBezTo>
                      <a:pt x="530848" y="178271"/>
                      <a:pt x="534297" y="183990"/>
                      <a:pt x="541413" y="188464"/>
                    </a:cubicBezTo>
                    <a:cubicBezTo>
                      <a:pt x="548529" y="192939"/>
                      <a:pt x="560622" y="196825"/>
                      <a:pt x="577692" y="200121"/>
                    </a:cubicBezTo>
                    <a:cubicBezTo>
                      <a:pt x="610401" y="206287"/>
                      <a:pt x="634827" y="215695"/>
                      <a:pt x="650969" y="228344"/>
                    </a:cubicBezTo>
                    <a:cubicBezTo>
                      <a:pt x="667111" y="240994"/>
                      <a:pt x="675165" y="259177"/>
                      <a:pt x="675132" y="282893"/>
                    </a:cubicBezTo>
                    <a:cubicBezTo>
                      <a:pt x="674652" y="311073"/>
                      <a:pt x="664218" y="333556"/>
                      <a:pt x="643831" y="350342"/>
                    </a:cubicBezTo>
                    <a:cubicBezTo>
                      <a:pt x="623444" y="367128"/>
                      <a:pt x="595984" y="375728"/>
                      <a:pt x="561452" y="376143"/>
                    </a:cubicBezTo>
                    <a:cubicBezTo>
                      <a:pt x="530205" y="375979"/>
                      <a:pt x="504819" y="371199"/>
                      <a:pt x="485293" y="361802"/>
                    </a:cubicBezTo>
                    <a:cubicBezTo>
                      <a:pt x="465768" y="352405"/>
                      <a:pt x="455705" y="339373"/>
                      <a:pt x="455105" y="322707"/>
                    </a:cubicBezTo>
                    <a:cubicBezTo>
                      <a:pt x="455280" y="314631"/>
                      <a:pt x="458205" y="307864"/>
                      <a:pt x="463880" y="302407"/>
                    </a:cubicBezTo>
                    <a:cubicBezTo>
                      <a:pt x="469555" y="296950"/>
                      <a:pt x="476933" y="294113"/>
                      <a:pt x="486014" y="293894"/>
                    </a:cubicBezTo>
                    <a:cubicBezTo>
                      <a:pt x="494690" y="294276"/>
                      <a:pt x="502600" y="296947"/>
                      <a:pt x="509743" y="301908"/>
                    </a:cubicBezTo>
                    <a:cubicBezTo>
                      <a:pt x="516887" y="306868"/>
                      <a:pt x="524641" y="311829"/>
                      <a:pt x="533007" y="316790"/>
                    </a:cubicBezTo>
                    <a:cubicBezTo>
                      <a:pt x="541373" y="321750"/>
                      <a:pt x="551728" y="324421"/>
                      <a:pt x="564071" y="324803"/>
                    </a:cubicBezTo>
                    <a:cubicBezTo>
                      <a:pt x="574428" y="324792"/>
                      <a:pt x="582658" y="322456"/>
                      <a:pt x="588759" y="317796"/>
                    </a:cubicBezTo>
                    <a:cubicBezTo>
                      <a:pt x="594860" y="313136"/>
                      <a:pt x="597981" y="306216"/>
                      <a:pt x="598123" y="297038"/>
                    </a:cubicBezTo>
                    <a:cubicBezTo>
                      <a:pt x="598418" y="287466"/>
                      <a:pt x="594685" y="279892"/>
                      <a:pt x="586925" y="274314"/>
                    </a:cubicBezTo>
                    <a:cubicBezTo>
                      <a:pt x="579165" y="268737"/>
                      <a:pt x="565610" y="264437"/>
                      <a:pt x="546259" y="261414"/>
                    </a:cubicBezTo>
                    <a:cubicBezTo>
                      <a:pt x="515896" y="256437"/>
                      <a:pt x="493195" y="247138"/>
                      <a:pt x="478155" y="233518"/>
                    </a:cubicBezTo>
                    <a:cubicBezTo>
                      <a:pt x="463116" y="219897"/>
                      <a:pt x="455607" y="201954"/>
                      <a:pt x="455629" y="179690"/>
                    </a:cubicBezTo>
                    <a:cubicBezTo>
                      <a:pt x="455563" y="154947"/>
                      <a:pt x="465255" y="135149"/>
                      <a:pt x="484704" y="120295"/>
                    </a:cubicBezTo>
                    <a:cubicBezTo>
                      <a:pt x="504153" y="105441"/>
                      <a:pt x="533752" y="97823"/>
                      <a:pt x="573501" y="97441"/>
                    </a:cubicBezTo>
                    <a:close/>
                    <a:moveTo>
                      <a:pt x="196454" y="6811"/>
                    </a:moveTo>
                    <a:lnTo>
                      <a:pt x="243078" y="6811"/>
                    </a:lnTo>
                    <a:cubicBezTo>
                      <a:pt x="247422" y="6931"/>
                      <a:pt x="251177" y="8524"/>
                      <a:pt x="254342" y="11591"/>
                    </a:cubicBezTo>
                    <a:cubicBezTo>
                      <a:pt x="257507" y="14658"/>
                      <a:pt x="259166" y="18478"/>
                      <a:pt x="259319" y="23051"/>
                    </a:cubicBezTo>
                    <a:lnTo>
                      <a:pt x="259319" y="353616"/>
                    </a:lnTo>
                    <a:cubicBezTo>
                      <a:pt x="259199" y="358189"/>
                      <a:pt x="257605" y="362009"/>
                      <a:pt x="254538" y="365076"/>
                    </a:cubicBezTo>
                    <a:cubicBezTo>
                      <a:pt x="251471" y="368143"/>
                      <a:pt x="247651" y="369736"/>
                      <a:pt x="243078" y="369856"/>
                    </a:cubicBezTo>
                    <a:lnTo>
                      <a:pt x="201168" y="369856"/>
                    </a:lnTo>
                    <a:cubicBezTo>
                      <a:pt x="196825" y="369736"/>
                      <a:pt x="193070" y="368143"/>
                      <a:pt x="189905" y="365076"/>
                    </a:cubicBezTo>
                    <a:cubicBezTo>
                      <a:pt x="186740" y="362009"/>
                      <a:pt x="185081" y="358189"/>
                      <a:pt x="184928" y="353616"/>
                    </a:cubicBezTo>
                    <a:lnTo>
                      <a:pt x="184928" y="349425"/>
                    </a:lnTo>
                    <a:cubicBezTo>
                      <a:pt x="179460" y="356268"/>
                      <a:pt x="170751" y="362358"/>
                      <a:pt x="158800" y="367695"/>
                    </a:cubicBezTo>
                    <a:cubicBezTo>
                      <a:pt x="146849" y="373032"/>
                      <a:pt x="131460" y="375848"/>
                      <a:pt x="112634" y="376143"/>
                    </a:cubicBezTo>
                    <a:cubicBezTo>
                      <a:pt x="79062" y="376033"/>
                      <a:pt x="52039" y="364727"/>
                      <a:pt x="31564" y="342222"/>
                    </a:cubicBezTo>
                    <a:cubicBezTo>
                      <a:pt x="11089" y="319717"/>
                      <a:pt x="568" y="286669"/>
                      <a:pt x="0" y="243078"/>
                    </a:cubicBezTo>
                    <a:cubicBezTo>
                      <a:pt x="612" y="197130"/>
                      <a:pt x="12093" y="161463"/>
                      <a:pt x="34445" y="136077"/>
                    </a:cubicBezTo>
                    <a:cubicBezTo>
                      <a:pt x="56797" y="110691"/>
                      <a:pt x="86353" y="97812"/>
                      <a:pt x="123111" y="97441"/>
                    </a:cubicBezTo>
                    <a:cubicBezTo>
                      <a:pt x="135346" y="97561"/>
                      <a:pt x="146500" y="99024"/>
                      <a:pt x="156574" y="101829"/>
                    </a:cubicBezTo>
                    <a:cubicBezTo>
                      <a:pt x="166647" y="104633"/>
                      <a:pt x="174527" y="108061"/>
                      <a:pt x="180213" y="112110"/>
                    </a:cubicBezTo>
                    <a:lnTo>
                      <a:pt x="180213" y="23051"/>
                    </a:lnTo>
                    <a:cubicBezTo>
                      <a:pt x="180334" y="18478"/>
                      <a:pt x="181927" y="14658"/>
                      <a:pt x="184994" y="11591"/>
                    </a:cubicBezTo>
                    <a:cubicBezTo>
                      <a:pt x="188061" y="8524"/>
                      <a:pt x="191881" y="6931"/>
                      <a:pt x="196454" y="6811"/>
                    </a:cubicBezTo>
                    <a:close/>
                    <a:moveTo>
                      <a:pt x="366189" y="0"/>
                    </a:moveTo>
                    <a:cubicBezTo>
                      <a:pt x="378566" y="240"/>
                      <a:pt x="388912" y="4213"/>
                      <a:pt x="397229" y="11919"/>
                    </a:cubicBezTo>
                    <a:cubicBezTo>
                      <a:pt x="405545" y="19624"/>
                      <a:pt x="409867" y="29621"/>
                      <a:pt x="410195" y="41910"/>
                    </a:cubicBezTo>
                    <a:cubicBezTo>
                      <a:pt x="409867" y="54200"/>
                      <a:pt x="405545" y="64197"/>
                      <a:pt x="397229" y="71902"/>
                    </a:cubicBezTo>
                    <a:cubicBezTo>
                      <a:pt x="388912" y="79608"/>
                      <a:pt x="378566" y="83580"/>
                      <a:pt x="366189" y="83820"/>
                    </a:cubicBezTo>
                    <a:cubicBezTo>
                      <a:pt x="353834" y="83580"/>
                      <a:pt x="343575" y="79608"/>
                      <a:pt x="335411" y="71902"/>
                    </a:cubicBezTo>
                    <a:cubicBezTo>
                      <a:pt x="327248" y="64197"/>
                      <a:pt x="323013" y="54200"/>
                      <a:pt x="322708" y="41910"/>
                    </a:cubicBezTo>
                    <a:cubicBezTo>
                      <a:pt x="323013" y="29621"/>
                      <a:pt x="327248" y="19624"/>
                      <a:pt x="335411" y="11919"/>
                    </a:cubicBezTo>
                    <a:cubicBezTo>
                      <a:pt x="343575" y="4213"/>
                      <a:pt x="353834" y="240"/>
                      <a:pt x="366189"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97000"/>
                  </a:lnSpc>
                </a:pPr>
                <a:endParaRPr lang="en-US" sz="4100" b="1" dirty="0">
                  <a:solidFill>
                    <a:schemeClr val="bg1"/>
                  </a:solidFill>
                </a:endParaRPr>
              </a:p>
            </p:txBody>
          </p:sp>
          <p:sp>
            <p:nvSpPr>
              <p:cNvPr id="49" name="TextBox 48">
                <a:extLst>
                  <a:ext uri="{FF2B5EF4-FFF2-40B4-BE49-F238E27FC236}">
                    <a16:creationId xmlns:a16="http://schemas.microsoft.com/office/drawing/2014/main" id="{F7DF738A-7AE2-4811-A9C0-5BBF6F667068}"/>
                  </a:ext>
                </a:extLst>
              </p:cNvPr>
              <p:cNvSpPr txBox="1"/>
              <p:nvPr/>
            </p:nvSpPr>
            <p:spPr>
              <a:xfrm>
                <a:off x="3547682" y="2870202"/>
                <a:ext cx="1881616" cy="458390"/>
              </a:xfrm>
              <a:custGeom>
                <a:avLst/>
                <a:gdLst/>
                <a:ahLst/>
                <a:cxnLst/>
                <a:rect l="l" t="t" r="r" b="b"/>
                <a:pathLst>
                  <a:path w="1881616" h="458390">
                    <a:moveTo>
                      <a:pt x="1736503" y="143542"/>
                    </a:moveTo>
                    <a:cubicBezTo>
                      <a:pt x="1726789" y="143520"/>
                      <a:pt x="1718582" y="144742"/>
                      <a:pt x="1711881" y="147209"/>
                    </a:cubicBezTo>
                    <a:cubicBezTo>
                      <a:pt x="1705179" y="149675"/>
                      <a:pt x="1701687" y="153517"/>
                      <a:pt x="1701403" y="158734"/>
                    </a:cubicBezTo>
                    <a:lnTo>
                      <a:pt x="1701403" y="302800"/>
                    </a:lnTo>
                    <a:cubicBezTo>
                      <a:pt x="1701894" y="306576"/>
                      <a:pt x="1706151" y="309763"/>
                      <a:pt x="1714173" y="312360"/>
                    </a:cubicBezTo>
                    <a:cubicBezTo>
                      <a:pt x="1722194" y="314958"/>
                      <a:pt x="1731035" y="316311"/>
                      <a:pt x="1740694" y="316420"/>
                    </a:cubicBezTo>
                    <a:cubicBezTo>
                      <a:pt x="1759521" y="316628"/>
                      <a:pt x="1774385" y="309664"/>
                      <a:pt x="1785289" y="295531"/>
                    </a:cubicBezTo>
                    <a:cubicBezTo>
                      <a:pt x="1796192" y="281397"/>
                      <a:pt x="1801758" y="258849"/>
                      <a:pt x="1801987" y="227885"/>
                    </a:cubicBezTo>
                    <a:cubicBezTo>
                      <a:pt x="1801976" y="198472"/>
                      <a:pt x="1796497" y="177015"/>
                      <a:pt x="1785550" y="163514"/>
                    </a:cubicBezTo>
                    <a:cubicBezTo>
                      <a:pt x="1774604" y="150014"/>
                      <a:pt x="1758254" y="143356"/>
                      <a:pt x="1736503" y="143542"/>
                    </a:cubicBezTo>
                    <a:close/>
                    <a:moveTo>
                      <a:pt x="1435894" y="143542"/>
                    </a:moveTo>
                    <a:cubicBezTo>
                      <a:pt x="1419981" y="143258"/>
                      <a:pt x="1407408" y="149850"/>
                      <a:pt x="1398175" y="163318"/>
                    </a:cubicBezTo>
                    <a:cubicBezTo>
                      <a:pt x="1388942" y="176786"/>
                      <a:pt x="1384227" y="198832"/>
                      <a:pt x="1384030" y="229457"/>
                    </a:cubicBezTo>
                    <a:cubicBezTo>
                      <a:pt x="1383899" y="256688"/>
                      <a:pt x="1387959" y="277926"/>
                      <a:pt x="1396210" y="293173"/>
                    </a:cubicBezTo>
                    <a:cubicBezTo>
                      <a:pt x="1404461" y="308420"/>
                      <a:pt x="1417689" y="316169"/>
                      <a:pt x="1435894" y="316420"/>
                    </a:cubicBezTo>
                    <a:cubicBezTo>
                      <a:pt x="1454349" y="316169"/>
                      <a:pt x="1467730" y="308420"/>
                      <a:pt x="1476036" y="293173"/>
                    </a:cubicBezTo>
                    <a:cubicBezTo>
                      <a:pt x="1484341" y="277926"/>
                      <a:pt x="1488423" y="256688"/>
                      <a:pt x="1488281" y="229457"/>
                    </a:cubicBezTo>
                    <a:cubicBezTo>
                      <a:pt x="1488096" y="198832"/>
                      <a:pt x="1483359" y="176786"/>
                      <a:pt x="1474071" y="163318"/>
                    </a:cubicBezTo>
                    <a:cubicBezTo>
                      <a:pt x="1464783" y="149850"/>
                      <a:pt x="1452057" y="143258"/>
                      <a:pt x="1435894" y="143542"/>
                    </a:cubicBezTo>
                    <a:close/>
                    <a:moveTo>
                      <a:pt x="144590" y="143542"/>
                    </a:moveTo>
                    <a:cubicBezTo>
                      <a:pt x="122838" y="143236"/>
                      <a:pt x="106489" y="149741"/>
                      <a:pt x="95542" y="163056"/>
                    </a:cubicBezTo>
                    <a:cubicBezTo>
                      <a:pt x="84595" y="176371"/>
                      <a:pt x="79116" y="198330"/>
                      <a:pt x="79105" y="228933"/>
                    </a:cubicBezTo>
                    <a:cubicBezTo>
                      <a:pt x="79542" y="261915"/>
                      <a:pt x="85217" y="284879"/>
                      <a:pt x="96131" y="297823"/>
                    </a:cubicBezTo>
                    <a:cubicBezTo>
                      <a:pt x="107045" y="310767"/>
                      <a:pt x="120579" y="316966"/>
                      <a:pt x="136731" y="316420"/>
                    </a:cubicBezTo>
                    <a:cubicBezTo>
                      <a:pt x="148628" y="316311"/>
                      <a:pt x="158756" y="314958"/>
                      <a:pt x="167116" y="312360"/>
                    </a:cubicBezTo>
                    <a:cubicBezTo>
                      <a:pt x="175476" y="309763"/>
                      <a:pt x="179842" y="306576"/>
                      <a:pt x="180213" y="302800"/>
                    </a:cubicBezTo>
                    <a:lnTo>
                      <a:pt x="180213" y="158734"/>
                    </a:lnTo>
                    <a:cubicBezTo>
                      <a:pt x="179940" y="153517"/>
                      <a:pt x="176426" y="149675"/>
                      <a:pt x="169670" y="147209"/>
                    </a:cubicBezTo>
                    <a:cubicBezTo>
                      <a:pt x="162914" y="144742"/>
                      <a:pt x="154554" y="143520"/>
                      <a:pt x="144590" y="143542"/>
                    </a:cubicBezTo>
                    <a:close/>
                    <a:moveTo>
                      <a:pt x="1000458" y="142494"/>
                    </a:moveTo>
                    <a:cubicBezTo>
                      <a:pt x="987558" y="142330"/>
                      <a:pt x="976819" y="146979"/>
                      <a:pt x="968240" y="156442"/>
                    </a:cubicBezTo>
                    <a:cubicBezTo>
                      <a:pt x="959662" y="165904"/>
                      <a:pt x="955209" y="181162"/>
                      <a:pt x="954881" y="202215"/>
                    </a:cubicBezTo>
                    <a:lnTo>
                      <a:pt x="1047083" y="202215"/>
                    </a:lnTo>
                    <a:cubicBezTo>
                      <a:pt x="1047531" y="187351"/>
                      <a:pt x="1044540" y="173861"/>
                      <a:pt x="1038112" y="161746"/>
                    </a:cubicBezTo>
                    <a:cubicBezTo>
                      <a:pt x="1031684" y="149632"/>
                      <a:pt x="1019132" y="143214"/>
                      <a:pt x="1000458" y="142494"/>
                    </a:cubicBezTo>
                    <a:close/>
                    <a:moveTo>
                      <a:pt x="438483" y="142494"/>
                    </a:moveTo>
                    <a:cubicBezTo>
                      <a:pt x="425583" y="142330"/>
                      <a:pt x="414844" y="146979"/>
                      <a:pt x="406265" y="156442"/>
                    </a:cubicBezTo>
                    <a:cubicBezTo>
                      <a:pt x="397687" y="165904"/>
                      <a:pt x="393234" y="181162"/>
                      <a:pt x="392906" y="202215"/>
                    </a:cubicBezTo>
                    <a:lnTo>
                      <a:pt x="485108" y="202215"/>
                    </a:lnTo>
                    <a:cubicBezTo>
                      <a:pt x="485556" y="187351"/>
                      <a:pt x="482565" y="173861"/>
                      <a:pt x="476137" y="161746"/>
                    </a:cubicBezTo>
                    <a:cubicBezTo>
                      <a:pt x="469709" y="149632"/>
                      <a:pt x="457157" y="143214"/>
                      <a:pt x="438483" y="142494"/>
                    </a:cubicBezTo>
                    <a:close/>
                    <a:moveTo>
                      <a:pt x="605838" y="96917"/>
                    </a:moveTo>
                    <a:lnTo>
                      <a:pt x="656654" y="96917"/>
                    </a:lnTo>
                    <a:cubicBezTo>
                      <a:pt x="660877" y="96971"/>
                      <a:pt x="664479" y="98434"/>
                      <a:pt x="667459" y="101304"/>
                    </a:cubicBezTo>
                    <a:cubicBezTo>
                      <a:pt x="670438" y="104174"/>
                      <a:pt x="672599" y="108125"/>
                      <a:pt x="673941" y="113157"/>
                    </a:cubicBezTo>
                    <a:lnTo>
                      <a:pt x="719519" y="294941"/>
                    </a:lnTo>
                    <a:lnTo>
                      <a:pt x="720043" y="294941"/>
                    </a:lnTo>
                    <a:lnTo>
                      <a:pt x="770335" y="113157"/>
                    </a:lnTo>
                    <a:cubicBezTo>
                      <a:pt x="771633" y="108584"/>
                      <a:pt x="773620" y="104764"/>
                      <a:pt x="776294" y="101697"/>
                    </a:cubicBezTo>
                    <a:cubicBezTo>
                      <a:pt x="778967" y="98630"/>
                      <a:pt x="782395" y="97037"/>
                      <a:pt x="786575" y="96917"/>
                    </a:cubicBezTo>
                    <a:lnTo>
                      <a:pt x="827961" y="96917"/>
                    </a:lnTo>
                    <a:cubicBezTo>
                      <a:pt x="831573" y="96917"/>
                      <a:pt x="834957" y="98226"/>
                      <a:pt x="838111" y="100846"/>
                    </a:cubicBezTo>
                    <a:cubicBezTo>
                      <a:pt x="841265" y="103465"/>
                      <a:pt x="842946" y="107394"/>
                      <a:pt x="843153" y="112633"/>
                    </a:cubicBezTo>
                    <a:cubicBezTo>
                      <a:pt x="843186" y="113844"/>
                      <a:pt x="842989" y="115481"/>
                      <a:pt x="842564" y="117544"/>
                    </a:cubicBezTo>
                    <a:cubicBezTo>
                      <a:pt x="842138" y="119607"/>
                      <a:pt x="841287" y="122685"/>
                      <a:pt x="840010" y="126778"/>
                    </a:cubicBezTo>
                    <a:lnTo>
                      <a:pt x="775573" y="323755"/>
                    </a:lnTo>
                    <a:cubicBezTo>
                      <a:pt x="769647" y="341010"/>
                      <a:pt x="761199" y="352993"/>
                      <a:pt x="750231" y="359705"/>
                    </a:cubicBezTo>
                    <a:cubicBezTo>
                      <a:pt x="739262" y="366418"/>
                      <a:pt x="726755" y="369626"/>
                      <a:pt x="712708" y="369332"/>
                    </a:cubicBezTo>
                    <a:cubicBezTo>
                      <a:pt x="698946" y="369550"/>
                      <a:pt x="686918" y="366232"/>
                      <a:pt x="676626" y="359378"/>
                    </a:cubicBezTo>
                    <a:cubicBezTo>
                      <a:pt x="666334" y="352524"/>
                      <a:pt x="658629" y="340824"/>
                      <a:pt x="653510" y="324278"/>
                    </a:cubicBezTo>
                    <a:lnTo>
                      <a:pt x="593789" y="126778"/>
                    </a:lnTo>
                    <a:cubicBezTo>
                      <a:pt x="592741" y="123667"/>
                      <a:pt x="591955" y="120982"/>
                      <a:pt x="591431" y="118723"/>
                    </a:cubicBezTo>
                    <a:cubicBezTo>
                      <a:pt x="590907" y="116464"/>
                      <a:pt x="590645" y="114434"/>
                      <a:pt x="590645" y="112633"/>
                    </a:cubicBezTo>
                    <a:cubicBezTo>
                      <a:pt x="590820" y="107165"/>
                      <a:pt x="592435" y="103170"/>
                      <a:pt x="595491" y="100649"/>
                    </a:cubicBezTo>
                    <a:cubicBezTo>
                      <a:pt x="598547" y="98128"/>
                      <a:pt x="601996" y="96884"/>
                      <a:pt x="605838" y="96917"/>
                    </a:cubicBezTo>
                    <a:close/>
                    <a:moveTo>
                      <a:pt x="1762173" y="90630"/>
                    </a:moveTo>
                    <a:cubicBezTo>
                      <a:pt x="1796945" y="90521"/>
                      <a:pt x="1825365" y="101610"/>
                      <a:pt x="1847433" y="123896"/>
                    </a:cubicBezTo>
                    <a:cubicBezTo>
                      <a:pt x="1869501" y="146183"/>
                      <a:pt x="1880896" y="180322"/>
                      <a:pt x="1881616" y="226314"/>
                    </a:cubicBezTo>
                    <a:cubicBezTo>
                      <a:pt x="1881234" y="270090"/>
                      <a:pt x="1870735" y="304731"/>
                      <a:pt x="1850118" y="330237"/>
                    </a:cubicBezTo>
                    <a:cubicBezTo>
                      <a:pt x="1829501" y="355744"/>
                      <a:pt x="1801059" y="368775"/>
                      <a:pt x="1764792" y="369332"/>
                    </a:cubicBezTo>
                    <a:cubicBezTo>
                      <a:pt x="1749883" y="369135"/>
                      <a:pt x="1736874" y="367171"/>
                      <a:pt x="1725763" y="363438"/>
                    </a:cubicBezTo>
                    <a:cubicBezTo>
                      <a:pt x="1714653" y="359705"/>
                      <a:pt x="1706882" y="355383"/>
                      <a:pt x="1702451" y="350472"/>
                    </a:cubicBezTo>
                    <a:lnTo>
                      <a:pt x="1701403" y="350472"/>
                    </a:lnTo>
                    <a:lnTo>
                      <a:pt x="1701403" y="442150"/>
                    </a:lnTo>
                    <a:cubicBezTo>
                      <a:pt x="1701250" y="446723"/>
                      <a:pt x="1699591" y="450543"/>
                      <a:pt x="1696426" y="453610"/>
                    </a:cubicBezTo>
                    <a:cubicBezTo>
                      <a:pt x="1693261" y="456677"/>
                      <a:pt x="1689507" y="458270"/>
                      <a:pt x="1685163" y="458390"/>
                    </a:cubicBezTo>
                    <a:lnTo>
                      <a:pt x="1638538" y="458390"/>
                    </a:lnTo>
                    <a:cubicBezTo>
                      <a:pt x="1633965" y="458270"/>
                      <a:pt x="1630145" y="456677"/>
                      <a:pt x="1627078" y="453610"/>
                    </a:cubicBezTo>
                    <a:cubicBezTo>
                      <a:pt x="1624012" y="450543"/>
                      <a:pt x="1622418" y="446723"/>
                      <a:pt x="1622298" y="442150"/>
                    </a:cubicBezTo>
                    <a:lnTo>
                      <a:pt x="1622298" y="113157"/>
                    </a:lnTo>
                    <a:cubicBezTo>
                      <a:pt x="1622418" y="108584"/>
                      <a:pt x="1624012" y="104764"/>
                      <a:pt x="1627078" y="101697"/>
                    </a:cubicBezTo>
                    <a:cubicBezTo>
                      <a:pt x="1630145" y="98630"/>
                      <a:pt x="1633965" y="97037"/>
                      <a:pt x="1638538" y="96917"/>
                    </a:cubicBezTo>
                    <a:lnTo>
                      <a:pt x="1683591" y="96917"/>
                    </a:lnTo>
                    <a:cubicBezTo>
                      <a:pt x="1687935" y="97037"/>
                      <a:pt x="1691690" y="98630"/>
                      <a:pt x="1694855" y="101697"/>
                    </a:cubicBezTo>
                    <a:cubicBezTo>
                      <a:pt x="1698020" y="104764"/>
                      <a:pt x="1699679" y="108584"/>
                      <a:pt x="1699831" y="113157"/>
                    </a:cubicBezTo>
                    <a:lnTo>
                      <a:pt x="1699831" y="114205"/>
                    </a:lnTo>
                    <a:lnTo>
                      <a:pt x="1700355" y="114205"/>
                    </a:lnTo>
                    <a:cubicBezTo>
                      <a:pt x="1706729" y="107492"/>
                      <a:pt x="1714806" y="101926"/>
                      <a:pt x="1724585" y="97506"/>
                    </a:cubicBezTo>
                    <a:cubicBezTo>
                      <a:pt x="1734364" y="93086"/>
                      <a:pt x="1746893" y="90794"/>
                      <a:pt x="1762173" y="90630"/>
                    </a:cubicBezTo>
                    <a:close/>
                    <a:moveTo>
                      <a:pt x="1435894" y="90630"/>
                    </a:moveTo>
                    <a:cubicBezTo>
                      <a:pt x="1475064" y="90586"/>
                      <a:pt x="1506606" y="102068"/>
                      <a:pt x="1530519" y="125075"/>
                    </a:cubicBezTo>
                    <a:cubicBezTo>
                      <a:pt x="1554431" y="148082"/>
                      <a:pt x="1566721" y="182876"/>
                      <a:pt x="1567386" y="229457"/>
                    </a:cubicBezTo>
                    <a:cubicBezTo>
                      <a:pt x="1566721" y="275394"/>
                      <a:pt x="1554431" y="310167"/>
                      <a:pt x="1530519" y="333774"/>
                    </a:cubicBezTo>
                    <a:cubicBezTo>
                      <a:pt x="1506606" y="357381"/>
                      <a:pt x="1475064" y="369233"/>
                      <a:pt x="1435894" y="369332"/>
                    </a:cubicBezTo>
                    <a:cubicBezTo>
                      <a:pt x="1396974" y="369397"/>
                      <a:pt x="1365585" y="357872"/>
                      <a:pt x="1341727" y="334756"/>
                    </a:cubicBezTo>
                    <a:cubicBezTo>
                      <a:pt x="1317869" y="311640"/>
                      <a:pt x="1305602" y="276540"/>
                      <a:pt x="1304925" y="229457"/>
                    </a:cubicBezTo>
                    <a:cubicBezTo>
                      <a:pt x="1305602" y="182876"/>
                      <a:pt x="1317869" y="148082"/>
                      <a:pt x="1341727" y="125075"/>
                    </a:cubicBezTo>
                    <a:cubicBezTo>
                      <a:pt x="1365585" y="102068"/>
                      <a:pt x="1396974" y="90586"/>
                      <a:pt x="1435894" y="90630"/>
                    </a:cubicBezTo>
                    <a:close/>
                    <a:moveTo>
                      <a:pt x="1002554" y="90630"/>
                    </a:moveTo>
                    <a:cubicBezTo>
                      <a:pt x="1040644" y="91198"/>
                      <a:pt x="1070418" y="103683"/>
                      <a:pt x="1091875" y="128087"/>
                    </a:cubicBezTo>
                    <a:cubicBezTo>
                      <a:pt x="1113332" y="152491"/>
                      <a:pt x="1124246" y="185408"/>
                      <a:pt x="1124617" y="226838"/>
                    </a:cubicBezTo>
                    <a:cubicBezTo>
                      <a:pt x="1124813" y="233626"/>
                      <a:pt x="1123635" y="238647"/>
                      <a:pt x="1121081" y="241899"/>
                    </a:cubicBezTo>
                    <a:cubicBezTo>
                      <a:pt x="1118527" y="245151"/>
                      <a:pt x="1113419" y="246767"/>
                      <a:pt x="1105757" y="246745"/>
                    </a:cubicBezTo>
                    <a:lnTo>
                      <a:pt x="955405" y="246745"/>
                    </a:lnTo>
                    <a:cubicBezTo>
                      <a:pt x="955754" y="269795"/>
                      <a:pt x="961473" y="287083"/>
                      <a:pt x="972562" y="298609"/>
                    </a:cubicBezTo>
                    <a:cubicBezTo>
                      <a:pt x="983651" y="310134"/>
                      <a:pt x="998014" y="315896"/>
                      <a:pt x="1015651" y="315896"/>
                    </a:cubicBezTo>
                    <a:cubicBezTo>
                      <a:pt x="1027810" y="315599"/>
                      <a:pt x="1037835" y="313516"/>
                      <a:pt x="1045725" y="309649"/>
                    </a:cubicBezTo>
                    <a:cubicBezTo>
                      <a:pt x="1053616" y="305781"/>
                      <a:pt x="1060808" y="301913"/>
                      <a:pt x="1067301" y="298046"/>
                    </a:cubicBezTo>
                    <a:cubicBezTo>
                      <a:pt x="1073794" y="294178"/>
                      <a:pt x="1081025" y="292096"/>
                      <a:pt x="1088993" y="291798"/>
                    </a:cubicBezTo>
                    <a:cubicBezTo>
                      <a:pt x="1097463" y="291995"/>
                      <a:pt x="1104098" y="294745"/>
                      <a:pt x="1108901" y="300049"/>
                    </a:cubicBezTo>
                    <a:cubicBezTo>
                      <a:pt x="1113703" y="305353"/>
                      <a:pt x="1116147" y="312033"/>
                      <a:pt x="1116235" y="320087"/>
                    </a:cubicBezTo>
                    <a:cubicBezTo>
                      <a:pt x="1115951" y="334287"/>
                      <a:pt x="1106958" y="345965"/>
                      <a:pt x="1089255" y="355122"/>
                    </a:cubicBezTo>
                    <a:cubicBezTo>
                      <a:pt x="1071553" y="364278"/>
                      <a:pt x="1046843" y="369015"/>
                      <a:pt x="1015127" y="369332"/>
                    </a:cubicBezTo>
                    <a:cubicBezTo>
                      <a:pt x="970379" y="369070"/>
                      <a:pt x="936109" y="357021"/>
                      <a:pt x="912317" y="333184"/>
                    </a:cubicBezTo>
                    <a:cubicBezTo>
                      <a:pt x="888524" y="309348"/>
                      <a:pt x="876518" y="275296"/>
                      <a:pt x="876300" y="231029"/>
                    </a:cubicBezTo>
                    <a:cubicBezTo>
                      <a:pt x="876879" y="186674"/>
                      <a:pt x="888557" y="152273"/>
                      <a:pt x="911334" y="127825"/>
                    </a:cubicBezTo>
                    <a:cubicBezTo>
                      <a:pt x="934112" y="103378"/>
                      <a:pt x="964518" y="90979"/>
                      <a:pt x="1002554" y="90630"/>
                    </a:cubicBezTo>
                    <a:close/>
                    <a:moveTo>
                      <a:pt x="440579" y="90630"/>
                    </a:moveTo>
                    <a:cubicBezTo>
                      <a:pt x="478669" y="91198"/>
                      <a:pt x="508443" y="103683"/>
                      <a:pt x="529900" y="128087"/>
                    </a:cubicBezTo>
                    <a:cubicBezTo>
                      <a:pt x="551357" y="152491"/>
                      <a:pt x="562271" y="185408"/>
                      <a:pt x="562642" y="226838"/>
                    </a:cubicBezTo>
                    <a:cubicBezTo>
                      <a:pt x="562838" y="233626"/>
                      <a:pt x="561660" y="238647"/>
                      <a:pt x="559106" y="241899"/>
                    </a:cubicBezTo>
                    <a:cubicBezTo>
                      <a:pt x="556552" y="245151"/>
                      <a:pt x="551444" y="246767"/>
                      <a:pt x="543782" y="246745"/>
                    </a:cubicBezTo>
                    <a:lnTo>
                      <a:pt x="393430" y="246745"/>
                    </a:lnTo>
                    <a:cubicBezTo>
                      <a:pt x="393779" y="269795"/>
                      <a:pt x="399498" y="287083"/>
                      <a:pt x="410587" y="298609"/>
                    </a:cubicBezTo>
                    <a:cubicBezTo>
                      <a:pt x="421676" y="310134"/>
                      <a:pt x="436039" y="315896"/>
                      <a:pt x="453676" y="315896"/>
                    </a:cubicBezTo>
                    <a:cubicBezTo>
                      <a:pt x="465835" y="315599"/>
                      <a:pt x="475860" y="313516"/>
                      <a:pt x="483750" y="309649"/>
                    </a:cubicBezTo>
                    <a:cubicBezTo>
                      <a:pt x="491641" y="305781"/>
                      <a:pt x="498833" y="301913"/>
                      <a:pt x="505326" y="298046"/>
                    </a:cubicBezTo>
                    <a:cubicBezTo>
                      <a:pt x="511819" y="294178"/>
                      <a:pt x="519050" y="292096"/>
                      <a:pt x="527018" y="291798"/>
                    </a:cubicBezTo>
                    <a:cubicBezTo>
                      <a:pt x="535488" y="291995"/>
                      <a:pt x="542123" y="294745"/>
                      <a:pt x="546926" y="300049"/>
                    </a:cubicBezTo>
                    <a:cubicBezTo>
                      <a:pt x="551728" y="305353"/>
                      <a:pt x="554173" y="312033"/>
                      <a:pt x="554260" y="320087"/>
                    </a:cubicBezTo>
                    <a:cubicBezTo>
                      <a:pt x="553976" y="334287"/>
                      <a:pt x="544983" y="345965"/>
                      <a:pt x="527280" y="355122"/>
                    </a:cubicBezTo>
                    <a:cubicBezTo>
                      <a:pt x="509578" y="364278"/>
                      <a:pt x="484868" y="369015"/>
                      <a:pt x="453152" y="369332"/>
                    </a:cubicBezTo>
                    <a:cubicBezTo>
                      <a:pt x="408404" y="369070"/>
                      <a:pt x="374134" y="357021"/>
                      <a:pt x="350341" y="333184"/>
                    </a:cubicBezTo>
                    <a:cubicBezTo>
                      <a:pt x="326549" y="309348"/>
                      <a:pt x="314543" y="275296"/>
                      <a:pt x="314325" y="231029"/>
                    </a:cubicBezTo>
                    <a:cubicBezTo>
                      <a:pt x="314904" y="186674"/>
                      <a:pt x="326582" y="152273"/>
                      <a:pt x="349359" y="127825"/>
                    </a:cubicBezTo>
                    <a:cubicBezTo>
                      <a:pt x="372137" y="103378"/>
                      <a:pt x="402543" y="90979"/>
                      <a:pt x="440579" y="90630"/>
                    </a:cubicBezTo>
                    <a:close/>
                    <a:moveTo>
                      <a:pt x="1190863" y="0"/>
                    </a:moveTo>
                    <a:lnTo>
                      <a:pt x="1237488" y="0"/>
                    </a:lnTo>
                    <a:cubicBezTo>
                      <a:pt x="1241832" y="120"/>
                      <a:pt x="1245586" y="1713"/>
                      <a:pt x="1248751" y="4780"/>
                    </a:cubicBezTo>
                    <a:cubicBezTo>
                      <a:pt x="1251916" y="7847"/>
                      <a:pt x="1253575" y="11667"/>
                      <a:pt x="1253728" y="16240"/>
                    </a:cubicBezTo>
                    <a:lnTo>
                      <a:pt x="1253728" y="346805"/>
                    </a:lnTo>
                    <a:cubicBezTo>
                      <a:pt x="1253575" y="351378"/>
                      <a:pt x="1251916" y="355198"/>
                      <a:pt x="1248751" y="358265"/>
                    </a:cubicBezTo>
                    <a:cubicBezTo>
                      <a:pt x="1245586" y="361332"/>
                      <a:pt x="1241832" y="362925"/>
                      <a:pt x="1237488" y="363045"/>
                    </a:cubicBezTo>
                    <a:lnTo>
                      <a:pt x="1190863" y="363045"/>
                    </a:lnTo>
                    <a:cubicBezTo>
                      <a:pt x="1186290" y="362925"/>
                      <a:pt x="1182470" y="361332"/>
                      <a:pt x="1179403" y="358265"/>
                    </a:cubicBezTo>
                    <a:cubicBezTo>
                      <a:pt x="1176337" y="355198"/>
                      <a:pt x="1174743" y="351378"/>
                      <a:pt x="1174623" y="346805"/>
                    </a:cubicBezTo>
                    <a:lnTo>
                      <a:pt x="1174623" y="16240"/>
                    </a:lnTo>
                    <a:cubicBezTo>
                      <a:pt x="1174743" y="11667"/>
                      <a:pt x="1176337" y="7847"/>
                      <a:pt x="1179403" y="4780"/>
                    </a:cubicBezTo>
                    <a:cubicBezTo>
                      <a:pt x="1182470" y="1713"/>
                      <a:pt x="1186290" y="120"/>
                      <a:pt x="1190863" y="0"/>
                    </a:cubicBezTo>
                    <a:close/>
                    <a:moveTo>
                      <a:pt x="196453" y="0"/>
                    </a:moveTo>
                    <a:lnTo>
                      <a:pt x="243078" y="0"/>
                    </a:lnTo>
                    <a:cubicBezTo>
                      <a:pt x="247422" y="120"/>
                      <a:pt x="251176" y="1713"/>
                      <a:pt x="254341" y="4780"/>
                    </a:cubicBezTo>
                    <a:cubicBezTo>
                      <a:pt x="257506" y="7847"/>
                      <a:pt x="259165" y="11667"/>
                      <a:pt x="259318" y="16240"/>
                    </a:cubicBezTo>
                    <a:lnTo>
                      <a:pt x="259318" y="346805"/>
                    </a:lnTo>
                    <a:cubicBezTo>
                      <a:pt x="259198" y="351378"/>
                      <a:pt x="257605" y="355198"/>
                      <a:pt x="254538" y="358265"/>
                    </a:cubicBezTo>
                    <a:cubicBezTo>
                      <a:pt x="251471" y="361332"/>
                      <a:pt x="247651" y="362925"/>
                      <a:pt x="243078" y="363045"/>
                    </a:cubicBezTo>
                    <a:lnTo>
                      <a:pt x="201168" y="363045"/>
                    </a:lnTo>
                    <a:cubicBezTo>
                      <a:pt x="196824" y="362925"/>
                      <a:pt x="193070" y="361332"/>
                      <a:pt x="189905" y="358265"/>
                    </a:cubicBezTo>
                    <a:cubicBezTo>
                      <a:pt x="186740" y="355198"/>
                      <a:pt x="185081" y="351378"/>
                      <a:pt x="184928" y="346805"/>
                    </a:cubicBezTo>
                    <a:lnTo>
                      <a:pt x="184928" y="342614"/>
                    </a:lnTo>
                    <a:cubicBezTo>
                      <a:pt x="179460" y="349457"/>
                      <a:pt x="170751" y="355547"/>
                      <a:pt x="158800" y="360884"/>
                    </a:cubicBezTo>
                    <a:cubicBezTo>
                      <a:pt x="146849" y="366221"/>
                      <a:pt x="131460" y="369037"/>
                      <a:pt x="112633" y="369332"/>
                    </a:cubicBezTo>
                    <a:cubicBezTo>
                      <a:pt x="79061" y="369222"/>
                      <a:pt x="52038" y="357916"/>
                      <a:pt x="31563" y="335411"/>
                    </a:cubicBezTo>
                    <a:cubicBezTo>
                      <a:pt x="11089" y="312906"/>
                      <a:pt x="568" y="279858"/>
                      <a:pt x="0" y="236267"/>
                    </a:cubicBezTo>
                    <a:cubicBezTo>
                      <a:pt x="611" y="190319"/>
                      <a:pt x="12093" y="154652"/>
                      <a:pt x="34445" y="129266"/>
                    </a:cubicBezTo>
                    <a:cubicBezTo>
                      <a:pt x="56797" y="103880"/>
                      <a:pt x="86352" y="91001"/>
                      <a:pt x="123111" y="90630"/>
                    </a:cubicBezTo>
                    <a:cubicBezTo>
                      <a:pt x="135345" y="90750"/>
                      <a:pt x="146500" y="92213"/>
                      <a:pt x="156573" y="95018"/>
                    </a:cubicBezTo>
                    <a:cubicBezTo>
                      <a:pt x="166647" y="97822"/>
                      <a:pt x="174527" y="101250"/>
                      <a:pt x="180213" y="105299"/>
                    </a:cubicBezTo>
                    <a:lnTo>
                      <a:pt x="180213" y="16240"/>
                    </a:lnTo>
                    <a:cubicBezTo>
                      <a:pt x="180333" y="11667"/>
                      <a:pt x="181927" y="7847"/>
                      <a:pt x="184993" y="4780"/>
                    </a:cubicBezTo>
                    <a:cubicBezTo>
                      <a:pt x="188060" y="1713"/>
                      <a:pt x="191880" y="120"/>
                      <a:pt x="196453"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97000"/>
                  </a:lnSpc>
                </a:pPr>
                <a:endParaRPr lang="en-US" sz="4100" b="1" dirty="0">
                  <a:solidFill>
                    <a:schemeClr val="bg1"/>
                  </a:solidFill>
                </a:endParaRPr>
              </a:p>
            </p:txBody>
          </p:sp>
          <p:sp>
            <p:nvSpPr>
              <p:cNvPr id="50" name="TextBox 49">
                <a:extLst>
                  <a:ext uri="{FF2B5EF4-FFF2-40B4-BE49-F238E27FC236}">
                    <a16:creationId xmlns:a16="http://schemas.microsoft.com/office/drawing/2014/main" id="{9ECED7F4-ED8C-4007-83DD-D34A0DB7090C}"/>
                  </a:ext>
                </a:extLst>
              </p:cNvPr>
              <p:cNvSpPr txBox="1"/>
              <p:nvPr/>
            </p:nvSpPr>
            <p:spPr>
              <a:xfrm>
                <a:off x="6636672" y="2863391"/>
                <a:ext cx="1629060" cy="376161"/>
              </a:xfrm>
              <a:custGeom>
                <a:avLst/>
                <a:gdLst/>
                <a:ahLst/>
                <a:cxnLst/>
                <a:rect l="l" t="t" r="r" b="b"/>
                <a:pathLst>
                  <a:path w="1629060" h="376161">
                    <a:moveTo>
                      <a:pt x="144589" y="150353"/>
                    </a:moveTo>
                    <a:cubicBezTo>
                      <a:pt x="122837" y="150047"/>
                      <a:pt x="106488" y="156552"/>
                      <a:pt x="95541" y="169867"/>
                    </a:cubicBezTo>
                    <a:cubicBezTo>
                      <a:pt x="84595" y="183182"/>
                      <a:pt x="79116" y="205141"/>
                      <a:pt x="79105" y="235744"/>
                    </a:cubicBezTo>
                    <a:cubicBezTo>
                      <a:pt x="79541" y="268726"/>
                      <a:pt x="85217" y="291690"/>
                      <a:pt x="96131" y="304634"/>
                    </a:cubicBezTo>
                    <a:cubicBezTo>
                      <a:pt x="107045" y="317578"/>
                      <a:pt x="120578" y="323777"/>
                      <a:pt x="136731" y="323231"/>
                    </a:cubicBezTo>
                    <a:cubicBezTo>
                      <a:pt x="148627" y="323122"/>
                      <a:pt x="158756" y="321769"/>
                      <a:pt x="167116" y="319171"/>
                    </a:cubicBezTo>
                    <a:cubicBezTo>
                      <a:pt x="175476" y="316574"/>
                      <a:pt x="179842" y="313387"/>
                      <a:pt x="180213" y="309611"/>
                    </a:cubicBezTo>
                    <a:lnTo>
                      <a:pt x="180213" y="165545"/>
                    </a:lnTo>
                    <a:cubicBezTo>
                      <a:pt x="179940" y="160328"/>
                      <a:pt x="176425" y="156486"/>
                      <a:pt x="169670" y="154020"/>
                    </a:cubicBezTo>
                    <a:cubicBezTo>
                      <a:pt x="162914" y="151553"/>
                      <a:pt x="154554" y="150331"/>
                      <a:pt x="144589" y="150353"/>
                    </a:cubicBezTo>
                    <a:close/>
                    <a:moveTo>
                      <a:pt x="1286208" y="149305"/>
                    </a:moveTo>
                    <a:cubicBezTo>
                      <a:pt x="1273308" y="149141"/>
                      <a:pt x="1262568" y="153790"/>
                      <a:pt x="1253990" y="163253"/>
                    </a:cubicBezTo>
                    <a:cubicBezTo>
                      <a:pt x="1245411" y="172715"/>
                      <a:pt x="1240958" y="187973"/>
                      <a:pt x="1240631" y="209026"/>
                    </a:cubicBezTo>
                    <a:lnTo>
                      <a:pt x="1332833" y="209026"/>
                    </a:lnTo>
                    <a:cubicBezTo>
                      <a:pt x="1333280" y="194162"/>
                      <a:pt x="1330290" y="180672"/>
                      <a:pt x="1323862" y="168557"/>
                    </a:cubicBezTo>
                    <a:cubicBezTo>
                      <a:pt x="1317433" y="156443"/>
                      <a:pt x="1304882" y="150025"/>
                      <a:pt x="1286208" y="149305"/>
                    </a:cubicBezTo>
                    <a:close/>
                    <a:moveTo>
                      <a:pt x="438483" y="149305"/>
                    </a:moveTo>
                    <a:cubicBezTo>
                      <a:pt x="425583" y="149141"/>
                      <a:pt x="414843" y="153790"/>
                      <a:pt x="406265" y="163253"/>
                    </a:cubicBezTo>
                    <a:cubicBezTo>
                      <a:pt x="397686" y="172715"/>
                      <a:pt x="393233" y="187973"/>
                      <a:pt x="392906" y="209026"/>
                    </a:cubicBezTo>
                    <a:lnTo>
                      <a:pt x="485108" y="209026"/>
                    </a:lnTo>
                    <a:cubicBezTo>
                      <a:pt x="485555" y="194162"/>
                      <a:pt x="482565" y="180672"/>
                      <a:pt x="476137" y="168557"/>
                    </a:cubicBezTo>
                    <a:cubicBezTo>
                      <a:pt x="469708" y="156443"/>
                      <a:pt x="457157" y="150025"/>
                      <a:pt x="438483" y="149305"/>
                    </a:cubicBezTo>
                    <a:close/>
                    <a:moveTo>
                      <a:pt x="891587" y="103728"/>
                    </a:moveTo>
                    <a:lnTo>
                      <a:pt x="942403" y="103728"/>
                    </a:lnTo>
                    <a:cubicBezTo>
                      <a:pt x="946627" y="103782"/>
                      <a:pt x="950228" y="105245"/>
                      <a:pt x="953208" y="108115"/>
                    </a:cubicBezTo>
                    <a:cubicBezTo>
                      <a:pt x="956188" y="110985"/>
                      <a:pt x="958349" y="114936"/>
                      <a:pt x="959691" y="119968"/>
                    </a:cubicBezTo>
                    <a:lnTo>
                      <a:pt x="1005268" y="301752"/>
                    </a:lnTo>
                    <a:lnTo>
                      <a:pt x="1005792" y="301752"/>
                    </a:lnTo>
                    <a:lnTo>
                      <a:pt x="1056084" y="119968"/>
                    </a:lnTo>
                    <a:cubicBezTo>
                      <a:pt x="1057383" y="115395"/>
                      <a:pt x="1059369" y="111575"/>
                      <a:pt x="1062043" y="108508"/>
                    </a:cubicBezTo>
                    <a:cubicBezTo>
                      <a:pt x="1064717" y="105441"/>
                      <a:pt x="1068144" y="103848"/>
                      <a:pt x="1072324" y="103728"/>
                    </a:cubicBezTo>
                    <a:lnTo>
                      <a:pt x="1113710" y="103728"/>
                    </a:lnTo>
                    <a:cubicBezTo>
                      <a:pt x="1117323" y="103728"/>
                      <a:pt x="1120706" y="105037"/>
                      <a:pt x="1123860" y="107657"/>
                    </a:cubicBezTo>
                    <a:cubicBezTo>
                      <a:pt x="1127014" y="110276"/>
                      <a:pt x="1128695" y="114205"/>
                      <a:pt x="1128903" y="119444"/>
                    </a:cubicBezTo>
                    <a:cubicBezTo>
                      <a:pt x="1128935" y="120655"/>
                      <a:pt x="1128739" y="122292"/>
                      <a:pt x="1128313" y="124355"/>
                    </a:cubicBezTo>
                    <a:cubicBezTo>
                      <a:pt x="1127888" y="126418"/>
                      <a:pt x="1127036" y="129496"/>
                      <a:pt x="1125759" y="133589"/>
                    </a:cubicBezTo>
                    <a:lnTo>
                      <a:pt x="1061323" y="330566"/>
                    </a:lnTo>
                    <a:cubicBezTo>
                      <a:pt x="1055396" y="347821"/>
                      <a:pt x="1046949" y="359804"/>
                      <a:pt x="1035980" y="366516"/>
                    </a:cubicBezTo>
                    <a:cubicBezTo>
                      <a:pt x="1025012" y="373229"/>
                      <a:pt x="1012504" y="376437"/>
                      <a:pt x="998458" y="376143"/>
                    </a:cubicBezTo>
                    <a:cubicBezTo>
                      <a:pt x="984695" y="376361"/>
                      <a:pt x="972668" y="373043"/>
                      <a:pt x="962376" y="366189"/>
                    </a:cubicBezTo>
                    <a:cubicBezTo>
                      <a:pt x="952084" y="359335"/>
                      <a:pt x="944379" y="347635"/>
                      <a:pt x="939260" y="331089"/>
                    </a:cubicBezTo>
                    <a:lnTo>
                      <a:pt x="879538" y="133589"/>
                    </a:lnTo>
                    <a:cubicBezTo>
                      <a:pt x="878490" y="130478"/>
                      <a:pt x="877704" y="127793"/>
                      <a:pt x="877181" y="125534"/>
                    </a:cubicBezTo>
                    <a:cubicBezTo>
                      <a:pt x="876657" y="123275"/>
                      <a:pt x="876395" y="121245"/>
                      <a:pt x="876395" y="119444"/>
                    </a:cubicBezTo>
                    <a:cubicBezTo>
                      <a:pt x="876569" y="113976"/>
                      <a:pt x="878185" y="109981"/>
                      <a:pt x="881241" y="107460"/>
                    </a:cubicBezTo>
                    <a:cubicBezTo>
                      <a:pt x="884297" y="104939"/>
                      <a:pt x="887745" y="103695"/>
                      <a:pt x="891587" y="103728"/>
                    </a:cubicBezTo>
                    <a:close/>
                    <a:moveTo>
                      <a:pt x="771763" y="103728"/>
                    </a:moveTo>
                    <a:lnTo>
                      <a:pt x="818388" y="103728"/>
                    </a:lnTo>
                    <a:cubicBezTo>
                      <a:pt x="822731" y="103848"/>
                      <a:pt x="826486" y="105441"/>
                      <a:pt x="829651" y="108508"/>
                    </a:cubicBezTo>
                    <a:cubicBezTo>
                      <a:pt x="832816" y="111575"/>
                      <a:pt x="834475" y="115395"/>
                      <a:pt x="834628" y="119968"/>
                    </a:cubicBezTo>
                    <a:lnTo>
                      <a:pt x="834628" y="353616"/>
                    </a:lnTo>
                    <a:cubicBezTo>
                      <a:pt x="834475" y="358189"/>
                      <a:pt x="832816" y="362009"/>
                      <a:pt x="829651" y="365076"/>
                    </a:cubicBezTo>
                    <a:cubicBezTo>
                      <a:pt x="826486" y="368143"/>
                      <a:pt x="822731" y="369736"/>
                      <a:pt x="818388" y="369856"/>
                    </a:cubicBezTo>
                    <a:lnTo>
                      <a:pt x="771763" y="369856"/>
                    </a:lnTo>
                    <a:cubicBezTo>
                      <a:pt x="767190" y="369736"/>
                      <a:pt x="763370" y="368143"/>
                      <a:pt x="760303" y="365076"/>
                    </a:cubicBezTo>
                    <a:cubicBezTo>
                      <a:pt x="757236" y="362009"/>
                      <a:pt x="755643" y="358189"/>
                      <a:pt x="755523" y="353616"/>
                    </a:cubicBezTo>
                    <a:lnTo>
                      <a:pt x="755523" y="119968"/>
                    </a:lnTo>
                    <a:cubicBezTo>
                      <a:pt x="755643" y="115395"/>
                      <a:pt x="757236" y="111575"/>
                      <a:pt x="760303" y="108508"/>
                    </a:cubicBezTo>
                    <a:cubicBezTo>
                      <a:pt x="763370" y="105441"/>
                      <a:pt x="767190" y="103848"/>
                      <a:pt x="771763" y="103728"/>
                    </a:cubicBezTo>
                    <a:close/>
                    <a:moveTo>
                      <a:pt x="1589246" y="97441"/>
                    </a:moveTo>
                    <a:cubicBezTo>
                      <a:pt x="1601906" y="97583"/>
                      <a:pt x="1611685" y="100835"/>
                      <a:pt x="1618583" y="107198"/>
                    </a:cubicBezTo>
                    <a:cubicBezTo>
                      <a:pt x="1625481" y="113561"/>
                      <a:pt x="1628973" y="122183"/>
                      <a:pt x="1629060" y="133065"/>
                    </a:cubicBezTo>
                    <a:cubicBezTo>
                      <a:pt x="1628951" y="144470"/>
                      <a:pt x="1625764" y="153485"/>
                      <a:pt x="1619500" y="160110"/>
                    </a:cubicBezTo>
                    <a:cubicBezTo>
                      <a:pt x="1613235" y="166735"/>
                      <a:pt x="1604547" y="170118"/>
                      <a:pt x="1593437" y="170260"/>
                    </a:cubicBezTo>
                    <a:cubicBezTo>
                      <a:pt x="1584171" y="169736"/>
                      <a:pt x="1576378" y="167640"/>
                      <a:pt x="1570059" y="163973"/>
                    </a:cubicBezTo>
                    <a:cubicBezTo>
                      <a:pt x="1563740" y="160306"/>
                      <a:pt x="1557912" y="158211"/>
                      <a:pt x="1552575" y="157687"/>
                    </a:cubicBezTo>
                    <a:cubicBezTo>
                      <a:pt x="1548362" y="157730"/>
                      <a:pt x="1545131" y="158953"/>
                      <a:pt x="1542883" y="161354"/>
                    </a:cubicBezTo>
                    <a:cubicBezTo>
                      <a:pt x="1540635" y="163755"/>
                      <a:pt x="1539500" y="167073"/>
                      <a:pt x="1539478" y="171308"/>
                    </a:cubicBezTo>
                    <a:lnTo>
                      <a:pt x="1539478" y="353616"/>
                    </a:lnTo>
                    <a:cubicBezTo>
                      <a:pt x="1539325" y="358189"/>
                      <a:pt x="1537666" y="362009"/>
                      <a:pt x="1534501" y="365076"/>
                    </a:cubicBezTo>
                    <a:cubicBezTo>
                      <a:pt x="1531336" y="368143"/>
                      <a:pt x="1527581" y="369736"/>
                      <a:pt x="1523238" y="369856"/>
                    </a:cubicBezTo>
                    <a:lnTo>
                      <a:pt x="1476613" y="369856"/>
                    </a:lnTo>
                    <a:cubicBezTo>
                      <a:pt x="1472040" y="369736"/>
                      <a:pt x="1468220" y="368143"/>
                      <a:pt x="1465153" y="365076"/>
                    </a:cubicBezTo>
                    <a:cubicBezTo>
                      <a:pt x="1462086" y="362009"/>
                      <a:pt x="1460493" y="358189"/>
                      <a:pt x="1460373" y="353616"/>
                    </a:cubicBezTo>
                    <a:lnTo>
                      <a:pt x="1460373" y="119968"/>
                    </a:lnTo>
                    <a:cubicBezTo>
                      <a:pt x="1460493" y="115395"/>
                      <a:pt x="1462086" y="111575"/>
                      <a:pt x="1465153" y="108508"/>
                    </a:cubicBezTo>
                    <a:cubicBezTo>
                      <a:pt x="1468220" y="105441"/>
                      <a:pt x="1472040" y="103848"/>
                      <a:pt x="1476613" y="103728"/>
                    </a:cubicBezTo>
                    <a:lnTo>
                      <a:pt x="1518523" y="103728"/>
                    </a:lnTo>
                    <a:cubicBezTo>
                      <a:pt x="1522867" y="103848"/>
                      <a:pt x="1526621" y="105441"/>
                      <a:pt x="1529786" y="108508"/>
                    </a:cubicBezTo>
                    <a:cubicBezTo>
                      <a:pt x="1532951" y="111575"/>
                      <a:pt x="1534610" y="115395"/>
                      <a:pt x="1534763" y="119968"/>
                    </a:cubicBezTo>
                    <a:lnTo>
                      <a:pt x="1534763" y="126254"/>
                    </a:lnTo>
                    <a:cubicBezTo>
                      <a:pt x="1541486" y="118178"/>
                      <a:pt x="1549650" y="111411"/>
                      <a:pt x="1559254" y="105954"/>
                    </a:cubicBezTo>
                    <a:cubicBezTo>
                      <a:pt x="1568858" y="100497"/>
                      <a:pt x="1578856" y="97659"/>
                      <a:pt x="1589246" y="97441"/>
                    </a:cubicBezTo>
                    <a:close/>
                    <a:moveTo>
                      <a:pt x="1288304" y="97441"/>
                    </a:moveTo>
                    <a:cubicBezTo>
                      <a:pt x="1326394" y="98009"/>
                      <a:pt x="1356167" y="110494"/>
                      <a:pt x="1377624" y="134898"/>
                    </a:cubicBezTo>
                    <a:cubicBezTo>
                      <a:pt x="1399081" y="159302"/>
                      <a:pt x="1409995" y="192219"/>
                      <a:pt x="1410366" y="233649"/>
                    </a:cubicBezTo>
                    <a:cubicBezTo>
                      <a:pt x="1410563" y="240437"/>
                      <a:pt x="1409384" y="245458"/>
                      <a:pt x="1406830" y="248710"/>
                    </a:cubicBezTo>
                    <a:cubicBezTo>
                      <a:pt x="1404276" y="251962"/>
                      <a:pt x="1399169" y="253578"/>
                      <a:pt x="1391507" y="253556"/>
                    </a:cubicBezTo>
                    <a:lnTo>
                      <a:pt x="1241155" y="253556"/>
                    </a:lnTo>
                    <a:cubicBezTo>
                      <a:pt x="1241504" y="276606"/>
                      <a:pt x="1247223" y="293894"/>
                      <a:pt x="1258312" y="305420"/>
                    </a:cubicBezTo>
                    <a:cubicBezTo>
                      <a:pt x="1269400" y="316945"/>
                      <a:pt x="1283763" y="322707"/>
                      <a:pt x="1301400" y="322707"/>
                    </a:cubicBezTo>
                    <a:cubicBezTo>
                      <a:pt x="1313559" y="322410"/>
                      <a:pt x="1323584" y="320327"/>
                      <a:pt x="1331475" y="316460"/>
                    </a:cubicBezTo>
                    <a:cubicBezTo>
                      <a:pt x="1339365" y="312592"/>
                      <a:pt x="1346557" y="308724"/>
                      <a:pt x="1353050" y="304857"/>
                    </a:cubicBezTo>
                    <a:cubicBezTo>
                      <a:pt x="1359544" y="300989"/>
                      <a:pt x="1366775" y="298907"/>
                      <a:pt x="1374743" y="298609"/>
                    </a:cubicBezTo>
                    <a:cubicBezTo>
                      <a:pt x="1383212" y="298806"/>
                      <a:pt x="1389848" y="301556"/>
                      <a:pt x="1394650" y="306860"/>
                    </a:cubicBezTo>
                    <a:cubicBezTo>
                      <a:pt x="1399452" y="312164"/>
                      <a:pt x="1401897" y="318844"/>
                      <a:pt x="1401984" y="326898"/>
                    </a:cubicBezTo>
                    <a:cubicBezTo>
                      <a:pt x="1401701" y="341098"/>
                      <a:pt x="1392707" y="352776"/>
                      <a:pt x="1375005" y="361933"/>
                    </a:cubicBezTo>
                    <a:cubicBezTo>
                      <a:pt x="1357302" y="371089"/>
                      <a:pt x="1332593" y="375826"/>
                      <a:pt x="1300876" y="376143"/>
                    </a:cubicBezTo>
                    <a:cubicBezTo>
                      <a:pt x="1256129" y="375881"/>
                      <a:pt x="1221859" y="363832"/>
                      <a:pt x="1198066" y="339995"/>
                    </a:cubicBezTo>
                    <a:cubicBezTo>
                      <a:pt x="1174273" y="316159"/>
                      <a:pt x="1162268" y="282107"/>
                      <a:pt x="1162050" y="237840"/>
                    </a:cubicBezTo>
                    <a:cubicBezTo>
                      <a:pt x="1162628" y="193485"/>
                      <a:pt x="1174306" y="159084"/>
                      <a:pt x="1197084" y="134636"/>
                    </a:cubicBezTo>
                    <a:cubicBezTo>
                      <a:pt x="1219861" y="110189"/>
                      <a:pt x="1250268" y="97790"/>
                      <a:pt x="1288304" y="97441"/>
                    </a:cubicBezTo>
                    <a:close/>
                    <a:moveTo>
                      <a:pt x="440579" y="97441"/>
                    </a:moveTo>
                    <a:cubicBezTo>
                      <a:pt x="478669" y="98009"/>
                      <a:pt x="508442" y="110494"/>
                      <a:pt x="529899" y="134898"/>
                    </a:cubicBezTo>
                    <a:cubicBezTo>
                      <a:pt x="551356" y="159302"/>
                      <a:pt x="562270" y="192219"/>
                      <a:pt x="562641" y="233649"/>
                    </a:cubicBezTo>
                    <a:cubicBezTo>
                      <a:pt x="562838" y="240437"/>
                      <a:pt x="561659" y="245458"/>
                      <a:pt x="559105" y="248710"/>
                    </a:cubicBezTo>
                    <a:cubicBezTo>
                      <a:pt x="556551" y="251962"/>
                      <a:pt x="551444" y="253578"/>
                      <a:pt x="543782" y="253556"/>
                    </a:cubicBezTo>
                    <a:lnTo>
                      <a:pt x="393430" y="253556"/>
                    </a:lnTo>
                    <a:cubicBezTo>
                      <a:pt x="393779" y="276606"/>
                      <a:pt x="399498" y="293894"/>
                      <a:pt x="410587" y="305420"/>
                    </a:cubicBezTo>
                    <a:cubicBezTo>
                      <a:pt x="421675" y="316945"/>
                      <a:pt x="436038" y="322707"/>
                      <a:pt x="453675" y="322707"/>
                    </a:cubicBezTo>
                    <a:cubicBezTo>
                      <a:pt x="465834" y="322410"/>
                      <a:pt x="475859" y="320327"/>
                      <a:pt x="483750" y="316460"/>
                    </a:cubicBezTo>
                    <a:cubicBezTo>
                      <a:pt x="491640" y="312592"/>
                      <a:pt x="498832" y="308724"/>
                      <a:pt x="505326" y="304857"/>
                    </a:cubicBezTo>
                    <a:cubicBezTo>
                      <a:pt x="511819" y="300989"/>
                      <a:pt x="519050" y="298907"/>
                      <a:pt x="527018" y="298609"/>
                    </a:cubicBezTo>
                    <a:cubicBezTo>
                      <a:pt x="535487" y="298806"/>
                      <a:pt x="542123" y="301556"/>
                      <a:pt x="546925" y="306860"/>
                    </a:cubicBezTo>
                    <a:cubicBezTo>
                      <a:pt x="551727" y="312164"/>
                      <a:pt x="554172" y="318844"/>
                      <a:pt x="554259" y="326898"/>
                    </a:cubicBezTo>
                    <a:cubicBezTo>
                      <a:pt x="553976" y="341098"/>
                      <a:pt x="544982" y="352776"/>
                      <a:pt x="527280" y="361933"/>
                    </a:cubicBezTo>
                    <a:cubicBezTo>
                      <a:pt x="509577" y="371089"/>
                      <a:pt x="484868" y="375826"/>
                      <a:pt x="453152" y="376143"/>
                    </a:cubicBezTo>
                    <a:cubicBezTo>
                      <a:pt x="408404" y="375881"/>
                      <a:pt x="374134" y="363832"/>
                      <a:pt x="350341" y="339995"/>
                    </a:cubicBezTo>
                    <a:cubicBezTo>
                      <a:pt x="326548" y="316159"/>
                      <a:pt x="314543" y="282107"/>
                      <a:pt x="314325" y="237840"/>
                    </a:cubicBezTo>
                    <a:cubicBezTo>
                      <a:pt x="314903" y="193485"/>
                      <a:pt x="326581" y="159084"/>
                      <a:pt x="349359" y="134636"/>
                    </a:cubicBezTo>
                    <a:cubicBezTo>
                      <a:pt x="372136" y="110189"/>
                      <a:pt x="402543" y="97790"/>
                      <a:pt x="440579" y="97441"/>
                    </a:cubicBezTo>
                    <a:close/>
                    <a:moveTo>
                      <a:pt x="628888" y="6811"/>
                    </a:moveTo>
                    <a:lnTo>
                      <a:pt x="675513" y="6811"/>
                    </a:lnTo>
                    <a:cubicBezTo>
                      <a:pt x="679856" y="6931"/>
                      <a:pt x="683611" y="8524"/>
                      <a:pt x="686776" y="11591"/>
                    </a:cubicBezTo>
                    <a:cubicBezTo>
                      <a:pt x="689941" y="14658"/>
                      <a:pt x="691600" y="18478"/>
                      <a:pt x="691753" y="23051"/>
                    </a:cubicBezTo>
                    <a:lnTo>
                      <a:pt x="691753" y="353616"/>
                    </a:lnTo>
                    <a:cubicBezTo>
                      <a:pt x="691600" y="358189"/>
                      <a:pt x="689941" y="362009"/>
                      <a:pt x="686776" y="365076"/>
                    </a:cubicBezTo>
                    <a:cubicBezTo>
                      <a:pt x="683611" y="368143"/>
                      <a:pt x="679856" y="369736"/>
                      <a:pt x="675513" y="369856"/>
                    </a:cubicBezTo>
                    <a:lnTo>
                      <a:pt x="628888" y="369856"/>
                    </a:lnTo>
                    <a:cubicBezTo>
                      <a:pt x="624315" y="369736"/>
                      <a:pt x="620495" y="368143"/>
                      <a:pt x="617428" y="365076"/>
                    </a:cubicBezTo>
                    <a:cubicBezTo>
                      <a:pt x="614361" y="362009"/>
                      <a:pt x="612768" y="358189"/>
                      <a:pt x="612648" y="353616"/>
                    </a:cubicBezTo>
                    <a:lnTo>
                      <a:pt x="612648" y="23051"/>
                    </a:lnTo>
                    <a:cubicBezTo>
                      <a:pt x="612768" y="18478"/>
                      <a:pt x="614361" y="14658"/>
                      <a:pt x="617428" y="11591"/>
                    </a:cubicBezTo>
                    <a:cubicBezTo>
                      <a:pt x="620495" y="8524"/>
                      <a:pt x="624315" y="6931"/>
                      <a:pt x="628888" y="6811"/>
                    </a:cubicBezTo>
                    <a:close/>
                    <a:moveTo>
                      <a:pt x="196453" y="6811"/>
                    </a:moveTo>
                    <a:lnTo>
                      <a:pt x="243078" y="6811"/>
                    </a:lnTo>
                    <a:cubicBezTo>
                      <a:pt x="247421" y="6931"/>
                      <a:pt x="251176" y="8524"/>
                      <a:pt x="254341" y="11591"/>
                    </a:cubicBezTo>
                    <a:cubicBezTo>
                      <a:pt x="257506" y="14658"/>
                      <a:pt x="259165" y="18478"/>
                      <a:pt x="259318" y="23051"/>
                    </a:cubicBezTo>
                    <a:lnTo>
                      <a:pt x="259318" y="353616"/>
                    </a:lnTo>
                    <a:cubicBezTo>
                      <a:pt x="259198" y="358189"/>
                      <a:pt x="257604" y="362009"/>
                      <a:pt x="254537" y="365076"/>
                    </a:cubicBezTo>
                    <a:cubicBezTo>
                      <a:pt x="251471" y="368143"/>
                      <a:pt x="247651" y="369736"/>
                      <a:pt x="243078" y="369856"/>
                    </a:cubicBezTo>
                    <a:lnTo>
                      <a:pt x="201168" y="369856"/>
                    </a:lnTo>
                    <a:cubicBezTo>
                      <a:pt x="196824" y="369736"/>
                      <a:pt x="193069" y="368143"/>
                      <a:pt x="189904" y="365076"/>
                    </a:cubicBezTo>
                    <a:cubicBezTo>
                      <a:pt x="186739" y="362009"/>
                      <a:pt x="185080" y="358189"/>
                      <a:pt x="184928" y="353616"/>
                    </a:cubicBezTo>
                    <a:lnTo>
                      <a:pt x="184928" y="349425"/>
                    </a:lnTo>
                    <a:cubicBezTo>
                      <a:pt x="179460" y="356268"/>
                      <a:pt x="170750" y="362358"/>
                      <a:pt x="158799" y="367695"/>
                    </a:cubicBezTo>
                    <a:cubicBezTo>
                      <a:pt x="146848" y="373032"/>
                      <a:pt x="131460" y="375848"/>
                      <a:pt x="112633" y="376143"/>
                    </a:cubicBezTo>
                    <a:cubicBezTo>
                      <a:pt x="79061" y="376033"/>
                      <a:pt x="52038" y="364727"/>
                      <a:pt x="31563" y="342222"/>
                    </a:cubicBezTo>
                    <a:cubicBezTo>
                      <a:pt x="11088" y="319717"/>
                      <a:pt x="567" y="286669"/>
                      <a:pt x="0" y="243078"/>
                    </a:cubicBezTo>
                    <a:cubicBezTo>
                      <a:pt x="611" y="197130"/>
                      <a:pt x="12092" y="161463"/>
                      <a:pt x="34444" y="136077"/>
                    </a:cubicBezTo>
                    <a:cubicBezTo>
                      <a:pt x="56796" y="110691"/>
                      <a:pt x="86352" y="97812"/>
                      <a:pt x="123110" y="97441"/>
                    </a:cubicBezTo>
                    <a:cubicBezTo>
                      <a:pt x="135345" y="97561"/>
                      <a:pt x="146499" y="99024"/>
                      <a:pt x="156573" y="101829"/>
                    </a:cubicBezTo>
                    <a:cubicBezTo>
                      <a:pt x="166646" y="104633"/>
                      <a:pt x="174526" y="108061"/>
                      <a:pt x="180213" y="112110"/>
                    </a:cubicBezTo>
                    <a:lnTo>
                      <a:pt x="180213" y="23051"/>
                    </a:lnTo>
                    <a:cubicBezTo>
                      <a:pt x="180333" y="18478"/>
                      <a:pt x="181926" y="14658"/>
                      <a:pt x="184993" y="11591"/>
                    </a:cubicBezTo>
                    <a:cubicBezTo>
                      <a:pt x="188060" y="8524"/>
                      <a:pt x="191880" y="6931"/>
                      <a:pt x="196453" y="6811"/>
                    </a:cubicBezTo>
                    <a:close/>
                    <a:moveTo>
                      <a:pt x="794813" y="0"/>
                    </a:moveTo>
                    <a:cubicBezTo>
                      <a:pt x="807190" y="240"/>
                      <a:pt x="817536" y="4213"/>
                      <a:pt x="825853" y="11919"/>
                    </a:cubicBezTo>
                    <a:cubicBezTo>
                      <a:pt x="834169" y="19624"/>
                      <a:pt x="838491" y="29621"/>
                      <a:pt x="838819" y="41910"/>
                    </a:cubicBezTo>
                    <a:cubicBezTo>
                      <a:pt x="838491" y="54200"/>
                      <a:pt x="834169" y="64197"/>
                      <a:pt x="825853" y="71902"/>
                    </a:cubicBezTo>
                    <a:cubicBezTo>
                      <a:pt x="817536" y="79608"/>
                      <a:pt x="807190" y="83580"/>
                      <a:pt x="794813" y="83820"/>
                    </a:cubicBezTo>
                    <a:cubicBezTo>
                      <a:pt x="782458" y="83580"/>
                      <a:pt x="772199" y="79608"/>
                      <a:pt x="764036" y="71902"/>
                    </a:cubicBezTo>
                    <a:cubicBezTo>
                      <a:pt x="755872" y="64197"/>
                      <a:pt x="751637" y="54200"/>
                      <a:pt x="751332" y="41910"/>
                    </a:cubicBezTo>
                    <a:cubicBezTo>
                      <a:pt x="751637" y="29621"/>
                      <a:pt x="755872" y="19624"/>
                      <a:pt x="764036" y="11919"/>
                    </a:cubicBezTo>
                    <a:cubicBezTo>
                      <a:pt x="772199" y="4213"/>
                      <a:pt x="782458" y="240"/>
                      <a:pt x="794813"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97000"/>
                  </a:lnSpc>
                </a:pPr>
                <a:endParaRPr lang="en-US" sz="4100" b="1" dirty="0">
                  <a:solidFill>
                    <a:schemeClr val="bg1"/>
                  </a:solidFill>
                </a:endParaRPr>
              </a:p>
            </p:txBody>
          </p:sp>
        </p:grpSp>
        <p:grpSp>
          <p:nvGrpSpPr>
            <p:cNvPr id="5" name="Group 4"/>
            <p:cNvGrpSpPr/>
            <p:nvPr/>
          </p:nvGrpSpPr>
          <p:grpSpPr>
            <a:xfrm>
              <a:off x="629815" y="3448844"/>
              <a:ext cx="7815863" cy="1160081"/>
              <a:chOff x="629815" y="3448844"/>
              <a:chExt cx="7815863" cy="1160081"/>
            </a:xfrm>
          </p:grpSpPr>
          <p:cxnSp>
            <p:nvCxnSpPr>
              <p:cNvPr id="11" name="Straight Arrow Connector 10">
                <a:extLst>
                  <a:ext uri="{FF2B5EF4-FFF2-40B4-BE49-F238E27FC236}">
                    <a16:creationId xmlns:a16="http://schemas.microsoft.com/office/drawing/2014/main" id="{31DB6384-D294-4403-9BC0-151F56E73B74}"/>
                  </a:ext>
                </a:extLst>
              </p:cNvPr>
              <p:cNvCxnSpPr>
                <a:cxnSpLocks/>
              </p:cNvCxnSpPr>
              <p:nvPr/>
            </p:nvCxnSpPr>
            <p:spPr>
              <a:xfrm>
                <a:off x="3740151" y="4183167"/>
                <a:ext cx="1021533" cy="0"/>
              </a:xfrm>
              <a:prstGeom prst="straightConnector1">
                <a:avLst/>
              </a:prstGeom>
              <a:ln w="19050" cap="rnd">
                <a:solidFill>
                  <a:schemeClr val="tx1"/>
                </a:solidFill>
                <a:round/>
                <a:tailEnd type="arrow" w="med" len="sm"/>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9AC58C88-8211-4859-95C3-D99B1922D164}"/>
                  </a:ext>
                </a:extLst>
              </p:cNvPr>
              <p:cNvCxnSpPr>
                <a:cxnSpLocks/>
              </p:cNvCxnSpPr>
              <p:nvPr/>
            </p:nvCxnSpPr>
            <p:spPr>
              <a:xfrm>
                <a:off x="6231917" y="4183167"/>
                <a:ext cx="1021533" cy="0"/>
              </a:xfrm>
              <a:prstGeom prst="straightConnector1">
                <a:avLst/>
              </a:prstGeom>
              <a:ln w="19050" cap="rnd">
                <a:solidFill>
                  <a:schemeClr val="tx1"/>
                </a:solidFill>
                <a:round/>
                <a:tailEnd type="arrow" w="med" len="sm"/>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AF1D69AF-8B67-4C63-A1A8-BB29FEFE8C24}"/>
                  </a:ext>
                </a:extLst>
              </p:cNvPr>
              <p:cNvCxnSpPr>
                <a:cxnSpLocks/>
              </p:cNvCxnSpPr>
              <p:nvPr/>
            </p:nvCxnSpPr>
            <p:spPr>
              <a:xfrm>
                <a:off x="1394997" y="4183167"/>
                <a:ext cx="1021533" cy="0"/>
              </a:xfrm>
              <a:prstGeom prst="straightConnector1">
                <a:avLst/>
              </a:prstGeom>
              <a:ln w="19050" cap="rnd">
                <a:solidFill>
                  <a:schemeClr val="tx1"/>
                </a:solidFill>
                <a:round/>
                <a:tailEnd type="arrow" w="med" len="sm"/>
              </a:ln>
            </p:spPr>
            <p:style>
              <a:lnRef idx="1">
                <a:schemeClr val="accent1"/>
              </a:lnRef>
              <a:fillRef idx="0">
                <a:schemeClr val="accent1"/>
              </a:fillRef>
              <a:effectRef idx="0">
                <a:schemeClr val="accent1"/>
              </a:effectRef>
              <a:fontRef idx="minor">
                <a:schemeClr val="tx1"/>
              </a:fontRef>
            </p:style>
          </p:cxnSp>
          <p:grpSp>
            <p:nvGrpSpPr>
              <p:cNvPr id="65" name="Group 64">
                <a:extLst>
                  <a:ext uri="{FF2B5EF4-FFF2-40B4-BE49-F238E27FC236}">
                    <a16:creationId xmlns:a16="http://schemas.microsoft.com/office/drawing/2014/main" id="{F256ACCE-274D-4ECA-840D-DDC7CBBF7E7C}"/>
                  </a:ext>
                </a:extLst>
              </p:cNvPr>
              <p:cNvGrpSpPr/>
              <p:nvPr/>
            </p:nvGrpSpPr>
            <p:grpSpPr>
              <a:xfrm>
                <a:off x="7488717" y="3651964"/>
                <a:ext cx="956961" cy="956961"/>
                <a:chOff x="7488717" y="6130282"/>
                <a:chExt cx="956961" cy="956961"/>
              </a:xfrm>
            </p:grpSpPr>
            <p:sp>
              <p:nvSpPr>
                <p:cNvPr id="66" name="Oval 6">
                  <a:extLst>
                    <a:ext uri="{FF2B5EF4-FFF2-40B4-BE49-F238E27FC236}">
                      <a16:creationId xmlns:a16="http://schemas.microsoft.com/office/drawing/2014/main" id="{C78BB7A8-4D5E-4621-BB84-640352450BC9}"/>
                    </a:ext>
                  </a:extLst>
                </p:cNvPr>
                <p:cNvSpPr>
                  <a:spLocks noChangeArrowheads="1"/>
                </p:cNvSpPr>
                <p:nvPr/>
              </p:nvSpPr>
              <p:spPr bwMode="auto">
                <a:xfrm>
                  <a:off x="7488717" y="6130282"/>
                  <a:ext cx="954586" cy="956961"/>
                </a:xfrm>
                <a:prstGeom prst="ellipse">
                  <a:avLst/>
                </a:prstGeom>
                <a:solidFill>
                  <a:schemeClr val="accent1"/>
                </a:solidFill>
                <a:ln w="3175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7" name="Freeform 5">
                  <a:extLst>
                    <a:ext uri="{FF2B5EF4-FFF2-40B4-BE49-F238E27FC236}">
                      <a16:creationId xmlns:a16="http://schemas.microsoft.com/office/drawing/2014/main" id="{CDC03C50-4D4D-4681-9CAB-91C3A86C24A0}"/>
                    </a:ext>
                  </a:extLst>
                </p:cNvPr>
                <p:cNvSpPr>
                  <a:spLocks noEditPoints="1"/>
                </p:cNvSpPr>
                <p:nvPr/>
              </p:nvSpPr>
              <p:spPr bwMode="auto">
                <a:xfrm>
                  <a:off x="7500590" y="6173025"/>
                  <a:ext cx="945088" cy="790739"/>
                </a:xfrm>
                <a:custGeom>
                  <a:avLst/>
                  <a:gdLst>
                    <a:gd name="T0" fmla="*/ 205 w 336"/>
                    <a:gd name="T1" fmla="*/ 114 h 281"/>
                    <a:gd name="T2" fmla="*/ 178 w 336"/>
                    <a:gd name="T3" fmla="*/ 114 h 281"/>
                    <a:gd name="T4" fmla="*/ 182 w 336"/>
                    <a:gd name="T5" fmla="*/ 101 h 281"/>
                    <a:gd name="T6" fmla="*/ 156 w 336"/>
                    <a:gd name="T7" fmla="*/ 116 h 281"/>
                    <a:gd name="T8" fmla="*/ 125 w 336"/>
                    <a:gd name="T9" fmla="*/ 78 h 281"/>
                    <a:gd name="T10" fmla="*/ 150 w 336"/>
                    <a:gd name="T11" fmla="*/ 125 h 281"/>
                    <a:gd name="T12" fmla="*/ 151 w 336"/>
                    <a:gd name="T13" fmla="*/ 121 h 281"/>
                    <a:gd name="T14" fmla="*/ 320 w 336"/>
                    <a:gd name="T15" fmla="*/ 206 h 281"/>
                    <a:gd name="T16" fmla="*/ 9 w 336"/>
                    <a:gd name="T17" fmla="*/ 98 h 281"/>
                    <a:gd name="T18" fmla="*/ 74 w 336"/>
                    <a:gd name="T19" fmla="*/ 36 h 281"/>
                    <a:gd name="T20" fmla="*/ 79 w 336"/>
                    <a:gd name="T21" fmla="*/ 27 h 281"/>
                    <a:gd name="T22" fmla="*/ 217 w 336"/>
                    <a:gd name="T23" fmla="*/ 241 h 281"/>
                    <a:gd name="T24" fmla="*/ 216 w 336"/>
                    <a:gd name="T25" fmla="*/ 252 h 281"/>
                    <a:gd name="T26" fmla="*/ 99 w 336"/>
                    <a:gd name="T27" fmla="*/ 78 h 281"/>
                    <a:gd name="T28" fmla="*/ 120 w 336"/>
                    <a:gd name="T29" fmla="*/ 79 h 281"/>
                    <a:gd name="T30" fmla="*/ 112 w 336"/>
                    <a:gd name="T31" fmla="*/ 52 h 281"/>
                    <a:gd name="T32" fmla="*/ 95 w 336"/>
                    <a:gd name="T33" fmla="*/ 60 h 281"/>
                    <a:gd name="T34" fmla="*/ 41 w 336"/>
                    <a:gd name="T35" fmla="*/ 229 h 281"/>
                    <a:gd name="T36" fmla="*/ 6 w 336"/>
                    <a:gd name="T37" fmla="*/ 199 h 281"/>
                    <a:gd name="T38" fmla="*/ 29 w 336"/>
                    <a:gd name="T39" fmla="*/ 258 h 281"/>
                    <a:gd name="T40" fmla="*/ 127 w 336"/>
                    <a:gd name="T41" fmla="*/ 114 h 281"/>
                    <a:gd name="T42" fmla="*/ 147 w 336"/>
                    <a:gd name="T43" fmla="*/ 103 h 281"/>
                    <a:gd name="T44" fmla="*/ 168 w 336"/>
                    <a:gd name="T45" fmla="*/ 124 h 281"/>
                    <a:gd name="T46" fmla="*/ 188 w 336"/>
                    <a:gd name="T47" fmla="*/ 135 h 281"/>
                    <a:gd name="T48" fmla="*/ 133 w 336"/>
                    <a:gd name="T49" fmla="*/ 134 h 281"/>
                    <a:gd name="T50" fmla="*/ 144 w 336"/>
                    <a:gd name="T51" fmla="*/ 70 h 281"/>
                    <a:gd name="T52" fmla="*/ 150 w 336"/>
                    <a:gd name="T53" fmla="*/ 58 h 281"/>
                    <a:gd name="T54" fmla="*/ 168 w 336"/>
                    <a:gd name="T55" fmla="*/ 29 h 281"/>
                    <a:gd name="T56" fmla="*/ 170 w 336"/>
                    <a:gd name="T57" fmla="*/ 55 h 281"/>
                    <a:gd name="T58" fmla="*/ 146 w 336"/>
                    <a:gd name="T59" fmla="*/ 76 h 281"/>
                    <a:gd name="T60" fmla="*/ 109 w 336"/>
                    <a:gd name="T61" fmla="*/ 130 h 281"/>
                    <a:gd name="T62" fmla="*/ 115 w 336"/>
                    <a:gd name="T63" fmla="*/ 198 h 281"/>
                    <a:gd name="T64" fmla="*/ 145 w 336"/>
                    <a:gd name="T65" fmla="*/ 231 h 281"/>
                    <a:gd name="T66" fmla="*/ 167 w 336"/>
                    <a:gd name="T67" fmla="*/ 281 h 281"/>
                    <a:gd name="T68" fmla="*/ 219 w 336"/>
                    <a:gd name="T69" fmla="*/ 192 h 281"/>
                    <a:gd name="T70" fmla="*/ 211 w 336"/>
                    <a:gd name="T71" fmla="*/ 176 h 281"/>
                    <a:gd name="T72" fmla="*/ 236 w 336"/>
                    <a:gd name="T73" fmla="*/ 166 h 281"/>
                    <a:gd name="T74" fmla="*/ 246 w 336"/>
                    <a:gd name="T75" fmla="*/ 156 h 281"/>
                    <a:gd name="T76" fmla="*/ 273 w 336"/>
                    <a:gd name="T77" fmla="*/ 201 h 281"/>
                    <a:gd name="T78" fmla="*/ 281 w 336"/>
                    <a:gd name="T79" fmla="*/ 195 h 281"/>
                    <a:gd name="T80" fmla="*/ 304 w 336"/>
                    <a:gd name="T81" fmla="*/ 159 h 281"/>
                    <a:gd name="T82" fmla="*/ 321 w 336"/>
                    <a:gd name="T83" fmla="*/ 186 h 281"/>
                    <a:gd name="T84" fmla="*/ 306 w 336"/>
                    <a:gd name="T85" fmla="*/ 62 h 281"/>
                    <a:gd name="T86" fmla="*/ 269 w 336"/>
                    <a:gd name="T87" fmla="*/ 22 h 281"/>
                    <a:gd name="T88" fmla="*/ 232 w 336"/>
                    <a:gd name="T89" fmla="*/ 12 h 281"/>
                    <a:gd name="T90" fmla="*/ 209 w 336"/>
                    <a:gd name="T91" fmla="*/ 20 h 281"/>
                    <a:gd name="T92" fmla="*/ 180 w 336"/>
                    <a:gd name="T93" fmla="*/ 13 h 281"/>
                    <a:gd name="T94" fmla="*/ 172 w 336"/>
                    <a:gd name="T95" fmla="*/ 1 h 281"/>
                    <a:gd name="T96" fmla="*/ 142 w 336"/>
                    <a:gd name="T97" fmla="*/ 31 h 281"/>
                    <a:gd name="T98" fmla="*/ 134 w 336"/>
                    <a:gd name="T99" fmla="*/ 77 h 281"/>
                    <a:gd name="T100" fmla="*/ 118 w 336"/>
                    <a:gd name="T101" fmla="*/ 10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36" h="281">
                      <a:moveTo>
                        <a:pt x="182" y="101"/>
                      </a:moveTo>
                      <a:cubicBezTo>
                        <a:pt x="185" y="100"/>
                        <a:pt x="189" y="102"/>
                        <a:pt x="191" y="104"/>
                      </a:cubicBezTo>
                      <a:cubicBezTo>
                        <a:pt x="195" y="106"/>
                        <a:pt x="205" y="106"/>
                        <a:pt x="205" y="114"/>
                      </a:cubicBezTo>
                      <a:cubicBezTo>
                        <a:pt x="204" y="124"/>
                        <a:pt x="192" y="119"/>
                        <a:pt x="188" y="120"/>
                      </a:cubicBezTo>
                      <a:cubicBezTo>
                        <a:pt x="184" y="120"/>
                        <a:pt x="181" y="119"/>
                        <a:pt x="179" y="117"/>
                      </a:cubicBezTo>
                      <a:cubicBezTo>
                        <a:pt x="177" y="114"/>
                        <a:pt x="179" y="116"/>
                        <a:pt x="178" y="114"/>
                      </a:cubicBezTo>
                      <a:cubicBezTo>
                        <a:pt x="178" y="113"/>
                        <a:pt x="178" y="114"/>
                        <a:pt x="178" y="113"/>
                      </a:cubicBezTo>
                      <a:cubicBezTo>
                        <a:pt x="178" y="112"/>
                        <a:pt x="178" y="112"/>
                        <a:pt x="178" y="111"/>
                      </a:cubicBezTo>
                      <a:cubicBezTo>
                        <a:pt x="177" y="107"/>
                        <a:pt x="177" y="102"/>
                        <a:pt x="182" y="101"/>
                      </a:cubicBezTo>
                      <a:close/>
                      <a:moveTo>
                        <a:pt x="156" y="118"/>
                      </a:moveTo>
                      <a:cubicBezTo>
                        <a:pt x="157" y="118"/>
                        <a:pt x="157" y="118"/>
                        <a:pt x="157" y="118"/>
                      </a:cubicBezTo>
                      <a:cubicBezTo>
                        <a:pt x="156" y="117"/>
                        <a:pt x="157" y="117"/>
                        <a:pt x="156" y="116"/>
                      </a:cubicBezTo>
                      <a:lnTo>
                        <a:pt x="156" y="118"/>
                      </a:lnTo>
                      <a:close/>
                      <a:moveTo>
                        <a:pt x="126" y="79"/>
                      </a:moveTo>
                      <a:cubicBezTo>
                        <a:pt x="125" y="78"/>
                        <a:pt x="125" y="78"/>
                        <a:pt x="125" y="78"/>
                      </a:cubicBezTo>
                      <a:cubicBezTo>
                        <a:pt x="125" y="81"/>
                        <a:pt x="125" y="81"/>
                        <a:pt x="125" y="81"/>
                      </a:cubicBezTo>
                      <a:cubicBezTo>
                        <a:pt x="126" y="80"/>
                        <a:pt x="125" y="81"/>
                        <a:pt x="126" y="79"/>
                      </a:cubicBezTo>
                      <a:close/>
                      <a:moveTo>
                        <a:pt x="150" y="125"/>
                      </a:moveTo>
                      <a:cubicBezTo>
                        <a:pt x="152" y="124"/>
                        <a:pt x="151" y="124"/>
                        <a:pt x="152" y="123"/>
                      </a:cubicBezTo>
                      <a:cubicBezTo>
                        <a:pt x="151" y="121"/>
                        <a:pt x="151" y="121"/>
                        <a:pt x="151" y="121"/>
                      </a:cubicBezTo>
                      <a:cubicBezTo>
                        <a:pt x="151" y="121"/>
                        <a:pt x="151" y="121"/>
                        <a:pt x="151" y="121"/>
                      </a:cubicBezTo>
                      <a:lnTo>
                        <a:pt x="150" y="125"/>
                      </a:lnTo>
                      <a:close/>
                      <a:moveTo>
                        <a:pt x="326" y="211"/>
                      </a:moveTo>
                      <a:cubicBezTo>
                        <a:pt x="325" y="209"/>
                        <a:pt x="322" y="207"/>
                        <a:pt x="320" y="206"/>
                      </a:cubicBezTo>
                      <a:cubicBezTo>
                        <a:pt x="321" y="209"/>
                        <a:pt x="323" y="210"/>
                        <a:pt x="326" y="211"/>
                      </a:cubicBezTo>
                      <a:close/>
                      <a:moveTo>
                        <a:pt x="6" y="98"/>
                      </a:moveTo>
                      <a:cubicBezTo>
                        <a:pt x="9" y="98"/>
                        <a:pt x="9" y="98"/>
                        <a:pt x="9" y="98"/>
                      </a:cubicBezTo>
                      <a:cubicBezTo>
                        <a:pt x="10" y="96"/>
                        <a:pt x="10" y="95"/>
                        <a:pt x="7" y="94"/>
                      </a:cubicBezTo>
                      <a:lnTo>
                        <a:pt x="6" y="98"/>
                      </a:lnTo>
                      <a:close/>
                      <a:moveTo>
                        <a:pt x="74" y="36"/>
                      </a:moveTo>
                      <a:cubicBezTo>
                        <a:pt x="81" y="33"/>
                        <a:pt x="81" y="33"/>
                        <a:pt x="81" y="33"/>
                      </a:cubicBezTo>
                      <a:cubicBezTo>
                        <a:pt x="85" y="32"/>
                        <a:pt x="87" y="34"/>
                        <a:pt x="89" y="31"/>
                      </a:cubicBezTo>
                      <a:cubicBezTo>
                        <a:pt x="88" y="29"/>
                        <a:pt x="81" y="26"/>
                        <a:pt x="79" y="27"/>
                      </a:cubicBezTo>
                      <a:cubicBezTo>
                        <a:pt x="77" y="28"/>
                        <a:pt x="74" y="32"/>
                        <a:pt x="74" y="36"/>
                      </a:cubicBezTo>
                      <a:close/>
                      <a:moveTo>
                        <a:pt x="218" y="239"/>
                      </a:moveTo>
                      <a:cubicBezTo>
                        <a:pt x="218" y="240"/>
                        <a:pt x="218" y="239"/>
                        <a:pt x="217" y="241"/>
                      </a:cubicBezTo>
                      <a:cubicBezTo>
                        <a:pt x="214" y="248"/>
                        <a:pt x="214" y="248"/>
                        <a:pt x="214" y="248"/>
                      </a:cubicBezTo>
                      <a:cubicBezTo>
                        <a:pt x="211" y="252"/>
                        <a:pt x="205" y="256"/>
                        <a:pt x="209" y="261"/>
                      </a:cubicBezTo>
                      <a:cubicBezTo>
                        <a:pt x="215" y="266"/>
                        <a:pt x="215" y="255"/>
                        <a:pt x="216" y="252"/>
                      </a:cubicBezTo>
                      <a:cubicBezTo>
                        <a:pt x="217" y="244"/>
                        <a:pt x="219" y="250"/>
                        <a:pt x="218" y="239"/>
                      </a:cubicBezTo>
                      <a:close/>
                      <a:moveTo>
                        <a:pt x="95" y="60"/>
                      </a:moveTo>
                      <a:cubicBezTo>
                        <a:pt x="91" y="66"/>
                        <a:pt x="94" y="66"/>
                        <a:pt x="99" y="78"/>
                      </a:cubicBezTo>
                      <a:cubicBezTo>
                        <a:pt x="101" y="77"/>
                        <a:pt x="101" y="75"/>
                        <a:pt x="104" y="74"/>
                      </a:cubicBezTo>
                      <a:cubicBezTo>
                        <a:pt x="111" y="72"/>
                        <a:pt x="109" y="82"/>
                        <a:pt x="109" y="87"/>
                      </a:cubicBezTo>
                      <a:cubicBezTo>
                        <a:pt x="113" y="86"/>
                        <a:pt x="117" y="82"/>
                        <a:pt x="120" y="79"/>
                      </a:cubicBezTo>
                      <a:cubicBezTo>
                        <a:pt x="119" y="76"/>
                        <a:pt x="118" y="79"/>
                        <a:pt x="115" y="71"/>
                      </a:cubicBezTo>
                      <a:cubicBezTo>
                        <a:pt x="114" y="70"/>
                        <a:pt x="114" y="69"/>
                        <a:pt x="113" y="68"/>
                      </a:cubicBezTo>
                      <a:cubicBezTo>
                        <a:pt x="109" y="61"/>
                        <a:pt x="113" y="59"/>
                        <a:pt x="112" y="52"/>
                      </a:cubicBezTo>
                      <a:cubicBezTo>
                        <a:pt x="111" y="51"/>
                        <a:pt x="111" y="51"/>
                        <a:pt x="109" y="51"/>
                      </a:cubicBezTo>
                      <a:cubicBezTo>
                        <a:pt x="108" y="55"/>
                        <a:pt x="110" y="59"/>
                        <a:pt x="106" y="62"/>
                      </a:cubicBezTo>
                      <a:cubicBezTo>
                        <a:pt x="102" y="64"/>
                        <a:pt x="102" y="59"/>
                        <a:pt x="95" y="60"/>
                      </a:cubicBezTo>
                      <a:close/>
                      <a:moveTo>
                        <a:pt x="29" y="258"/>
                      </a:moveTo>
                      <a:cubicBezTo>
                        <a:pt x="34" y="256"/>
                        <a:pt x="41" y="248"/>
                        <a:pt x="42" y="242"/>
                      </a:cubicBezTo>
                      <a:cubicBezTo>
                        <a:pt x="43" y="241"/>
                        <a:pt x="41" y="235"/>
                        <a:pt x="41" y="229"/>
                      </a:cubicBezTo>
                      <a:cubicBezTo>
                        <a:pt x="41" y="216"/>
                        <a:pt x="45" y="215"/>
                        <a:pt x="26" y="208"/>
                      </a:cubicBezTo>
                      <a:cubicBezTo>
                        <a:pt x="21" y="206"/>
                        <a:pt x="16" y="202"/>
                        <a:pt x="12" y="200"/>
                      </a:cubicBezTo>
                      <a:cubicBezTo>
                        <a:pt x="10" y="200"/>
                        <a:pt x="8" y="199"/>
                        <a:pt x="6" y="199"/>
                      </a:cubicBezTo>
                      <a:cubicBezTo>
                        <a:pt x="4" y="199"/>
                        <a:pt x="2" y="198"/>
                        <a:pt x="0" y="197"/>
                      </a:cubicBezTo>
                      <a:cubicBezTo>
                        <a:pt x="4" y="216"/>
                        <a:pt x="14" y="235"/>
                        <a:pt x="24" y="251"/>
                      </a:cubicBezTo>
                      <a:cubicBezTo>
                        <a:pt x="26" y="254"/>
                        <a:pt x="28" y="256"/>
                        <a:pt x="29" y="258"/>
                      </a:cubicBezTo>
                      <a:close/>
                      <a:moveTo>
                        <a:pt x="121" y="132"/>
                      </a:moveTo>
                      <a:cubicBezTo>
                        <a:pt x="108" y="132"/>
                        <a:pt x="106" y="123"/>
                        <a:pt x="119" y="117"/>
                      </a:cubicBezTo>
                      <a:cubicBezTo>
                        <a:pt x="125" y="115"/>
                        <a:pt x="124" y="118"/>
                        <a:pt x="127" y="114"/>
                      </a:cubicBezTo>
                      <a:cubicBezTo>
                        <a:pt x="130" y="110"/>
                        <a:pt x="136" y="104"/>
                        <a:pt x="141" y="107"/>
                      </a:cubicBezTo>
                      <a:cubicBezTo>
                        <a:pt x="146" y="110"/>
                        <a:pt x="149" y="116"/>
                        <a:pt x="151" y="120"/>
                      </a:cubicBezTo>
                      <a:cubicBezTo>
                        <a:pt x="150" y="111"/>
                        <a:pt x="147" y="118"/>
                        <a:pt x="147" y="103"/>
                      </a:cubicBezTo>
                      <a:cubicBezTo>
                        <a:pt x="153" y="105"/>
                        <a:pt x="156" y="108"/>
                        <a:pt x="159" y="112"/>
                      </a:cubicBezTo>
                      <a:cubicBezTo>
                        <a:pt x="161" y="117"/>
                        <a:pt x="160" y="113"/>
                        <a:pt x="164" y="117"/>
                      </a:cubicBezTo>
                      <a:cubicBezTo>
                        <a:pt x="166" y="119"/>
                        <a:pt x="167" y="121"/>
                        <a:pt x="168" y="124"/>
                      </a:cubicBezTo>
                      <a:cubicBezTo>
                        <a:pt x="170" y="123"/>
                        <a:pt x="173" y="122"/>
                        <a:pt x="178" y="125"/>
                      </a:cubicBezTo>
                      <a:cubicBezTo>
                        <a:pt x="177" y="128"/>
                        <a:pt x="177" y="128"/>
                        <a:pt x="177" y="128"/>
                      </a:cubicBezTo>
                      <a:cubicBezTo>
                        <a:pt x="181" y="130"/>
                        <a:pt x="186" y="131"/>
                        <a:pt x="188" y="135"/>
                      </a:cubicBezTo>
                      <a:cubicBezTo>
                        <a:pt x="191" y="141"/>
                        <a:pt x="185" y="143"/>
                        <a:pt x="179" y="142"/>
                      </a:cubicBezTo>
                      <a:cubicBezTo>
                        <a:pt x="168" y="140"/>
                        <a:pt x="161" y="138"/>
                        <a:pt x="149" y="138"/>
                      </a:cubicBezTo>
                      <a:cubicBezTo>
                        <a:pt x="142" y="138"/>
                        <a:pt x="136" y="139"/>
                        <a:pt x="133" y="134"/>
                      </a:cubicBezTo>
                      <a:cubicBezTo>
                        <a:pt x="129" y="126"/>
                        <a:pt x="128" y="132"/>
                        <a:pt x="121" y="132"/>
                      </a:cubicBezTo>
                      <a:close/>
                      <a:moveTo>
                        <a:pt x="146" y="76"/>
                      </a:moveTo>
                      <a:cubicBezTo>
                        <a:pt x="144" y="75"/>
                        <a:pt x="142" y="73"/>
                        <a:pt x="144" y="70"/>
                      </a:cubicBezTo>
                      <a:cubicBezTo>
                        <a:pt x="147" y="64"/>
                        <a:pt x="145" y="66"/>
                        <a:pt x="145" y="63"/>
                      </a:cubicBezTo>
                      <a:cubicBezTo>
                        <a:pt x="145" y="62"/>
                        <a:pt x="146" y="60"/>
                        <a:pt x="147" y="60"/>
                      </a:cubicBezTo>
                      <a:cubicBezTo>
                        <a:pt x="148" y="59"/>
                        <a:pt x="149" y="59"/>
                        <a:pt x="150" y="58"/>
                      </a:cubicBezTo>
                      <a:cubicBezTo>
                        <a:pt x="151" y="56"/>
                        <a:pt x="150" y="51"/>
                        <a:pt x="151" y="49"/>
                      </a:cubicBezTo>
                      <a:cubicBezTo>
                        <a:pt x="151" y="45"/>
                        <a:pt x="154" y="37"/>
                        <a:pt x="156" y="34"/>
                      </a:cubicBezTo>
                      <a:cubicBezTo>
                        <a:pt x="160" y="27"/>
                        <a:pt x="163" y="27"/>
                        <a:pt x="168" y="29"/>
                      </a:cubicBezTo>
                      <a:cubicBezTo>
                        <a:pt x="169" y="36"/>
                        <a:pt x="161" y="34"/>
                        <a:pt x="166" y="44"/>
                      </a:cubicBezTo>
                      <a:cubicBezTo>
                        <a:pt x="168" y="49"/>
                        <a:pt x="170" y="50"/>
                        <a:pt x="170" y="55"/>
                      </a:cubicBezTo>
                      <a:cubicBezTo>
                        <a:pt x="170" y="55"/>
                        <a:pt x="170" y="55"/>
                        <a:pt x="170" y="55"/>
                      </a:cubicBezTo>
                      <a:cubicBezTo>
                        <a:pt x="169" y="57"/>
                        <a:pt x="169" y="57"/>
                        <a:pt x="169" y="58"/>
                      </a:cubicBezTo>
                      <a:cubicBezTo>
                        <a:pt x="167" y="62"/>
                        <a:pt x="164" y="70"/>
                        <a:pt x="162" y="72"/>
                      </a:cubicBezTo>
                      <a:cubicBezTo>
                        <a:pt x="158" y="75"/>
                        <a:pt x="151" y="76"/>
                        <a:pt x="146" y="76"/>
                      </a:cubicBezTo>
                      <a:close/>
                      <a:moveTo>
                        <a:pt x="101" y="110"/>
                      </a:moveTo>
                      <a:cubicBezTo>
                        <a:pt x="101" y="112"/>
                        <a:pt x="103" y="113"/>
                        <a:pt x="102" y="123"/>
                      </a:cubicBezTo>
                      <a:cubicBezTo>
                        <a:pt x="107" y="124"/>
                        <a:pt x="109" y="125"/>
                        <a:pt x="109" y="130"/>
                      </a:cubicBezTo>
                      <a:cubicBezTo>
                        <a:pt x="101" y="137"/>
                        <a:pt x="105" y="128"/>
                        <a:pt x="95" y="142"/>
                      </a:cubicBezTo>
                      <a:cubicBezTo>
                        <a:pt x="87" y="153"/>
                        <a:pt x="76" y="178"/>
                        <a:pt x="87" y="192"/>
                      </a:cubicBezTo>
                      <a:cubicBezTo>
                        <a:pt x="97" y="203"/>
                        <a:pt x="103" y="196"/>
                        <a:pt x="115" y="198"/>
                      </a:cubicBezTo>
                      <a:cubicBezTo>
                        <a:pt x="122" y="199"/>
                        <a:pt x="124" y="199"/>
                        <a:pt x="132" y="199"/>
                      </a:cubicBezTo>
                      <a:cubicBezTo>
                        <a:pt x="138" y="199"/>
                        <a:pt x="144" y="202"/>
                        <a:pt x="144" y="209"/>
                      </a:cubicBezTo>
                      <a:cubicBezTo>
                        <a:pt x="143" y="216"/>
                        <a:pt x="145" y="224"/>
                        <a:pt x="145" y="231"/>
                      </a:cubicBezTo>
                      <a:cubicBezTo>
                        <a:pt x="145" y="246"/>
                        <a:pt x="140" y="245"/>
                        <a:pt x="146" y="263"/>
                      </a:cubicBezTo>
                      <a:cubicBezTo>
                        <a:pt x="148" y="269"/>
                        <a:pt x="150" y="272"/>
                        <a:pt x="153" y="275"/>
                      </a:cubicBezTo>
                      <a:cubicBezTo>
                        <a:pt x="156" y="278"/>
                        <a:pt x="162" y="281"/>
                        <a:pt x="167" y="281"/>
                      </a:cubicBezTo>
                      <a:cubicBezTo>
                        <a:pt x="187" y="281"/>
                        <a:pt x="186" y="253"/>
                        <a:pt x="193" y="231"/>
                      </a:cubicBezTo>
                      <a:cubicBezTo>
                        <a:pt x="196" y="222"/>
                        <a:pt x="201" y="206"/>
                        <a:pt x="208" y="200"/>
                      </a:cubicBezTo>
                      <a:cubicBezTo>
                        <a:pt x="215" y="194"/>
                        <a:pt x="218" y="195"/>
                        <a:pt x="219" y="192"/>
                      </a:cubicBezTo>
                      <a:cubicBezTo>
                        <a:pt x="220" y="191"/>
                        <a:pt x="221" y="190"/>
                        <a:pt x="221" y="189"/>
                      </a:cubicBezTo>
                      <a:cubicBezTo>
                        <a:pt x="222" y="188"/>
                        <a:pt x="222" y="187"/>
                        <a:pt x="222" y="186"/>
                      </a:cubicBezTo>
                      <a:cubicBezTo>
                        <a:pt x="219" y="185"/>
                        <a:pt x="211" y="187"/>
                        <a:pt x="211" y="176"/>
                      </a:cubicBezTo>
                      <a:cubicBezTo>
                        <a:pt x="211" y="171"/>
                        <a:pt x="215" y="167"/>
                        <a:pt x="222" y="170"/>
                      </a:cubicBezTo>
                      <a:cubicBezTo>
                        <a:pt x="226" y="171"/>
                        <a:pt x="229" y="171"/>
                        <a:pt x="234" y="169"/>
                      </a:cubicBezTo>
                      <a:cubicBezTo>
                        <a:pt x="236" y="168"/>
                        <a:pt x="236" y="169"/>
                        <a:pt x="236" y="166"/>
                      </a:cubicBezTo>
                      <a:cubicBezTo>
                        <a:pt x="237" y="163"/>
                        <a:pt x="236" y="165"/>
                        <a:pt x="238" y="164"/>
                      </a:cubicBezTo>
                      <a:cubicBezTo>
                        <a:pt x="240" y="163"/>
                        <a:pt x="241" y="163"/>
                        <a:pt x="241" y="161"/>
                      </a:cubicBezTo>
                      <a:cubicBezTo>
                        <a:pt x="243" y="160"/>
                        <a:pt x="244" y="158"/>
                        <a:pt x="246" y="156"/>
                      </a:cubicBezTo>
                      <a:cubicBezTo>
                        <a:pt x="251" y="152"/>
                        <a:pt x="257" y="157"/>
                        <a:pt x="259" y="160"/>
                      </a:cubicBezTo>
                      <a:cubicBezTo>
                        <a:pt x="265" y="170"/>
                        <a:pt x="268" y="186"/>
                        <a:pt x="272" y="198"/>
                      </a:cubicBezTo>
                      <a:cubicBezTo>
                        <a:pt x="272" y="199"/>
                        <a:pt x="273" y="200"/>
                        <a:pt x="273" y="201"/>
                      </a:cubicBezTo>
                      <a:cubicBezTo>
                        <a:pt x="274" y="202"/>
                        <a:pt x="274" y="202"/>
                        <a:pt x="274" y="203"/>
                      </a:cubicBezTo>
                      <a:cubicBezTo>
                        <a:pt x="276" y="204"/>
                        <a:pt x="276" y="204"/>
                        <a:pt x="276" y="204"/>
                      </a:cubicBezTo>
                      <a:cubicBezTo>
                        <a:pt x="281" y="195"/>
                        <a:pt x="281" y="195"/>
                        <a:pt x="281" y="195"/>
                      </a:cubicBezTo>
                      <a:cubicBezTo>
                        <a:pt x="286" y="187"/>
                        <a:pt x="283" y="180"/>
                        <a:pt x="289" y="174"/>
                      </a:cubicBezTo>
                      <a:cubicBezTo>
                        <a:pt x="292" y="171"/>
                        <a:pt x="295" y="169"/>
                        <a:pt x="297" y="166"/>
                      </a:cubicBezTo>
                      <a:cubicBezTo>
                        <a:pt x="298" y="164"/>
                        <a:pt x="301" y="159"/>
                        <a:pt x="304" y="159"/>
                      </a:cubicBezTo>
                      <a:cubicBezTo>
                        <a:pt x="307" y="159"/>
                        <a:pt x="308" y="164"/>
                        <a:pt x="310" y="167"/>
                      </a:cubicBezTo>
                      <a:cubicBezTo>
                        <a:pt x="311" y="171"/>
                        <a:pt x="314" y="173"/>
                        <a:pt x="316" y="176"/>
                      </a:cubicBezTo>
                      <a:cubicBezTo>
                        <a:pt x="318" y="179"/>
                        <a:pt x="320" y="183"/>
                        <a:pt x="321" y="186"/>
                      </a:cubicBezTo>
                      <a:cubicBezTo>
                        <a:pt x="326" y="186"/>
                        <a:pt x="328" y="187"/>
                        <a:pt x="332" y="188"/>
                      </a:cubicBezTo>
                      <a:cubicBezTo>
                        <a:pt x="334" y="170"/>
                        <a:pt x="336" y="165"/>
                        <a:pt x="335" y="146"/>
                      </a:cubicBezTo>
                      <a:cubicBezTo>
                        <a:pt x="332" y="116"/>
                        <a:pt x="323" y="87"/>
                        <a:pt x="306" y="62"/>
                      </a:cubicBezTo>
                      <a:cubicBezTo>
                        <a:pt x="305" y="60"/>
                        <a:pt x="303" y="58"/>
                        <a:pt x="302" y="56"/>
                      </a:cubicBezTo>
                      <a:cubicBezTo>
                        <a:pt x="300" y="54"/>
                        <a:pt x="299" y="52"/>
                        <a:pt x="297" y="49"/>
                      </a:cubicBezTo>
                      <a:cubicBezTo>
                        <a:pt x="289" y="40"/>
                        <a:pt x="278" y="29"/>
                        <a:pt x="269" y="22"/>
                      </a:cubicBezTo>
                      <a:cubicBezTo>
                        <a:pt x="265" y="19"/>
                        <a:pt x="251" y="9"/>
                        <a:pt x="248" y="9"/>
                      </a:cubicBezTo>
                      <a:cubicBezTo>
                        <a:pt x="239" y="7"/>
                        <a:pt x="239" y="7"/>
                        <a:pt x="239" y="7"/>
                      </a:cubicBezTo>
                      <a:cubicBezTo>
                        <a:pt x="237" y="8"/>
                        <a:pt x="235" y="11"/>
                        <a:pt x="232" y="12"/>
                      </a:cubicBezTo>
                      <a:cubicBezTo>
                        <a:pt x="227" y="14"/>
                        <a:pt x="228" y="11"/>
                        <a:pt x="225" y="16"/>
                      </a:cubicBezTo>
                      <a:cubicBezTo>
                        <a:pt x="223" y="18"/>
                        <a:pt x="221" y="20"/>
                        <a:pt x="218" y="20"/>
                      </a:cubicBezTo>
                      <a:cubicBezTo>
                        <a:pt x="213" y="20"/>
                        <a:pt x="216" y="18"/>
                        <a:pt x="209" y="20"/>
                      </a:cubicBezTo>
                      <a:cubicBezTo>
                        <a:pt x="205" y="20"/>
                        <a:pt x="193" y="15"/>
                        <a:pt x="188" y="13"/>
                      </a:cubicBezTo>
                      <a:cubicBezTo>
                        <a:pt x="186" y="11"/>
                        <a:pt x="187" y="12"/>
                        <a:pt x="186" y="10"/>
                      </a:cubicBezTo>
                      <a:cubicBezTo>
                        <a:pt x="184" y="12"/>
                        <a:pt x="181" y="13"/>
                        <a:pt x="180" y="13"/>
                      </a:cubicBezTo>
                      <a:cubicBezTo>
                        <a:pt x="175" y="10"/>
                        <a:pt x="179" y="5"/>
                        <a:pt x="177" y="3"/>
                      </a:cubicBezTo>
                      <a:cubicBezTo>
                        <a:pt x="176" y="2"/>
                        <a:pt x="176" y="3"/>
                        <a:pt x="175" y="2"/>
                      </a:cubicBezTo>
                      <a:cubicBezTo>
                        <a:pt x="173" y="2"/>
                        <a:pt x="174" y="2"/>
                        <a:pt x="172" y="1"/>
                      </a:cubicBezTo>
                      <a:cubicBezTo>
                        <a:pt x="169" y="0"/>
                        <a:pt x="161" y="6"/>
                        <a:pt x="159" y="8"/>
                      </a:cubicBezTo>
                      <a:cubicBezTo>
                        <a:pt x="156" y="11"/>
                        <a:pt x="155" y="11"/>
                        <a:pt x="151" y="13"/>
                      </a:cubicBezTo>
                      <a:cubicBezTo>
                        <a:pt x="142" y="19"/>
                        <a:pt x="147" y="21"/>
                        <a:pt x="142" y="31"/>
                      </a:cubicBezTo>
                      <a:cubicBezTo>
                        <a:pt x="139" y="38"/>
                        <a:pt x="134" y="45"/>
                        <a:pt x="134" y="50"/>
                      </a:cubicBezTo>
                      <a:cubicBezTo>
                        <a:pt x="134" y="57"/>
                        <a:pt x="141" y="64"/>
                        <a:pt x="140" y="70"/>
                      </a:cubicBezTo>
                      <a:cubicBezTo>
                        <a:pt x="140" y="74"/>
                        <a:pt x="137" y="75"/>
                        <a:pt x="134" y="77"/>
                      </a:cubicBezTo>
                      <a:cubicBezTo>
                        <a:pt x="131" y="79"/>
                        <a:pt x="131" y="81"/>
                        <a:pt x="128" y="84"/>
                      </a:cubicBezTo>
                      <a:cubicBezTo>
                        <a:pt x="126" y="87"/>
                        <a:pt x="123" y="88"/>
                        <a:pt x="120" y="89"/>
                      </a:cubicBezTo>
                      <a:cubicBezTo>
                        <a:pt x="116" y="92"/>
                        <a:pt x="117" y="94"/>
                        <a:pt x="118" y="100"/>
                      </a:cubicBezTo>
                      <a:cubicBezTo>
                        <a:pt x="119" y="109"/>
                        <a:pt x="108" y="107"/>
                        <a:pt x="101" y="110"/>
                      </a:cubicBezTo>
                      <a:close/>
                    </a:path>
                  </a:pathLst>
                </a:custGeom>
                <a:noFill/>
                <a:ln w="15875"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68" name="Group 33">
                <a:extLst>
                  <a:ext uri="{FF2B5EF4-FFF2-40B4-BE49-F238E27FC236}">
                    <a16:creationId xmlns:a16="http://schemas.microsoft.com/office/drawing/2014/main" id="{7B9B7044-AEBB-485F-8BA6-9D341E676B4F}"/>
                  </a:ext>
                </a:extLst>
              </p:cNvPr>
              <p:cNvGrpSpPr>
                <a:grpSpLocks noChangeAspect="1"/>
              </p:cNvGrpSpPr>
              <p:nvPr/>
            </p:nvGrpSpPr>
            <p:grpSpPr bwMode="auto">
              <a:xfrm>
                <a:off x="629815" y="3631685"/>
                <a:ext cx="787407" cy="916781"/>
                <a:chOff x="482" y="3088"/>
                <a:chExt cx="353" cy="411"/>
              </a:xfrm>
            </p:grpSpPr>
            <p:sp>
              <p:nvSpPr>
                <p:cNvPr id="69" name="Freeform 34">
                  <a:extLst>
                    <a:ext uri="{FF2B5EF4-FFF2-40B4-BE49-F238E27FC236}">
                      <a16:creationId xmlns:a16="http://schemas.microsoft.com/office/drawing/2014/main" id="{EAFCD19C-B1D9-44CE-90C4-DCC89AE1EFA6}"/>
                    </a:ext>
                  </a:extLst>
                </p:cNvPr>
                <p:cNvSpPr>
                  <a:spLocks/>
                </p:cNvSpPr>
                <p:nvPr/>
              </p:nvSpPr>
              <p:spPr bwMode="auto">
                <a:xfrm>
                  <a:off x="564" y="3329"/>
                  <a:ext cx="77" cy="170"/>
                </a:xfrm>
                <a:custGeom>
                  <a:avLst/>
                  <a:gdLst>
                    <a:gd name="T0" fmla="*/ 0 w 65"/>
                    <a:gd name="T1" fmla="*/ 6 h 143"/>
                    <a:gd name="T2" fmla="*/ 30 w 65"/>
                    <a:gd name="T3" fmla="*/ 133 h 143"/>
                    <a:gd name="T4" fmla="*/ 64 w 65"/>
                    <a:gd name="T5" fmla="*/ 136 h 143"/>
                    <a:gd name="T6" fmla="*/ 16 w 65"/>
                    <a:gd name="T7" fmla="*/ 0 h 143"/>
                    <a:gd name="T8" fmla="*/ 0 w 65"/>
                    <a:gd name="T9" fmla="*/ 6 h 143"/>
                  </a:gdLst>
                  <a:ahLst/>
                  <a:cxnLst>
                    <a:cxn ang="0">
                      <a:pos x="T0" y="T1"/>
                    </a:cxn>
                    <a:cxn ang="0">
                      <a:pos x="T2" y="T3"/>
                    </a:cxn>
                    <a:cxn ang="0">
                      <a:pos x="T4" y="T5"/>
                    </a:cxn>
                    <a:cxn ang="0">
                      <a:pos x="T6" y="T7"/>
                    </a:cxn>
                    <a:cxn ang="0">
                      <a:pos x="T8" y="T9"/>
                    </a:cxn>
                  </a:cxnLst>
                  <a:rect l="0" t="0" r="r" b="b"/>
                  <a:pathLst>
                    <a:path w="65" h="143">
                      <a:moveTo>
                        <a:pt x="0" y="6"/>
                      </a:moveTo>
                      <a:cubicBezTo>
                        <a:pt x="12" y="34"/>
                        <a:pt x="30" y="90"/>
                        <a:pt x="30" y="133"/>
                      </a:cubicBezTo>
                      <a:cubicBezTo>
                        <a:pt x="30" y="143"/>
                        <a:pt x="65" y="142"/>
                        <a:pt x="64" y="136"/>
                      </a:cubicBezTo>
                      <a:cubicBezTo>
                        <a:pt x="61" y="92"/>
                        <a:pt x="33" y="24"/>
                        <a:pt x="16" y="0"/>
                      </a:cubicBezTo>
                      <a:cubicBezTo>
                        <a:pt x="12" y="1"/>
                        <a:pt x="4" y="4"/>
                        <a:pt x="0" y="6"/>
                      </a:cubicBezTo>
                      <a:close/>
                    </a:path>
                  </a:pathLst>
                </a:custGeom>
                <a:solidFill>
                  <a:schemeClr val="accent1"/>
                </a:solid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0" name="Freeform 35">
                  <a:extLst>
                    <a:ext uri="{FF2B5EF4-FFF2-40B4-BE49-F238E27FC236}">
                      <a16:creationId xmlns:a16="http://schemas.microsoft.com/office/drawing/2014/main" id="{5164DB6E-5248-49E6-BDD0-20F53B2F5048}"/>
                    </a:ext>
                  </a:extLst>
                </p:cNvPr>
                <p:cNvSpPr>
                  <a:spLocks/>
                </p:cNvSpPr>
                <p:nvPr/>
              </p:nvSpPr>
              <p:spPr bwMode="auto">
                <a:xfrm>
                  <a:off x="482" y="3250"/>
                  <a:ext cx="184" cy="129"/>
                </a:xfrm>
                <a:custGeom>
                  <a:avLst/>
                  <a:gdLst>
                    <a:gd name="T0" fmla="*/ 5 w 155"/>
                    <a:gd name="T1" fmla="*/ 99 h 109"/>
                    <a:gd name="T2" fmla="*/ 55 w 155"/>
                    <a:gd name="T3" fmla="*/ 14 h 109"/>
                    <a:gd name="T4" fmla="*/ 151 w 155"/>
                    <a:gd name="T5" fmla="*/ 46 h 109"/>
                    <a:gd name="T6" fmla="*/ 146 w 155"/>
                    <a:gd name="T7" fmla="*/ 55 h 109"/>
                    <a:gd name="T8" fmla="*/ 77 w 155"/>
                    <a:gd name="T9" fmla="*/ 69 h 109"/>
                    <a:gd name="T10" fmla="*/ 13 w 155"/>
                    <a:gd name="T11" fmla="*/ 104 h 109"/>
                    <a:gd name="T12" fmla="*/ 5 w 155"/>
                    <a:gd name="T13" fmla="*/ 99 h 109"/>
                  </a:gdLst>
                  <a:ahLst/>
                  <a:cxnLst>
                    <a:cxn ang="0">
                      <a:pos x="T0" y="T1"/>
                    </a:cxn>
                    <a:cxn ang="0">
                      <a:pos x="T2" y="T3"/>
                    </a:cxn>
                    <a:cxn ang="0">
                      <a:pos x="T4" y="T5"/>
                    </a:cxn>
                    <a:cxn ang="0">
                      <a:pos x="T6" y="T7"/>
                    </a:cxn>
                    <a:cxn ang="0">
                      <a:pos x="T8" y="T9"/>
                    </a:cxn>
                    <a:cxn ang="0">
                      <a:pos x="T10" y="T11"/>
                    </a:cxn>
                    <a:cxn ang="0">
                      <a:pos x="T12" y="T13"/>
                    </a:cxn>
                  </a:cxnLst>
                  <a:rect l="0" t="0" r="r" b="b"/>
                  <a:pathLst>
                    <a:path w="155" h="109">
                      <a:moveTo>
                        <a:pt x="5" y="99"/>
                      </a:moveTo>
                      <a:cubicBezTo>
                        <a:pt x="0" y="63"/>
                        <a:pt x="23" y="28"/>
                        <a:pt x="55" y="14"/>
                      </a:cubicBezTo>
                      <a:cubicBezTo>
                        <a:pt x="87" y="0"/>
                        <a:pt x="129" y="8"/>
                        <a:pt x="151" y="46"/>
                      </a:cubicBezTo>
                      <a:cubicBezTo>
                        <a:pt x="154" y="50"/>
                        <a:pt x="155" y="54"/>
                        <a:pt x="146" y="55"/>
                      </a:cubicBezTo>
                      <a:cubicBezTo>
                        <a:pt x="121" y="57"/>
                        <a:pt x="97" y="62"/>
                        <a:pt x="77" y="69"/>
                      </a:cubicBezTo>
                      <a:cubicBezTo>
                        <a:pt x="47" y="81"/>
                        <a:pt x="24" y="97"/>
                        <a:pt x="13" y="104"/>
                      </a:cubicBezTo>
                      <a:cubicBezTo>
                        <a:pt x="6" y="109"/>
                        <a:pt x="5" y="104"/>
                        <a:pt x="5" y="99"/>
                      </a:cubicBezTo>
                      <a:close/>
                    </a:path>
                  </a:pathLst>
                </a:custGeom>
                <a:solidFill>
                  <a:schemeClr val="accent1"/>
                </a:solid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1" name="Freeform 36">
                  <a:extLst>
                    <a:ext uri="{FF2B5EF4-FFF2-40B4-BE49-F238E27FC236}">
                      <a16:creationId xmlns:a16="http://schemas.microsoft.com/office/drawing/2014/main" id="{9B244032-27C5-4527-A2C6-84835F737C7A}"/>
                    </a:ext>
                  </a:extLst>
                </p:cNvPr>
                <p:cNvSpPr>
                  <a:spLocks/>
                </p:cNvSpPr>
                <p:nvPr/>
              </p:nvSpPr>
              <p:spPr bwMode="auto">
                <a:xfrm>
                  <a:off x="619" y="3213"/>
                  <a:ext cx="73" cy="285"/>
                </a:xfrm>
                <a:custGeom>
                  <a:avLst/>
                  <a:gdLst>
                    <a:gd name="T0" fmla="*/ 18 w 61"/>
                    <a:gd name="T1" fmla="*/ 1 h 240"/>
                    <a:gd name="T2" fmla="*/ 2 w 61"/>
                    <a:gd name="T3" fmla="*/ 223 h 240"/>
                    <a:gd name="T4" fmla="*/ 61 w 61"/>
                    <a:gd name="T5" fmla="*/ 228 h 240"/>
                    <a:gd name="T6" fmla="*/ 50 w 61"/>
                    <a:gd name="T7" fmla="*/ 1 h 240"/>
                    <a:gd name="T8" fmla="*/ 18 w 61"/>
                    <a:gd name="T9" fmla="*/ 1 h 240"/>
                  </a:gdLst>
                  <a:ahLst/>
                  <a:cxnLst>
                    <a:cxn ang="0">
                      <a:pos x="T0" y="T1"/>
                    </a:cxn>
                    <a:cxn ang="0">
                      <a:pos x="T2" y="T3"/>
                    </a:cxn>
                    <a:cxn ang="0">
                      <a:pos x="T4" y="T5"/>
                    </a:cxn>
                    <a:cxn ang="0">
                      <a:pos x="T6" y="T7"/>
                    </a:cxn>
                    <a:cxn ang="0">
                      <a:pos x="T8" y="T9"/>
                    </a:cxn>
                  </a:cxnLst>
                  <a:rect l="0" t="0" r="r" b="b"/>
                  <a:pathLst>
                    <a:path w="61" h="240">
                      <a:moveTo>
                        <a:pt x="18" y="1"/>
                      </a:moveTo>
                      <a:cubicBezTo>
                        <a:pt x="16" y="75"/>
                        <a:pt x="12" y="149"/>
                        <a:pt x="2" y="223"/>
                      </a:cubicBezTo>
                      <a:cubicBezTo>
                        <a:pt x="0" y="240"/>
                        <a:pt x="61" y="239"/>
                        <a:pt x="61" y="228"/>
                      </a:cubicBezTo>
                      <a:cubicBezTo>
                        <a:pt x="59" y="153"/>
                        <a:pt x="61" y="79"/>
                        <a:pt x="50" y="1"/>
                      </a:cubicBezTo>
                      <a:cubicBezTo>
                        <a:pt x="43" y="0"/>
                        <a:pt x="30" y="1"/>
                        <a:pt x="18" y="1"/>
                      </a:cubicBezTo>
                      <a:close/>
                    </a:path>
                  </a:pathLst>
                </a:custGeom>
                <a:solidFill>
                  <a:srgbClr val="FFFFFF"/>
                </a:solidFill>
                <a:ln w="254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2" name="Freeform 37">
                  <a:extLst>
                    <a:ext uri="{FF2B5EF4-FFF2-40B4-BE49-F238E27FC236}">
                      <a16:creationId xmlns:a16="http://schemas.microsoft.com/office/drawing/2014/main" id="{C3F03C08-46AB-4718-9449-70A824AA79E2}"/>
                    </a:ext>
                  </a:extLst>
                </p:cNvPr>
                <p:cNvSpPr>
                  <a:spLocks/>
                </p:cNvSpPr>
                <p:nvPr/>
              </p:nvSpPr>
              <p:spPr bwMode="auto">
                <a:xfrm>
                  <a:off x="487" y="3088"/>
                  <a:ext cx="348" cy="152"/>
                </a:xfrm>
                <a:custGeom>
                  <a:avLst/>
                  <a:gdLst>
                    <a:gd name="T0" fmla="*/ 4 w 294"/>
                    <a:gd name="T1" fmla="*/ 111 h 128"/>
                    <a:gd name="T2" fmla="*/ 140 w 294"/>
                    <a:gd name="T3" fmla="*/ 4 h 128"/>
                    <a:gd name="T4" fmla="*/ 292 w 294"/>
                    <a:gd name="T5" fmla="*/ 113 h 128"/>
                    <a:gd name="T6" fmla="*/ 277 w 294"/>
                    <a:gd name="T7" fmla="*/ 124 h 128"/>
                    <a:gd name="T8" fmla="*/ 149 w 294"/>
                    <a:gd name="T9" fmla="*/ 106 h 128"/>
                    <a:gd name="T10" fmla="*/ 16 w 294"/>
                    <a:gd name="T11" fmla="*/ 124 h 128"/>
                    <a:gd name="T12" fmla="*/ 4 w 294"/>
                    <a:gd name="T13" fmla="*/ 111 h 128"/>
                  </a:gdLst>
                  <a:ahLst/>
                  <a:cxnLst>
                    <a:cxn ang="0">
                      <a:pos x="T0" y="T1"/>
                    </a:cxn>
                    <a:cxn ang="0">
                      <a:pos x="T2" y="T3"/>
                    </a:cxn>
                    <a:cxn ang="0">
                      <a:pos x="T4" y="T5"/>
                    </a:cxn>
                    <a:cxn ang="0">
                      <a:pos x="T6" y="T7"/>
                    </a:cxn>
                    <a:cxn ang="0">
                      <a:pos x="T8" y="T9"/>
                    </a:cxn>
                    <a:cxn ang="0">
                      <a:pos x="T10" y="T11"/>
                    </a:cxn>
                    <a:cxn ang="0">
                      <a:pos x="T12" y="T13"/>
                    </a:cxn>
                  </a:cxnLst>
                  <a:rect l="0" t="0" r="r" b="b"/>
                  <a:pathLst>
                    <a:path w="294" h="128">
                      <a:moveTo>
                        <a:pt x="4" y="111"/>
                      </a:moveTo>
                      <a:cubicBezTo>
                        <a:pt x="16" y="50"/>
                        <a:pt x="75" y="8"/>
                        <a:pt x="140" y="4"/>
                      </a:cubicBezTo>
                      <a:cubicBezTo>
                        <a:pt x="204" y="0"/>
                        <a:pt x="274" y="37"/>
                        <a:pt x="292" y="113"/>
                      </a:cubicBezTo>
                      <a:cubicBezTo>
                        <a:pt x="294" y="120"/>
                        <a:pt x="294" y="128"/>
                        <a:pt x="277" y="124"/>
                      </a:cubicBezTo>
                      <a:cubicBezTo>
                        <a:pt x="232" y="112"/>
                        <a:pt x="188" y="106"/>
                        <a:pt x="149" y="106"/>
                      </a:cubicBezTo>
                      <a:cubicBezTo>
                        <a:pt x="88" y="106"/>
                        <a:pt x="39" y="118"/>
                        <a:pt x="16" y="124"/>
                      </a:cubicBezTo>
                      <a:cubicBezTo>
                        <a:pt x="0" y="128"/>
                        <a:pt x="3" y="118"/>
                        <a:pt x="4" y="111"/>
                      </a:cubicBezTo>
                      <a:close/>
                    </a:path>
                  </a:pathLst>
                </a:custGeom>
                <a:solidFill>
                  <a:srgbClr val="FFFFFF"/>
                </a:solidFill>
                <a:ln w="254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3" name="Freeform 38">
                  <a:extLst>
                    <a:ext uri="{FF2B5EF4-FFF2-40B4-BE49-F238E27FC236}">
                      <a16:creationId xmlns:a16="http://schemas.microsoft.com/office/drawing/2014/main" id="{F92D7D70-6BB5-45F8-96DD-935FF5C0AEA5}"/>
                    </a:ext>
                  </a:extLst>
                </p:cNvPr>
                <p:cNvSpPr>
                  <a:spLocks/>
                </p:cNvSpPr>
                <p:nvPr/>
              </p:nvSpPr>
              <p:spPr bwMode="auto">
                <a:xfrm>
                  <a:off x="665" y="3114"/>
                  <a:ext cx="106" cy="71"/>
                </a:xfrm>
                <a:custGeom>
                  <a:avLst/>
                  <a:gdLst>
                    <a:gd name="T0" fmla="*/ 0 w 90"/>
                    <a:gd name="T1" fmla="*/ 0 h 60"/>
                    <a:gd name="T2" fmla="*/ 90 w 90"/>
                    <a:gd name="T3" fmla="*/ 60 h 60"/>
                  </a:gdLst>
                  <a:ahLst/>
                  <a:cxnLst>
                    <a:cxn ang="0">
                      <a:pos x="T0" y="T1"/>
                    </a:cxn>
                    <a:cxn ang="0">
                      <a:pos x="T2" y="T3"/>
                    </a:cxn>
                  </a:cxnLst>
                  <a:rect l="0" t="0" r="r" b="b"/>
                  <a:pathLst>
                    <a:path w="90" h="60">
                      <a:moveTo>
                        <a:pt x="0" y="0"/>
                      </a:moveTo>
                      <a:cubicBezTo>
                        <a:pt x="46" y="5"/>
                        <a:pt x="75" y="26"/>
                        <a:pt x="90" y="60"/>
                      </a:cubicBezTo>
                    </a:path>
                  </a:pathLst>
                </a:cu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74" name="Group 41">
                <a:extLst>
                  <a:ext uri="{FF2B5EF4-FFF2-40B4-BE49-F238E27FC236}">
                    <a16:creationId xmlns:a16="http://schemas.microsoft.com/office/drawing/2014/main" id="{0281B095-6B6E-4859-9137-C43D6F2E5892}"/>
                  </a:ext>
                </a:extLst>
              </p:cNvPr>
              <p:cNvGrpSpPr>
                <a:grpSpLocks noChangeAspect="1"/>
              </p:cNvGrpSpPr>
              <p:nvPr/>
            </p:nvGrpSpPr>
            <p:grpSpPr bwMode="auto">
              <a:xfrm>
                <a:off x="2623308" y="3599604"/>
                <a:ext cx="873529" cy="871367"/>
                <a:chOff x="1792" y="2858"/>
                <a:chExt cx="404" cy="403"/>
              </a:xfrm>
              <a:solidFill>
                <a:schemeClr val="bg1"/>
              </a:solidFill>
            </p:grpSpPr>
            <p:sp>
              <p:nvSpPr>
                <p:cNvPr id="75" name="Freeform 42">
                  <a:extLst>
                    <a:ext uri="{FF2B5EF4-FFF2-40B4-BE49-F238E27FC236}">
                      <a16:creationId xmlns:a16="http://schemas.microsoft.com/office/drawing/2014/main" id="{19AB0EB7-11A1-48F3-9225-80DE998838F0}"/>
                    </a:ext>
                  </a:extLst>
                </p:cNvPr>
                <p:cNvSpPr>
                  <a:spLocks/>
                </p:cNvSpPr>
                <p:nvPr/>
              </p:nvSpPr>
              <p:spPr bwMode="auto">
                <a:xfrm>
                  <a:off x="1944" y="2900"/>
                  <a:ext cx="157" cy="262"/>
                </a:xfrm>
                <a:custGeom>
                  <a:avLst/>
                  <a:gdLst>
                    <a:gd name="T0" fmla="*/ 0 w 157"/>
                    <a:gd name="T1" fmla="*/ 115 h 262"/>
                    <a:gd name="T2" fmla="*/ 42 w 157"/>
                    <a:gd name="T3" fmla="*/ 0 h 262"/>
                    <a:gd name="T4" fmla="*/ 157 w 157"/>
                    <a:gd name="T5" fmla="*/ 220 h 262"/>
                    <a:gd name="T6" fmla="*/ 77 w 157"/>
                    <a:gd name="T7" fmla="*/ 262 h 262"/>
                    <a:gd name="T8" fmla="*/ 54 w 157"/>
                    <a:gd name="T9" fmla="*/ 218 h 262"/>
                    <a:gd name="T10" fmla="*/ 115 w 157"/>
                    <a:gd name="T11" fmla="*/ 186 h 262"/>
                    <a:gd name="T12" fmla="*/ 87 w 157"/>
                    <a:gd name="T13" fmla="*/ 133 h 262"/>
                    <a:gd name="T14" fmla="*/ 0 w 157"/>
                    <a:gd name="T15" fmla="*/ 115 h 262"/>
                    <a:gd name="T16" fmla="*/ 0 w 157"/>
                    <a:gd name="T17" fmla="*/ 115 h 262"/>
                    <a:gd name="T18" fmla="*/ 0 w 157"/>
                    <a:gd name="T19" fmla="*/ 115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7" h="262">
                      <a:moveTo>
                        <a:pt x="0" y="115"/>
                      </a:moveTo>
                      <a:lnTo>
                        <a:pt x="42" y="0"/>
                      </a:lnTo>
                      <a:lnTo>
                        <a:pt x="157" y="220"/>
                      </a:lnTo>
                      <a:lnTo>
                        <a:pt x="77" y="262"/>
                      </a:lnTo>
                      <a:lnTo>
                        <a:pt x="54" y="218"/>
                      </a:lnTo>
                      <a:lnTo>
                        <a:pt x="115" y="186"/>
                      </a:lnTo>
                      <a:lnTo>
                        <a:pt x="87" y="133"/>
                      </a:lnTo>
                      <a:lnTo>
                        <a:pt x="0" y="115"/>
                      </a:lnTo>
                      <a:lnTo>
                        <a:pt x="0" y="115"/>
                      </a:lnTo>
                      <a:lnTo>
                        <a:pt x="0" y="115"/>
                      </a:lnTo>
                      <a:close/>
                    </a:path>
                  </a:pathLst>
                </a:custGeom>
                <a:grp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6" name="Freeform 43">
                  <a:extLst>
                    <a:ext uri="{FF2B5EF4-FFF2-40B4-BE49-F238E27FC236}">
                      <a16:creationId xmlns:a16="http://schemas.microsoft.com/office/drawing/2014/main" id="{56EA4F92-942C-41EA-9506-B3AE2B35B8CB}"/>
                    </a:ext>
                  </a:extLst>
                </p:cNvPr>
                <p:cNvSpPr>
                  <a:spLocks/>
                </p:cNvSpPr>
                <p:nvPr/>
              </p:nvSpPr>
              <p:spPr bwMode="auto">
                <a:xfrm>
                  <a:off x="2025" y="2858"/>
                  <a:ext cx="85" cy="102"/>
                </a:xfrm>
                <a:custGeom>
                  <a:avLst/>
                  <a:gdLst>
                    <a:gd name="T0" fmla="*/ 0 w 85"/>
                    <a:gd name="T1" fmla="*/ 16 h 102"/>
                    <a:gd name="T2" fmla="*/ 32 w 85"/>
                    <a:gd name="T3" fmla="*/ 102 h 102"/>
                    <a:gd name="T4" fmla="*/ 85 w 85"/>
                    <a:gd name="T5" fmla="*/ 0 h 102"/>
                    <a:gd name="T6" fmla="*/ 0 w 85"/>
                    <a:gd name="T7" fmla="*/ 16 h 102"/>
                    <a:gd name="T8" fmla="*/ 0 w 85"/>
                    <a:gd name="T9" fmla="*/ 16 h 102"/>
                    <a:gd name="T10" fmla="*/ 0 w 85"/>
                    <a:gd name="T11" fmla="*/ 16 h 102"/>
                  </a:gdLst>
                  <a:ahLst/>
                  <a:cxnLst>
                    <a:cxn ang="0">
                      <a:pos x="T0" y="T1"/>
                    </a:cxn>
                    <a:cxn ang="0">
                      <a:pos x="T2" y="T3"/>
                    </a:cxn>
                    <a:cxn ang="0">
                      <a:pos x="T4" y="T5"/>
                    </a:cxn>
                    <a:cxn ang="0">
                      <a:pos x="T6" y="T7"/>
                    </a:cxn>
                    <a:cxn ang="0">
                      <a:pos x="T8" y="T9"/>
                    </a:cxn>
                    <a:cxn ang="0">
                      <a:pos x="T10" y="T11"/>
                    </a:cxn>
                  </a:cxnLst>
                  <a:rect l="0" t="0" r="r" b="b"/>
                  <a:pathLst>
                    <a:path w="85" h="102">
                      <a:moveTo>
                        <a:pt x="0" y="16"/>
                      </a:moveTo>
                      <a:lnTo>
                        <a:pt x="32" y="102"/>
                      </a:lnTo>
                      <a:lnTo>
                        <a:pt x="85" y="0"/>
                      </a:lnTo>
                      <a:lnTo>
                        <a:pt x="0" y="16"/>
                      </a:lnTo>
                      <a:lnTo>
                        <a:pt x="0" y="16"/>
                      </a:lnTo>
                      <a:lnTo>
                        <a:pt x="0" y="16"/>
                      </a:lnTo>
                      <a:close/>
                    </a:path>
                  </a:pathLst>
                </a:custGeom>
                <a:grp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7" name="Freeform 44">
                  <a:extLst>
                    <a:ext uri="{FF2B5EF4-FFF2-40B4-BE49-F238E27FC236}">
                      <a16:creationId xmlns:a16="http://schemas.microsoft.com/office/drawing/2014/main" id="{04D9461D-408E-410E-A743-38F1882738F2}"/>
                    </a:ext>
                  </a:extLst>
                </p:cNvPr>
                <p:cNvSpPr>
                  <a:spLocks/>
                </p:cNvSpPr>
                <p:nvPr/>
              </p:nvSpPr>
              <p:spPr bwMode="auto">
                <a:xfrm>
                  <a:off x="2103" y="2970"/>
                  <a:ext cx="93" cy="104"/>
                </a:xfrm>
                <a:custGeom>
                  <a:avLst/>
                  <a:gdLst>
                    <a:gd name="T0" fmla="*/ 35 w 93"/>
                    <a:gd name="T1" fmla="*/ 0 h 104"/>
                    <a:gd name="T2" fmla="*/ 93 w 93"/>
                    <a:gd name="T3" fmla="*/ 26 h 104"/>
                    <a:gd name="T4" fmla="*/ 57 w 93"/>
                    <a:gd name="T5" fmla="*/ 104 h 104"/>
                    <a:gd name="T6" fmla="*/ 0 w 93"/>
                    <a:gd name="T7" fmla="*/ 78 h 104"/>
                    <a:gd name="T8" fmla="*/ 35 w 93"/>
                    <a:gd name="T9" fmla="*/ 0 h 104"/>
                    <a:gd name="T10" fmla="*/ 35 w 93"/>
                    <a:gd name="T11" fmla="*/ 0 h 104"/>
                    <a:gd name="T12" fmla="*/ 35 w 93"/>
                    <a:gd name="T13" fmla="*/ 0 h 104"/>
                  </a:gdLst>
                  <a:ahLst/>
                  <a:cxnLst>
                    <a:cxn ang="0">
                      <a:pos x="T0" y="T1"/>
                    </a:cxn>
                    <a:cxn ang="0">
                      <a:pos x="T2" y="T3"/>
                    </a:cxn>
                    <a:cxn ang="0">
                      <a:pos x="T4" y="T5"/>
                    </a:cxn>
                    <a:cxn ang="0">
                      <a:pos x="T6" y="T7"/>
                    </a:cxn>
                    <a:cxn ang="0">
                      <a:pos x="T8" y="T9"/>
                    </a:cxn>
                    <a:cxn ang="0">
                      <a:pos x="T10" y="T11"/>
                    </a:cxn>
                    <a:cxn ang="0">
                      <a:pos x="T12" y="T13"/>
                    </a:cxn>
                  </a:cxnLst>
                  <a:rect l="0" t="0" r="r" b="b"/>
                  <a:pathLst>
                    <a:path w="93" h="104">
                      <a:moveTo>
                        <a:pt x="35" y="0"/>
                      </a:moveTo>
                      <a:lnTo>
                        <a:pt x="93" y="26"/>
                      </a:lnTo>
                      <a:lnTo>
                        <a:pt x="57" y="104"/>
                      </a:lnTo>
                      <a:lnTo>
                        <a:pt x="0" y="78"/>
                      </a:lnTo>
                      <a:lnTo>
                        <a:pt x="35" y="0"/>
                      </a:lnTo>
                      <a:lnTo>
                        <a:pt x="35" y="0"/>
                      </a:lnTo>
                      <a:lnTo>
                        <a:pt x="35" y="0"/>
                      </a:lnTo>
                      <a:close/>
                    </a:path>
                  </a:pathLst>
                </a:custGeom>
                <a:grp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8" name="Freeform 45">
                  <a:extLst>
                    <a:ext uri="{FF2B5EF4-FFF2-40B4-BE49-F238E27FC236}">
                      <a16:creationId xmlns:a16="http://schemas.microsoft.com/office/drawing/2014/main" id="{0106F852-44BB-4FE1-AD26-2FDF10442F0E}"/>
                    </a:ext>
                  </a:extLst>
                </p:cNvPr>
                <p:cNvSpPr>
                  <a:spLocks/>
                </p:cNvSpPr>
                <p:nvPr/>
              </p:nvSpPr>
              <p:spPr bwMode="auto">
                <a:xfrm>
                  <a:off x="1792" y="2890"/>
                  <a:ext cx="293" cy="371"/>
                </a:xfrm>
                <a:custGeom>
                  <a:avLst/>
                  <a:gdLst>
                    <a:gd name="T0" fmla="*/ 248 w 248"/>
                    <a:gd name="T1" fmla="*/ 291 h 313"/>
                    <a:gd name="T2" fmla="*/ 167 w 248"/>
                    <a:gd name="T3" fmla="*/ 313 h 313"/>
                    <a:gd name="T4" fmla="*/ 0 w 248"/>
                    <a:gd name="T5" fmla="*/ 147 h 313"/>
                    <a:gd name="T6" fmla="*/ 88 w 248"/>
                    <a:gd name="T7" fmla="*/ 0 h 313"/>
                    <a:gd name="T8" fmla="*/ 121 w 248"/>
                    <a:gd name="T9" fmla="*/ 60 h 313"/>
                    <a:gd name="T10" fmla="*/ 94 w 248"/>
                    <a:gd name="T11" fmla="*/ 122 h 313"/>
                    <a:gd name="T12" fmla="*/ 164 w 248"/>
                    <a:gd name="T13" fmla="*/ 138 h 313"/>
                    <a:gd name="T14" fmla="*/ 181 w 248"/>
                    <a:gd name="T15" fmla="*/ 170 h 313"/>
                    <a:gd name="T16" fmla="*/ 134 w 248"/>
                    <a:gd name="T17" fmla="*/ 194 h 313"/>
                    <a:gd name="T18" fmla="*/ 170 w 248"/>
                    <a:gd name="T19" fmla="*/ 260 h 313"/>
                    <a:gd name="T20" fmla="*/ 218 w 248"/>
                    <a:gd name="T21" fmla="*/ 236 h 313"/>
                    <a:gd name="T22" fmla="*/ 248 w 248"/>
                    <a:gd name="T23" fmla="*/ 291 h 313"/>
                    <a:gd name="T24" fmla="*/ 248 w 248"/>
                    <a:gd name="T25" fmla="*/ 291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8" h="313">
                      <a:moveTo>
                        <a:pt x="248" y="291"/>
                      </a:moveTo>
                      <a:cubicBezTo>
                        <a:pt x="224" y="305"/>
                        <a:pt x="196" y="313"/>
                        <a:pt x="167" y="313"/>
                      </a:cubicBezTo>
                      <a:cubicBezTo>
                        <a:pt x="75" y="313"/>
                        <a:pt x="0" y="238"/>
                        <a:pt x="0" y="147"/>
                      </a:cubicBezTo>
                      <a:cubicBezTo>
                        <a:pt x="0" y="83"/>
                        <a:pt x="36" y="28"/>
                        <a:pt x="88" y="0"/>
                      </a:cubicBezTo>
                      <a:cubicBezTo>
                        <a:pt x="121" y="60"/>
                        <a:pt x="121" y="60"/>
                        <a:pt x="121" y="60"/>
                      </a:cubicBezTo>
                      <a:cubicBezTo>
                        <a:pt x="94" y="122"/>
                        <a:pt x="94" y="122"/>
                        <a:pt x="94" y="122"/>
                      </a:cubicBezTo>
                      <a:cubicBezTo>
                        <a:pt x="164" y="138"/>
                        <a:pt x="164" y="138"/>
                        <a:pt x="164" y="138"/>
                      </a:cubicBezTo>
                      <a:cubicBezTo>
                        <a:pt x="181" y="170"/>
                        <a:pt x="181" y="170"/>
                        <a:pt x="181" y="170"/>
                      </a:cubicBezTo>
                      <a:cubicBezTo>
                        <a:pt x="134" y="194"/>
                        <a:pt x="134" y="194"/>
                        <a:pt x="134" y="194"/>
                      </a:cubicBezTo>
                      <a:cubicBezTo>
                        <a:pt x="170" y="260"/>
                        <a:pt x="170" y="260"/>
                        <a:pt x="170" y="260"/>
                      </a:cubicBezTo>
                      <a:cubicBezTo>
                        <a:pt x="218" y="236"/>
                        <a:pt x="218" y="236"/>
                        <a:pt x="218" y="236"/>
                      </a:cubicBezTo>
                      <a:cubicBezTo>
                        <a:pt x="248" y="291"/>
                        <a:pt x="248" y="291"/>
                        <a:pt x="248" y="291"/>
                      </a:cubicBezTo>
                      <a:cubicBezTo>
                        <a:pt x="248" y="291"/>
                        <a:pt x="248" y="291"/>
                        <a:pt x="248" y="291"/>
                      </a:cubicBezTo>
                      <a:close/>
                    </a:path>
                  </a:pathLst>
                </a:custGeom>
                <a:solidFill>
                  <a:schemeClr val="accent1"/>
                </a:solidFill>
                <a:ln w="254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79" name="Group 78">
                <a:extLst>
                  <a:ext uri="{FF2B5EF4-FFF2-40B4-BE49-F238E27FC236}">
                    <a16:creationId xmlns:a16="http://schemas.microsoft.com/office/drawing/2014/main" id="{7634C887-B108-4380-9844-166974F9D23D}"/>
                  </a:ext>
                </a:extLst>
              </p:cNvPr>
              <p:cNvGrpSpPr/>
              <p:nvPr/>
            </p:nvGrpSpPr>
            <p:grpSpPr>
              <a:xfrm>
                <a:off x="4949861" y="3448844"/>
                <a:ext cx="1082570" cy="1042988"/>
                <a:chOff x="4949861" y="4538479"/>
                <a:chExt cx="1082570" cy="1042988"/>
              </a:xfrm>
            </p:grpSpPr>
            <p:sp>
              <p:nvSpPr>
                <p:cNvPr id="80" name="Rectangle 10">
                  <a:extLst>
                    <a:ext uri="{FF2B5EF4-FFF2-40B4-BE49-F238E27FC236}">
                      <a16:creationId xmlns:a16="http://schemas.microsoft.com/office/drawing/2014/main" id="{746D19C3-7689-4BEB-8961-ACA377302B00}"/>
                    </a:ext>
                  </a:extLst>
                </p:cNvPr>
                <p:cNvSpPr>
                  <a:spLocks noChangeArrowheads="1"/>
                </p:cNvSpPr>
                <p:nvPr/>
              </p:nvSpPr>
              <p:spPr bwMode="auto">
                <a:xfrm>
                  <a:off x="4999339" y="5286580"/>
                  <a:ext cx="985594" cy="241451"/>
                </a:xfrm>
                <a:prstGeom prst="rect">
                  <a:avLst/>
                </a:prstGeom>
                <a:solidFill>
                  <a:schemeClr val="accent1"/>
                </a:solid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 name="Rectangle 11">
                  <a:extLst>
                    <a:ext uri="{FF2B5EF4-FFF2-40B4-BE49-F238E27FC236}">
                      <a16:creationId xmlns:a16="http://schemas.microsoft.com/office/drawing/2014/main" id="{44E658F0-F27F-4B07-A4F6-A581AC69EC27}"/>
                    </a:ext>
                  </a:extLst>
                </p:cNvPr>
                <p:cNvSpPr>
                  <a:spLocks noChangeArrowheads="1"/>
                </p:cNvSpPr>
                <p:nvPr/>
              </p:nvSpPr>
              <p:spPr bwMode="auto">
                <a:xfrm>
                  <a:off x="5179437" y="5221270"/>
                  <a:ext cx="474985" cy="306761"/>
                </a:xfrm>
                <a:prstGeom prst="rect">
                  <a:avLst/>
                </a:prstGeom>
                <a:solidFill>
                  <a:schemeClr val="accent1"/>
                </a:solidFill>
                <a:ln w="254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 name="Line 12">
                  <a:extLst>
                    <a:ext uri="{FF2B5EF4-FFF2-40B4-BE49-F238E27FC236}">
                      <a16:creationId xmlns:a16="http://schemas.microsoft.com/office/drawing/2014/main" id="{A5EA72FF-1E13-4F75-8A5D-F960E9EA5472}"/>
                    </a:ext>
                  </a:extLst>
                </p:cNvPr>
                <p:cNvSpPr>
                  <a:spLocks noChangeShapeType="1"/>
                </p:cNvSpPr>
                <p:nvPr/>
              </p:nvSpPr>
              <p:spPr bwMode="auto">
                <a:xfrm>
                  <a:off x="4949861" y="5528031"/>
                  <a:ext cx="1082570" cy="0"/>
                </a:xfrm>
                <a:prstGeom prst="line">
                  <a:avLst/>
                </a:prstGeom>
                <a:noFill/>
                <a:ln w="254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83" name="Rectangle 13">
                  <a:extLst>
                    <a:ext uri="{FF2B5EF4-FFF2-40B4-BE49-F238E27FC236}">
                      <a16:creationId xmlns:a16="http://schemas.microsoft.com/office/drawing/2014/main" id="{9FE6EED2-1B79-42E2-BA3A-D2EA493FC819}"/>
                    </a:ext>
                  </a:extLst>
                </p:cNvPr>
                <p:cNvSpPr>
                  <a:spLocks noChangeArrowheads="1"/>
                </p:cNvSpPr>
                <p:nvPr/>
              </p:nvSpPr>
              <p:spPr bwMode="auto">
                <a:xfrm>
                  <a:off x="5276413" y="5116377"/>
                  <a:ext cx="253325" cy="463110"/>
                </a:xfrm>
                <a:prstGeom prst="rect">
                  <a:avLst/>
                </a:prstGeom>
                <a:solidFill>
                  <a:srgbClr val="FFFFFF"/>
                </a:solid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4" name="Rectangle 14">
                  <a:extLst>
                    <a:ext uri="{FF2B5EF4-FFF2-40B4-BE49-F238E27FC236}">
                      <a16:creationId xmlns:a16="http://schemas.microsoft.com/office/drawing/2014/main" id="{8515C3CF-CE24-454D-8152-C1050BD14178}"/>
                    </a:ext>
                  </a:extLst>
                </p:cNvPr>
                <p:cNvSpPr>
                  <a:spLocks noChangeArrowheads="1"/>
                </p:cNvSpPr>
                <p:nvPr/>
              </p:nvSpPr>
              <p:spPr bwMode="auto">
                <a:xfrm>
                  <a:off x="5648485" y="5116377"/>
                  <a:ext cx="253325" cy="463110"/>
                </a:xfrm>
                <a:prstGeom prst="rect">
                  <a:avLst/>
                </a:prstGeom>
                <a:solidFill>
                  <a:srgbClr val="FFFFFF"/>
                </a:solid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5" name="Rectangle 15">
                  <a:extLst>
                    <a:ext uri="{FF2B5EF4-FFF2-40B4-BE49-F238E27FC236}">
                      <a16:creationId xmlns:a16="http://schemas.microsoft.com/office/drawing/2014/main" id="{27F32F53-8804-4995-9B0E-968BF8428ACA}"/>
                    </a:ext>
                  </a:extLst>
                </p:cNvPr>
                <p:cNvSpPr>
                  <a:spLocks noChangeArrowheads="1"/>
                </p:cNvSpPr>
                <p:nvPr/>
              </p:nvSpPr>
              <p:spPr bwMode="auto">
                <a:xfrm>
                  <a:off x="5102252" y="4785867"/>
                  <a:ext cx="77185" cy="742164"/>
                </a:xfrm>
                <a:prstGeom prst="rect">
                  <a:avLst/>
                </a:prstGeom>
                <a:solidFill>
                  <a:schemeClr val="accent1"/>
                </a:solidFill>
                <a:ln w="254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6" name="Freeform 16">
                  <a:extLst>
                    <a:ext uri="{FF2B5EF4-FFF2-40B4-BE49-F238E27FC236}">
                      <a16:creationId xmlns:a16="http://schemas.microsoft.com/office/drawing/2014/main" id="{B7D51145-D7CE-4ABA-AC90-B2ECABD78C84}"/>
                    </a:ext>
                  </a:extLst>
                </p:cNvPr>
                <p:cNvSpPr>
                  <a:spLocks/>
                </p:cNvSpPr>
                <p:nvPr/>
              </p:nvSpPr>
              <p:spPr bwMode="auto">
                <a:xfrm>
                  <a:off x="5147771" y="4538479"/>
                  <a:ext cx="186036" cy="172182"/>
                </a:xfrm>
                <a:custGeom>
                  <a:avLst/>
                  <a:gdLst>
                    <a:gd name="T0" fmla="*/ 52 w 79"/>
                    <a:gd name="T1" fmla="*/ 0 h 73"/>
                    <a:gd name="T2" fmla="*/ 25 w 79"/>
                    <a:gd name="T3" fmla="*/ 29 h 73"/>
                    <a:gd name="T4" fmla="*/ 25 w 79"/>
                    <a:gd name="T5" fmla="*/ 35 h 73"/>
                    <a:gd name="T6" fmla="*/ 9 w 79"/>
                    <a:gd name="T7" fmla="*/ 52 h 73"/>
                    <a:gd name="T8" fmla="*/ 9 w 79"/>
                    <a:gd name="T9" fmla="*/ 57 h 73"/>
                    <a:gd name="T10" fmla="*/ 9 w 79"/>
                    <a:gd name="T11" fmla="*/ 57 h 73"/>
                    <a:gd name="T12" fmla="*/ 0 w 79"/>
                    <a:gd name="T13" fmla="*/ 66 h 73"/>
                    <a:gd name="T14" fmla="*/ 9 w 79"/>
                    <a:gd name="T15" fmla="*/ 73 h 73"/>
                    <a:gd name="T16" fmla="*/ 17 w 79"/>
                    <a:gd name="T17" fmla="*/ 67 h 73"/>
                    <a:gd name="T18" fmla="*/ 26 w 79"/>
                    <a:gd name="T19" fmla="*/ 69 h 73"/>
                    <a:gd name="T20" fmla="*/ 43 w 79"/>
                    <a:gd name="T21" fmla="*/ 55 h 73"/>
                    <a:gd name="T22" fmla="*/ 52 w 79"/>
                    <a:gd name="T23" fmla="*/ 57 h 73"/>
                    <a:gd name="T24" fmla="*/ 79 w 79"/>
                    <a:gd name="T25" fmla="*/ 29 h 73"/>
                    <a:gd name="T26" fmla="*/ 52 w 79"/>
                    <a:gd name="T27" fmla="*/ 0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9" h="73">
                      <a:moveTo>
                        <a:pt x="52" y="0"/>
                      </a:moveTo>
                      <a:cubicBezTo>
                        <a:pt x="36" y="0"/>
                        <a:pt x="25" y="12"/>
                        <a:pt x="25" y="29"/>
                      </a:cubicBezTo>
                      <a:cubicBezTo>
                        <a:pt x="25" y="30"/>
                        <a:pt x="25" y="34"/>
                        <a:pt x="25" y="35"/>
                      </a:cubicBezTo>
                      <a:cubicBezTo>
                        <a:pt x="15" y="35"/>
                        <a:pt x="9" y="43"/>
                        <a:pt x="9" y="52"/>
                      </a:cubicBezTo>
                      <a:cubicBezTo>
                        <a:pt x="9" y="53"/>
                        <a:pt x="9" y="55"/>
                        <a:pt x="9" y="57"/>
                      </a:cubicBezTo>
                      <a:cubicBezTo>
                        <a:pt x="9" y="57"/>
                        <a:pt x="9" y="57"/>
                        <a:pt x="9" y="57"/>
                      </a:cubicBezTo>
                      <a:cubicBezTo>
                        <a:pt x="5" y="57"/>
                        <a:pt x="0" y="59"/>
                        <a:pt x="0" y="66"/>
                      </a:cubicBezTo>
                      <a:cubicBezTo>
                        <a:pt x="0" y="71"/>
                        <a:pt x="5" y="73"/>
                        <a:pt x="9" y="73"/>
                      </a:cubicBezTo>
                      <a:cubicBezTo>
                        <a:pt x="13" y="73"/>
                        <a:pt x="17" y="71"/>
                        <a:pt x="17" y="67"/>
                      </a:cubicBezTo>
                      <a:cubicBezTo>
                        <a:pt x="19" y="69"/>
                        <a:pt x="23" y="69"/>
                        <a:pt x="26" y="69"/>
                      </a:cubicBezTo>
                      <a:cubicBezTo>
                        <a:pt x="35" y="69"/>
                        <a:pt x="41" y="63"/>
                        <a:pt x="43" y="55"/>
                      </a:cubicBezTo>
                      <a:cubicBezTo>
                        <a:pt x="46" y="55"/>
                        <a:pt x="48" y="57"/>
                        <a:pt x="52" y="57"/>
                      </a:cubicBezTo>
                      <a:cubicBezTo>
                        <a:pt x="67" y="57"/>
                        <a:pt x="79" y="45"/>
                        <a:pt x="79" y="29"/>
                      </a:cubicBezTo>
                      <a:cubicBezTo>
                        <a:pt x="79" y="12"/>
                        <a:pt x="67" y="0"/>
                        <a:pt x="52" y="0"/>
                      </a:cubicBezTo>
                    </a:path>
                  </a:pathLst>
                </a:custGeom>
                <a:solidFill>
                  <a:schemeClr val="bg1"/>
                </a:solidFill>
                <a:ln w="127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7" name="Freeform 19">
                  <a:extLst>
                    <a:ext uri="{FF2B5EF4-FFF2-40B4-BE49-F238E27FC236}">
                      <a16:creationId xmlns:a16="http://schemas.microsoft.com/office/drawing/2014/main" id="{74C8436F-9BB6-4009-9236-38D332B4C629}"/>
                    </a:ext>
                  </a:extLst>
                </p:cNvPr>
                <p:cNvSpPr>
                  <a:spLocks/>
                </p:cNvSpPr>
                <p:nvPr/>
              </p:nvSpPr>
              <p:spPr bwMode="auto">
                <a:xfrm>
                  <a:off x="5276413" y="5025339"/>
                  <a:ext cx="253325" cy="556128"/>
                </a:xfrm>
                <a:custGeom>
                  <a:avLst/>
                  <a:gdLst>
                    <a:gd name="T0" fmla="*/ 0 w 108"/>
                    <a:gd name="T1" fmla="*/ 43 h 238"/>
                    <a:gd name="T2" fmla="*/ 0 w 108"/>
                    <a:gd name="T3" fmla="*/ 38 h 238"/>
                    <a:gd name="T4" fmla="*/ 0 w 108"/>
                    <a:gd name="T5" fmla="*/ 238 h 238"/>
                    <a:gd name="T6" fmla="*/ 108 w 108"/>
                    <a:gd name="T7" fmla="*/ 238 h 238"/>
                    <a:gd name="T8" fmla="*/ 108 w 108"/>
                    <a:gd name="T9" fmla="*/ 38 h 238"/>
                    <a:gd name="T10" fmla="*/ 108 w 108"/>
                    <a:gd name="T11" fmla="*/ 40 h 238"/>
                    <a:gd name="T12" fmla="*/ 108 w 108"/>
                    <a:gd name="T13" fmla="*/ 43 h 238"/>
                    <a:gd name="T14" fmla="*/ 0 w 108"/>
                    <a:gd name="T15" fmla="*/ 43 h 2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8" h="238">
                      <a:moveTo>
                        <a:pt x="0" y="43"/>
                      </a:moveTo>
                      <a:cubicBezTo>
                        <a:pt x="0" y="43"/>
                        <a:pt x="0" y="37"/>
                        <a:pt x="0" y="38"/>
                      </a:cubicBezTo>
                      <a:cubicBezTo>
                        <a:pt x="0" y="238"/>
                        <a:pt x="0" y="238"/>
                        <a:pt x="0" y="238"/>
                      </a:cubicBezTo>
                      <a:cubicBezTo>
                        <a:pt x="108" y="238"/>
                        <a:pt x="108" y="238"/>
                        <a:pt x="108" y="238"/>
                      </a:cubicBezTo>
                      <a:cubicBezTo>
                        <a:pt x="108" y="38"/>
                        <a:pt x="108" y="38"/>
                        <a:pt x="108" y="38"/>
                      </a:cubicBezTo>
                      <a:cubicBezTo>
                        <a:pt x="108" y="40"/>
                        <a:pt x="108" y="40"/>
                        <a:pt x="108" y="40"/>
                      </a:cubicBezTo>
                      <a:cubicBezTo>
                        <a:pt x="108" y="43"/>
                        <a:pt x="108" y="43"/>
                        <a:pt x="108" y="43"/>
                      </a:cubicBezTo>
                      <a:cubicBezTo>
                        <a:pt x="108" y="1"/>
                        <a:pt x="0" y="0"/>
                        <a:pt x="0" y="43"/>
                      </a:cubicBezTo>
                      <a:close/>
                    </a:path>
                  </a:pathLst>
                </a:custGeom>
                <a:solidFill>
                  <a:srgbClr val="FFFFFF"/>
                </a:solidFill>
                <a:ln w="254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8" name="Line 20">
                  <a:extLst>
                    <a:ext uri="{FF2B5EF4-FFF2-40B4-BE49-F238E27FC236}">
                      <a16:creationId xmlns:a16="http://schemas.microsoft.com/office/drawing/2014/main" id="{1DA39B3F-C580-449B-BAE6-D9A1474D680A}"/>
                    </a:ext>
                  </a:extLst>
                </p:cNvPr>
                <p:cNvSpPr>
                  <a:spLocks noChangeShapeType="1"/>
                </p:cNvSpPr>
                <p:nvPr/>
              </p:nvSpPr>
              <p:spPr bwMode="auto">
                <a:xfrm>
                  <a:off x="5276412" y="5116377"/>
                  <a:ext cx="253325"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89" name="Freeform 21">
                  <a:extLst>
                    <a:ext uri="{FF2B5EF4-FFF2-40B4-BE49-F238E27FC236}">
                      <a16:creationId xmlns:a16="http://schemas.microsoft.com/office/drawing/2014/main" id="{E43E68DD-F9D6-4416-8D71-2B0826E2CBC3}"/>
                    </a:ext>
                  </a:extLst>
                </p:cNvPr>
                <p:cNvSpPr>
                  <a:spLocks/>
                </p:cNvSpPr>
                <p:nvPr/>
              </p:nvSpPr>
              <p:spPr bwMode="auto">
                <a:xfrm>
                  <a:off x="5654422" y="5025339"/>
                  <a:ext cx="249367" cy="556128"/>
                </a:xfrm>
                <a:custGeom>
                  <a:avLst/>
                  <a:gdLst>
                    <a:gd name="T0" fmla="*/ 0 w 107"/>
                    <a:gd name="T1" fmla="*/ 43 h 238"/>
                    <a:gd name="T2" fmla="*/ 0 w 107"/>
                    <a:gd name="T3" fmla="*/ 38 h 238"/>
                    <a:gd name="T4" fmla="*/ 0 w 107"/>
                    <a:gd name="T5" fmla="*/ 238 h 238"/>
                    <a:gd name="T6" fmla="*/ 107 w 107"/>
                    <a:gd name="T7" fmla="*/ 238 h 238"/>
                    <a:gd name="T8" fmla="*/ 107 w 107"/>
                    <a:gd name="T9" fmla="*/ 42 h 238"/>
                    <a:gd name="T10" fmla="*/ 107 w 107"/>
                    <a:gd name="T11" fmla="*/ 37 h 238"/>
                    <a:gd name="T12" fmla="*/ 107 w 107"/>
                    <a:gd name="T13" fmla="*/ 43 h 238"/>
                    <a:gd name="T14" fmla="*/ 0 w 107"/>
                    <a:gd name="T15" fmla="*/ 43 h 2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7" h="238">
                      <a:moveTo>
                        <a:pt x="0" y="43"/>
                      </a:moveTo>
                      <a:cubicBezTo>
                        <a:pt x="0" y="43"/>
                        <a:pt x="0" y="37"/>
                        <a:pt x="0" y="38"/>
                      </a:cubicBezTo>
                      <a:cubicBezTo>
                        <a:pt x="0" y="238"/>
                        <a:pt x="0" y="238"/>
                        <a:pt x="0" y="238"/>
                      </a:cubicBezTo>
                      <a:cubicBezTo>
                        <a:pt x="107" y="238"/>
                        <a:pt x="107" y="238"/>
                        <a:pt x="107" y="238"/>
                      </a:cubicBezTo>
                      <a:cubicBezTo>
                        <a:pt x="107" y="42"/>
                        <a:pt x="107" y="42"/>
                        <a:pt x="107" y="42"/>
                      </a:cubicBezTo>
                      <a:cubicBezTo>
                        <a:pt x="107" y="37"/>
                        <a:pt x="107" y="37"/>
                        <a:pt x="107" y="37"/>
                      </a:cubicBezTo>
                      <a:cubicBezTo>
                        <a:pt x="107" y="43"/>
                        <a:pt x="107" y="43"/>
                        <a:pt x="107" y="43"/>
                      </a:cubicBezTo>
                      <a:cubicBezTo>
                        <a:pt x="107" y="1"/>
                        <a:pt x="0" y="0"/>
                        <a:pt x="0" y="43"/>
                      </a:cubicBezTo>
                      <a:close/>
                    </a:path>
                  </a:pathLst>
                </a:custGeom>
                <a:solidFill>
                  <a:srgbClr val="FFFFFF"/>
                </a:solidFill>
                <a:ln w="25400" cap="rnd">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0" name="Line 22">
                  <a:extLst>
                    <a:ext uri="{FF2B5EF4-FFF2-40B4-BE49-F238E27FC236}">
                      <a16:creationId xmlns:a16="http://schemas.microsoft.com/office/drawing/2014/main" id="{3436E492-6A57-4E12-AED4-833495572658}"/>
                    </a:ext>
                  </a:extLst>
                </p:cNvPr>
                <p:cNvSpPr>
                  <a:spLocks noChangeShapeType="1"/>
                </p:cNvSpPr>
                <p:nvPr/>
              </p:nvSpPr>
              <p:spPr bwMode="auto">
                <a:xfrm>
                  <a:off x="5648485" y="5116377"/>
                  <a:ext cx="253325" cy="0"/>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91" name="Line 18">
                  <a:extLst>
                    <a:ext uri="{FF2B5EF4-FFF2-40B4-BE49-F238E27FC236}">
                      <a16:creationId xmlns:a16="http://schemas.microsoft.com/office/drawing/2014/main" id="{6FF244D1-BA45-4486-A0A4-B6B3E0E24EA2}"/>
                    </a:ext>
                  </a:extLst>
                </p:cNvPr>
                <p:cNvSpPr>
                  <a:spLocks noChangeShapeType="1"/>
                </p:cNvSpPr>
                <p:nvPr/>
              </p:nvSpPr>
              <p:spPr bwMode="auto">
                <a:xfrm flipV="1">
                  <a:off x="5856291" y="5183667"/>
                  <a:ext cx="0" cy="342385"/>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92" name="Line 17">
                  <a:extLst>
                    <a:ext uri="{FF2B5EF4-FFF2-40B4-BE49-F238E27FC236}">
                      <a16:creationId xmlns:a16="http://schemas.microsoft.com/office/drawing/2014/main" id="{1550B0E7-0363-43F2-9BEA-4D487CC3029F}"/>
                    </a:ext>
                  </a:extLst>
                </p:cNvPr>
                <p:cNvSpPr>
                  <a:spLocks noChangeShapeType="1"/>
                </p:cNvSpPr>
                <p:nvPr/>
              </p:nvSpPr>
              <p:spPr bwMode="auto">
                <a:xfrm flipV="1">
                  <a:off x="5480261" y="5183667"/>
                  <a:ext cx="0" cy="342385"/>
                </a:xfrm>
                <a:prstGeom prst="line">
                  <a:avLst/>
                </a:prstGeom>
                <a:noFill/>
                <a:ln w="12700" cap="rnd">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grpSp>
        </p:grpSp>
      </p:grpSp>
      <p:sp>
        <p:nvSpPr>
          <p:cNvPr id="44" name="Rectangle 43">
            <a:extLst>
              <a:ext uri="{FF2B5EF4-FFF2-40B4-BE49-F238E27FC236}">
                <a16:creationId xmlns:a16="http://schemas.microsoft.com/office/drawing/2014/main" id="{F46411E0-DC8C-487C-A0AE-775D1A80D228}"/>
              </a:ext>
            </a:extLst>
          </p:cNvPr>
          <p:cNvSpPr>
            <a:spLocks/>
          </p:cNvSpPr>
          <p:nvPr/>
        </p:nvSpPr>
        <p:spPr>
          <a:xfrm>
            <a:off x="465711" y="604800"/>
            <a:ext cx="8359200" cy="864000"/>
          </a:xfrm>
          <a:prstGeom prst="rect">
            <a:avLst/>
          </a:prstGeom>
        </p:spPr>
        <p:txBody>
          <a:bodyPr wrap="none" lIns="0" tIns="0" rIns="0" bIns="0">
            <a:noAutofit/>
          </a:bodyPr>
          <a:lstStyle/>
          <a:p>
            <a:pPr lvl="0">
              <a:spcAft>
                <a:spcPts val="0"/>
              </a:spcAft>
            </a:pPr>
            <a:r>
              <a:rPr lang="en-US" sz="3000" b="1" dirty="0">
                <a:solidFill>
                  <a:srgbClr val="000000"/>
                </a:solidFill>
                <a:latin typeface="Arial" panose="020B0604020202020204" pitchFamily="34" charset="0"/>
                <a:ea typeface="Times New Roman" panose="02020603050405020304" pitchFamily="18" charset="0"/>
              </a:rPr>
              <a:t>Biological solutions for both companies and consumers</a:t>
            </a:r>
            <a:endParaRPr lang="da-DK" sz="3000" b="1" dirty="0">
              <a:solidFill>
                <a:srgbClr val="000000"/>
              </a:solidFill>
              <a:latin typeface="Arial" panose="020B0604020202020204" pitchFamily="34" charset="0"/>
              <a:ea typeface="SimSun" panose="02010600030101010101" pitchFamily="2" charset="-122"/>
            </a:endParaRPr>
          </a:p>
        </p:txBody>
      </p:sp>
      <p:sp>
        <p:nvSpPr>
          <p:cNvPr id="43" name="Title 6" hidden="1">
            <a:extLst>
              <a:ext uri="{FF2B5EF4-FFF2-40B4-BE49-F238E27FC236}">
                <a16:creationId xmlns:a16="http://schemas.microsoft.com/office/drawing/2014/main" id="{967EC5CB-4718-4498-A430-8602A9795D62}"/>
              </a:ext>
            </a:extLst>
          </p:cNvPr>
          <p:cNvSpPr>
            <a:spLocks noGrp="1"/>
          </p:cNvSpPr>
          <p:nvPr>
            <p:ph type="title"/>
          </p:nvPr>
        </p:nvSpPr>
        <p:spPr>
          <a:xfrm>
            <a:off x="8076548" y="121063"/>
            <a:ext cx="3568126" cy="520700"/>
          </a:xfrm>
        </p:spPr>
        <p:txBody>
          <a:bodyPr/>
          <a:lstStyle/>
          <a:p>
            <a:r>
              <a:rPr lang="en-US" sz="1100" dirty="0">
                <a:solidFill>
                  <a:schemeClr val="bg1"/>
                </a:solidFill>
              </a:rPr>
              <a:t>When science goes big scale</a:t>
            </a:r>
          </a:p>
        </p:txBody>
      </p:sp>
    </p:spTree>
    <p:custDataLst>
      <p:tags r:id="rId1"/>
    </p:custDataLst>
    <p:extLst>
      <p:ext uri="{BB962C8B-B14F-4D97-AF65-F5344CB8AC3E}">
        <p14:creationId xmlns:p14="http://schemas.microsoft.com/office/powerpoint/2010/main" val="137757657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065F758A-C4F6-48A4-8D75-C09C9B4113E5}"/>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0" y="0"/>
            <a:ext cx="12192000" cy="6858000"/>
          </a:xfrm>
          <a:prstGeom prst="rect">
            <a:avLst/>
          </a:prstGeom>
        </p:spPr>
      </p:pic>
      <p:pic>
        <p:nvPicPr>
          <p:cNvPr id="6" name="Picture 5">
            <a:extLst>
              <a:ext uri="{FF2B5EF4-FFF2-40B4-BE49-F238E27FC236}">
                <a16:creationId xmlns:a16="http://schemas.microsoft.com/office/drawing/2014/main" id="{A609C3EB-0F30-4AE7-B596-04CFD454BB3C}"/>
              </a:ext>
            </a:extLst>
          </p:cNvPr>
          <p:cNvPicPr>
            <a:picLocks noChangeAspect="1"/>
          </p:cNvPicPr>
          <p:nvPr/>
        </p:nvPicPr>
        <p:blipFill rotWithShape="1">
          <a:blip r:embed="rId4" cstate="screen">
            <a:extLst>
              <a:ext uri="{28A0092B-C50C-407E-A947-70E740481C1C}">
                <a14:useLocalDpi xmlns:a14="http://schemas.microsoft.com/office/drawing/2010/main" val="0"/>
              </a:ext>
            </a:extLst>
          </a:blip>
          <a:srcRect/>
          <a:stretch/>
        </p:blipFill>
        <p:spPr>
          <a:xfrm>
            <a:off x="10224000" y="6238800"/>
            <a:ext cx="1476320" cy="434959"/>
          </a:xfrm>
          <a:prstGeom prst="rect">
            <a:avLst/>
          </a:prstGeom>
        </p:spPr>
      </p:pic>
      <p:pic>
        <p:nvPicPr>
          <p:cNvPr id="8" name="Picture 7">
            <a:extLst>
              <a:ext uri="{FF2B5EF4-FFF2-40B4-BE49-F238E27FC236}">
                <a16:creationId xmlns:a16="http://schemas.microsoft.com/office/drawing/2014/main" id="{EF5F9AB6-59E4-4075-ABEE-A34845B86D56}"/>
              </a:ext>
            </a:extLst>
          </p:cNvPr>
          <p:cNvPicPr>
            <a:picLocks noChangeAspect="1"/>
          </p:cNvPicPr>
          <p:nvPr/>
        </p:nvPicPr>
        <p:blipFill rotWithShape="1">
          <a:blip r:embed="rId5"/>
          <a:srcRect/>
          <a:stretch/>
        </p:blipFill>
        <p:spPr>
          <a:xfrm>
            <a:off x="230395" y="444363"/>
            <a:ext cx="5755123" cy="810838"/>
          </a:xfrm>
          <a:prstGeom prst="rect">
            <a:avLst/>
          </a:prstGeom>
        </p:spPr>
      </p:pic>
    </p:spTree>
    <p:extLst>
      <p:ext uri="{BB962C8B-B14F-4D97-AF65-F5344CB8AC3E}">
        <p14:creationId xmlns:p14="http://schemas.microsoft.com/office/powerpoint/2010/main" val="249479503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D25E04A9-60FF-4F4C-A7D4-B6FB93F54FCD}"/>
              </a:ext>
            </a:extLst>
          </p:cNvPr>
          <p:cNvGrpSpPr>
            <a:grpSpLocks/>
          </p:cNvGrpSpPr>
          <p:nvPr/>
        </p:nvGrpSpPr>
        <p:grpSpPr>
          <a:xfrm>
            <a:off x="728331" y="1583203"/>
            <a:ext cx="9933071" cy="1848973"/>
            <a:chOff x="728331" y="1583203"/>
            <a:chExt cx="9933071" cy="1848973"/>
          </a:xfrm>
        </p:grpSpPr>
        <p:sp>
          <p:nvSpPr>
            <p:cNvPr id="2" name="TextBox 1">
              <a:extLst>
                <a:ext uri="{FF2B5EF4-FFF2-40B4-BE49-F238E27FC236}">
                  <a16:creationId xmlns:a16="http://schemas.microsoft.com/office/drawing/2014/main" id="{7963533F-C5A4-411E-B1C8-F35D4EB6020E}"/>
                </a:ext>
              </a:extLst>
            </p:cNvPr>
            <p:cNvSpPr txBox="1"/>
            <p:nvPr/>
          </p:nvSpPr>
          <p:spPr>
            <a:xfrm>
              <a:off x="753626" y="2157348"/>
              <a:ext cx="973023" cy="238848"/>
            </a:xfrm>
            <a:prstGeom prst="rect">
              <a:avLst/>
            </a:prstGeom>
            <a:noFill/>
          </p:spPr>
          <p:txBody>
            <a:bodyPr wrap="none" lIns="0" tIns="0" rIns="0" bIns="0" rtlCol="0">
              <a:spAutoFit/>
            </a:bodyPr>
            <a:lstStyle/>
            <a:p>
              <a:pPr algn="l">
                <a:lnSpc>
                  <a:spcPct val="97000"/>
                </a:lnSpc>
              </a:pPr>
              <a:r>
                <a:rPr lang="en-US" sz="1600" dirty="0">
                  <a:solidFill>
                    <a:schemeClr val="accent2"/>
                  </a:solidFill>
                  <a:latin typeface="Novozymes" panose="020F0503040000020004" pitchFamily="34" charset="0"/>
                </a:rPr>
                <a:t>employees</a:t>
              </a:r>
              <a:endParaRPr lang="en-DK" sz="1600" dirty="0" err="1">
                <a:solidFill>
                  <a:schemeClr val="accent2"/>
                </a:solidFill>
                <a:latin typeface="Novozymes" panose="020F0503040000020004" pitchFamily="34" charset="0"/>
              </a:endParaRPr>
            </a:p>
          </p:txBody>
        </p:sp>
        <p:sp>
          <p:nvSpPr>
            <p:cNvPr id="7" name="TextBox 6">
              <a:extLst>
                <a:ext uri="{FF2B5EF4-FFF2-40B4-BE49-F238E27FC236}">
                  <a16:creationId xmlns:a16="http://schemas.microsoft.com/office/drawing/2014/main" id="{AD743C44-1BEB-4E6D-94E9-F3990FD3F843}"/>
                </a:ext>
              </a:extLst>
            </p:cNvPr>
            <p:cNvSpPr txBox="1"/>
            <p:nvPr/>
          </p:nvSpPr>
          <p:spPr>
            <a:xfrm>
              <a:off x="753626" y="3190152"/>
              <a:ext cx="692049" cy="238848"/>
            </a:xfrm>
            <a:prstGeom prst="rect">
              <a:avLst/>
            </a:prstGeom>
            <a:noFill/>
          </p:spPr>
          <p:txBody>
            <a:bodyPr wrap="none" lIns="0" tIns="0" rIns="0" bIns="0" rtlCol="0">
              <a:spAutoFit/>
            </a:bodyPr>
            <a:lstStyle/>
            <a:p>
              <a:pPr algn="l">
                <a:lnSpc>
                  <a:spcPct val="97000"/>
                </a:lnSpc>
              </a:pPr>
              <a:r>
                <a:rPr lang="en-US" sz="1600" dirty="0">
                  <a:solidFill>
                    <a:schemeClr val="accent2"/>
                  </a:solidFill>
                  <a:latin typeface="Novozymes" panose="020F0503040000020004" pitchFamily="34" charset="0"/>
                </a:rPr>
                <a:t>patents</a:t>
              </a:r>
              <a:endParaRPr lang="en-DK" sz="1600" dirty="0" err="1">
                <a:solidFill>
                  <a:schemeClr val="accent2"/>
                </a:solidFill>
                <a:latin typeface="Novozymes" panose="020F0503040000020004" pitchFamily="34" charset="0"/>
              </a:endParaRPr>
            </a:p>
          </p:txBody>
        </p:sp>
        <p:sp>
          <p:nvSpPr>
            <p:cNvPr id="8" name="TextBox 7">
              <a:extLst>
                <a:ext uri="{FF2B5EF4-FFF2-40B4-BE49-F238E27FC236}">
                  <a16:creationId xmlns:a16="http://schemas.microsoft.com/office/drawing/2014/main" id="{B2BDF324-DDB7-466E-BE22-FBD20F6712EA}"/>
                </a:ext>
              </a:extLst>
            </p:cNvPr>
            <p:cNvSpPr txBox="1"/>
            <p:nvPr/>
          </p:nvSpPr>
          <p:spPr>
            <a:xfrm>
              <a:off x="3346101" y="2135793"/>
              <a:ext cx="800155" cy="238848"/>
            </a:xfrm>
            <a:prstGeom prst="rect">
              <a:avLst/>
            </a:prstGeom>
            <a:noFill/>
          </p:spPr>
          <p:txBody>
            <a:bodyPr wrap="none" lIns="0" tIns="0" rIns="0" bIns="0" rtlCol="0">
              <a:spAutoFit/>
            </a:bodyPr>
            <a:lstStyle/>
            <a:p>
              <a:pPr algn="l">
                <a:lnSpc>
                  <a:spcPct val="97000"/>
                </a:lnSpc>
              </a:pPr>
              <a:r>
                <a:rPr lang="en-US" sz="1600" dirty="0">
                  <a:solidFill>
                    <a:schemeClr val="accent2"/>
                  </a:solidFill>
                  <a:latin typeface="Novozymes" panose="020F0503040000020004" pitchFamily="34" charset="0"/>
                </a:rPr>
                <a:t>products</a:t>
              </a:r>
              <a:endParaRPr lang="en-DK" sz="1600" dirty="0" err="1">
                <a:solidFill>
                  <a:schemeClr val="accent2"/>
                </a:solidFill>
                <a:latin typeface="Novozymes" panose="020F0503040000020004" pitchFamily="34" charset="0"/>
              </a:endParaRPr>
            </a:p>
          </p:txBody>
        </p:sp>
        <p:sp>
          <p:nvSpPr>
            <p:cNvPr id="9" name="TextBox 8">
              <a:extLst>
                <a:ext uri="{FF2B5EF4-FFF2-40B4-BE49-F238E27FC236}">
                  <a16:creationId xmlns:a16="http://schemas.microsoft.com/office/drawing/2014/main" id="{BA055385-DAD5-42B3-A400-66204D46D9DC}"/>
                </a:ext>
              </a:extLst>
            </p:cNvPr>
            <p:cNvSpPr txBox="1"/>
            <p:nvPr/>
          </p:nvSpPr>
          <p:spPr>
            <a:xfrm>
              <a:off x="7047549" y="2157830"/>
              <a:ext cx="1765868" cy="238848"/>
            </a:xfrm>
            <a:prstGeom prst="rect">
              <a:avLst/>
            </a:prstGeom>
            <a:noFill/>
          </p:spPr>
          <p:txBody>
            <a:bodyPr wrap="none" lIns="0" tIns="0" rIns="0" bIns="0" rtlCol="0">
              <a:spAutoFit/>
            </a:bodyPr>
            <a:lstStyle/>
            <a:p>
              <a:pPr algn="l">
                <a:lnSpc>
                  <a:spcPct val="97000"/>
                </a:lnSpc>
              </a:pPr>
              <a:r>
                <a:rPr lang="en-US" sz="1600" dirty="0">
                  <a:solidFill>
                    <a:schemeClr val="accent2"/>
                  </a:solidFill>
                  <a:latin typeface="Novozymes" panose="020F0503040000020004" pitchFamily="34" charset="0"/>
                </a:rPr>
                <a:t>different industries</a:t>
              </a:r>
              <a:endParaRPr lang="en-DK" sz="1600" dirty="0" err="1">
                <a:solidFill>
                  <a:schemeClr val="accent2"/>
                </a:solidFill>
                <a:latin typeface="Novozymes" panose="020F0503040000020004" pitchFamily="34" charset="0"/>
              </a:endParaRPr>
            </a:p>
          </p:txBody>
        </p:sp>
        <p:sp>
          <p:nvSpPr>
            <p:cNvPr id="10" name="TextBox 9">
              <a:extLst>
                <a:ext uri="{FF2B5EF4-FFF2-40B4-BE49-F238E27FC236}">
                  <a16:creationId xmlns:a16="http://schemas.microsoft.com/office/drawing/2014/main" id="{7F1E2467-0B81-4F06-B964-EA65065709C5}"/>
                </a:ext>
              </a:extLst>
            </p:cNvPr>
            <p:cNvSpPr txBox="1"/>
            <p:nvPr/>
          </p:nvSpPr>
          <p:spPr>
            <a:xfrm>
              <a:off x="7047549" y="3193328"/>
              <a:ext cx="1721625" cy="238848"/>
            </a:xfrm>
            <a:prstGeom prst="rect">
              <a:avLst/>
            </a:prstGeom>
            <a:noFill/>
          </p:spPr>
          <p:txBody>
            <a:bodyPr wrap="none" lIns="0" tIns="0" rIns="0" bIns="0" rtlCol="0">
              <a:spAutoFit/>
            </a:bodyPr>
            <a:lstStyle/>
            <a:p>
              <a:pPr algn="l">
                <a:lnSpc>
                  <a:spcPct val="97000"/>
                </a:lnSpc>
              </a:pPr>
              <a:r>
                <a:rPr lang="en-US" sz="1600" dirty="0">
                  <a:solidFill>
                    <a:schemeClr val="accent2"/>
                  </a:solidFill>
                  <a:latin typeface="Novozymes" panose="020F0503040000020004" pitchFamily="34" charset="0"/>
                </a:rPr>
                <a:t>sales (DKK million)</a:t>
              </a:r>
              <a:endParaRPr lang="en-DK" sz="1600" dirty="0" err="1">
                <a:solidFill>
                  <a:schemeClr val="accent2"/>
                </a:solidFill>
                <a:latin typeface="Novozymes" panose="020F0503040000020004" pitchFamily="34" charset="0"/>
              </a:endParaRPr>
            </a:p>
          </p:txBody>
        </p:sp>
        <p:sp>
          <p:nvSpPr>
            <p:cNvPr id="11" name="TextBox 10">
              <a:extLst>
                <a:ext uri="{FF2B5EF4-FFF2-40B4-BE49-F238E27FC236}">
                  <a16:creationId xmlns:a16="http://schemas.microsoft.com/office/drawing/2014/main" id="{35A30A09-4560-4ACD-8AD3-3858646CF87E}"/>
                </a:ext>
              </a:extLst>
            </p:cNvPr>
            <p:cNvSpPr txBox="1"/>
            <p:nvPr/>
          </p:nvSpPr>
          <p:spPr>
            <a:xfrm>
              <a:off x="3334195" y="3193328"/>
              <a:ext cx="478849" cy="238848"/>
            </a:xfrm>
            <a:prstGeom prst="rect">
              <a:avLst/>
            </a:prstGeom>
            <a:noFill/>
          </p:spPr>
          <p:txBody>
            <a:bodyPr wrap="none" lIns="0" tIns="0" rIns="0" bIns="0" rtlCol="0">
              <a:spAutoFit/>
            </a:bodyPr>
            <a:lstStyle/>
            <a:p>
              <a:pPr algn="l">
                <a:lnSpc>
                  <a:spcPct val="97000"/>
                </a:lnSpc>
              </a:pPr>
              <a:r>
                <a:rPr lang="en-US" sz="1600" dirty="0">
                  <a:solidFill>
                    <a:schemeClr val="accent2"/>
                  </a:solidFill>
                  <a:latin typeface="Novozymes" panose="020F0503040000020004" pitchFamily="34" charset="0"/>
                </a:rPr>
                <a:t>ROIC</a:t>
              </a:r>
              <a:endParaRPr lang="en-DK" sz="1600" dirty="0" err="1">
                <a:solidFill>
                  <a:schemeClr val="accent2"/>
                </a:solidFill>
                <a:latin typeface="Novozymes" panose="020F0503040000020004" pitchFamily="34" charset="0"/>
              </a:endParaRPr>
            </a:p>
          </p:txBody>
        </p:sp>
        <p:sp>
          <p:nvSpPr>
            <p:cNvPr id="13" name="TextBox 12">
              <a:extLst>
                <a:ext uri="{FF2B5EF4-FFF2-40B4-BE49-F238E27FC236}">
                  <a16:creationId xmlns:a16="http://schemas.microsoft.com/office/drawing/2014/main" id="{4D662BC0-A4C6-4394-AC9A-820359AF5A33}"/>
                </a:ext>
              </a:extLst>
            </p:cNvPr>
            <p:cNvSpPr txBox="1"/>
            <p:nvPr/>
          </p:nvSpPr>
          <p:spPr>
            <a:xfrm>
              <a:off x="9282819" y="2150410"/>
              <a:ext cx="845937" cy="238848"/>
            </a:xfrm>
            <a:prstGeom prst="rect">
              <a:avLst/>
            </a:prstGeom>
            <a:noFill/>
          </p:spPr>
          <p:txBody>
            <a:bodyPr wrap="none" lIns="0" tIns="0" rIns="0" bIns="0" rtlCol="0">
              <a:spAutoFit/>
            </a:bodyPr>
            <a:lstStyle/>
            <a:p>
              <a:pPr algn="l">
                <a:lnSpc>
                  <a:spcPct val="97000"/>
                </a:lnSpc>
              </a:pPr>
              <a:r>
                <a:rPr lang="en-US" sz="1600" dirty="0">
                  <a:solidFill>
                    <a:schemeClr val="accent2"/>
                  </a:solidFill>
                  <a:latin typeface="Novozymes" panose="020F0503040000020004" pitchFamily="34" charset="0"/>
                </a:rPr>
                <a:t>countries</a:t>
              </a:r>
              <a:endParaRPr lang="en-DK" sz="1600" dirty="0" err="1">
                <a:solidFill>
                  <a:schemeClr val="accent2"/>
                </a:solidFill>
                <a:latin typeface="Novozymes" panose="020F0503040000020004" pitchFamily="34" charset="0"/>
              </a:endParaRPr>
            </a:p>
          </p:txBody>
        </p:sp>
        <p:sp>
          <p:nvSpPr>
            <p:cNvPr id="14" name="TextBox 13">
              <a:extLst>
                <a:ext uri="{FF2B5EF4-FFF2-40B4-BE49-F238E27FC236}">
                  <a16:creationId xmlns:a16="http://schemas.microsoft.com/office/drawing/2014/main" id="{37EAF94C-611F-4489-8645-1BA7C8BA7EF8}"/>
                </a:ext>
              </a:extLst>
            </p:cNvPr>
            <p:cNvSpPr txBox="1"/>
            <p:nvPr/>
          </p:nvSpPr>
          <p:spPr>
            <a:xfrm>
              <a:off x="9282819" y="3193328"/>
              <a:ext cx="1115690" cy="238848"/>
            </a:xfrm>
            <a:prstGeom prst="rect">
              <a:avLst/>
            </a:prstGeom>
            <a:noFill/>
          </p:spPr>
          <p:txBody>
            <a:bodyPr wrap="none" lIns="0" tIns="0" rIns="0" bIns="0" rtlCol="0">
              <a:spAutoFit/>
            </a:bodyPr>
            <a:lstStyle/>
            <a:p>
              <a:pPr algn="l">
                <a:lnSpc>
                  <a:spcPct val="97000"/>
                </a:lnSpc>
              </a:pPr>
              <a:r>
                <a:rPr lang="en-US" sz="1600" dirty="0">
                  <a:solidFill>
                    <a:schemeClr val="accent2"/>
                  </a:solidFill>
                  <a:latin typeface="Novozymes" panose="020F0503040000020004" pitchFamily="34" charset="0"/>
                </a:rPr>
                <a:t>EBIT margin</a:t>
              </a:r>
              <a:endParaRPr lang="en-DK" sz="1600" dirty="0" err="1">
                <a:solidFill>
                  <a:schemeClr val="accent2"/>
                </a:solidFill>
                <a:latin typeface="Novozymes" panose="020F0503040000020004" pitchFamily="34" charset="0"/>
              </a:endParaRPr>
            </a:p>
          </p:txBody>
        </p:sp>
        <p:sp>
          <p:nvSpPr>
            <p:cNvPr id="15" name="TextBox 14">
              <a:extLst>
                <a:ext uri="{FF2B5EF4-FFF2-40B4-BE49-F238E27FC236}">
                  <a16:creationId xmlns:a16="http://schemas.microsoft.com/office/drawing/2014/main" id="{BCF0465C-F7A5-43CB-99DC-BC28CD27548F}"/>
                </a:ext>
              </a:extLst>
            </p:cNvPr>
            <p:cNvSpPr txBox="1"/>
            <p:nvPr/>
          </p:nvSpPr>
          <p:spPr>
            <a:xfrm>
              <a:off x="728331" y="1583203"/>
              <a:ext cx="1513235" cy="567207"/>
            </a:xfrm>
            <a:prstGeom prst="rect">
              <a:avLst/>
            </a:prstGeom>
            <a:noFill/>
          </p:spPr>
          <p:txBody>
            <a:bodyPr wrap="none" lIns="0" tIns="0" rIns="0" bIns="0" rtlCol="0">
              <a:spAutoFit/>
            </a:bodyPr>
            <a:lstStyle/>
            <a:p>
              <a:pPr algn="l">
                <a:lnSpc>
                  <a:spcPct val="97000"/>
                </a:lnSpc>
              </a:pPr>
              <a:r>
                <a:rPr lang="en-US" sz="3800" b="1" dirty="0">
                  <a:solidFill>
                    <a:schemeClr val="accent2"/>
                  </a:solidFill>
                  <a:latin typeface="Novozymes" panose="020F0503040000020004" pitchFamily="34" charset="0"/>
                </a:rPr>
                <a:t>6,000+</a:t>
              </a:r>
              <a:endParaRPr lang="en-DK" sz="3800" b="1" dirty="0" err="1">
                <a:solidFill>
                  <a:schemeClr val="accent2"/>
                </a:solidFill>
                <a:latin typeface="Novozymes" panose="020F0503040000020004" pitchFamily="34" charset="0"/>
              </a:endParaRPr>
            </a:p>
          </p:txBody>
        </p:sp>
        <p:sp>
          <p:nvSpPr>
            <p:cNvPr id="16" name="TextBox 15">
              <a:extLst>
                <a:ext uri="{FF2B5EF4-FFF2-40B4-BE49-F238E27FC236}">
                  <a16:creationId xmlns:a16="http://schemas.microsoft.com/office/drawing/2014/main" id="{621EB3C4-37EA-4F82-AA77-E74CEB1B4A7E}"/>
                </a:ext>
              </a:extLst>
            </p:cNvPr>
            <p:cNvSpPr txBox="1"/>
            <p:nvPr/>
          </p:nvSpPr>
          <p:spPr>
            <a:xfrm>
              <a:off x="728331" y="2622945"/>
              <a:ext cx="1235916" cy="567207"/>
            </a:xfrm>
            <a:prstGeom prst="rect">
              <a:avLst/>
            </a:prstGeom>
            <a:noFill/>
          </p:spPr>
          <p:txBody>
            <a:bodyPr wrap="none" lIns="0" tIns="0" rIns="0" bIns="0" rtlCol="0">
              <a:spAutoFit/>
            </a:bodyPr>
            <a:lstStyle/>
            <a:p>
              <a:pPr algn="l">
                <a:lnSpc>
                  <a:spcPct val="97000"/>
                </a:lnSpc>
              </a:pPr>
              <a:r>
                <a:rPr lang="en-US" sz="3800" b="1" dirty="0">
                  <a:solidFill>
                    <a:schemeClr val="accent2"/>
                  </a:solidFill>
                  <a:latin typeface="Novozymes" panose="020F0503040000020004" pitchFamily="34" charset="0"/>
                </a:rPr>
                <a:t>6,500</a:t>
              </a:r>
              <a:endParaRPr lang="en-DK" sz="3800" b="1" dirty="0" err="1">
                <a:solidFill>
                  <a:schemeClr val="accent2"/>
                </a:solidFill>
                <a:latin typeface="Novozymes" panose="020F0503040000020004" pitchFamily="34" charset="0"/>
              </a:endParaRPr>
            </a:p>
          </p:txBody>
        </p:sp>
        <p:sp>
          <p:nvSpPr>
            <p:cNvPr id="17" name="TextBox 16">
              <a:extLst>
                <a:ext uri="{FF2B5EF4-FFF2-40B4-BE49-F238E27FC236}">
                  <a16:creationId xmlns:a16="http://schemas.microsoft.com/office/drawing/2014/main" id="{C20B9F79-9CCC-42B6-8969-59443235F843}"/>
                </a:ext>
              </a:extLst>
            </p:cNvPr>
            <p:cNvSpPr txBox="1"/>
            <p:nvPr/>
          </p:nvSpPr>
          <p:spPr>
            <a:xfrm>
              <a:off x="9282819" y="1583203"/>
              <a:ext cx="831959" cy="567207"/>
            </a:xfrm>
            <a:prstGeom prst="rect">
              <a:avLst/>
            </a:prstGeom>
            <a:noFill/>
          </p:spPr>
          <p:txBody>
            <a:bodyPr wrap="none" lIns="0" tIns="0" rIns="0" bIns="0" rtlCol="0">
              <a:spAutoFit/>
            </a:bodyPr>
            <a:lstStyle/>
            <a:p>
              <a:pPr algn="l">
                <a:lnSpc>
                  <a:spcPct val="97000"/>
                </a:lnSpc>
              </a:pPr>
              <a:r>
                <a:rPr lang="en-US" sz="3800" b="1" dirty="0">
                  <a:solidFill>
                    <a:schemeClr val="accent2"/>
                  </a:solidFill>
                  <a:latin typeface="Novozymes" panose="020F0503040000020004" pitchFamily="34" charset="0"/>
                </a:rPr>
                <a:t>130</a:t>
              </a:r>
              <a:endParaRPr lang="en-DK" sz="3800" b="1" dirty="0" err="1">
                <a:solidFill>
                  <a:schemeClr val="accent2"/>
                </a:solidFill>
                <a:latin typeface="Novozymes" panose="020F0503040000020004" pitchFamily="34" charset="0"/>
              </a:endParaRPr>
            </a:p>
          </p:txBody>
        </p:sp>
        <p:sp>
          <p:nvSpPr>
            <p:cNvPr id="18" name="TextBox 17">
              <a:extLst>
                <a:ext uri="{FF2B5EF4-FFF2-40B4-BE49-F238E27FC236}">
                  <a16:creationId xmlns:a16="http://schemas.microsoft.com/office/drawing/2014/main" id="{80F28E07-FC2B-4604-BE7C-03BEAE6D4AEB}"/>
                </a:ext>
              </a:extLst>
            </p:cNvPr>
            <p:cNvSpPr txBox="1"/>
            <p:nvPr/>
          </p:nvSpPr>
          <p:spPr>
            <a:xfrm>
              <a:off x="9282819" y="2622945"/>
              <a:ext cx="1378583" cy="567207"/>
            </a:xfrm>
            <a:prstGeom prst="rect">
              <a:avLst/>
            </a:prstGeom>
            <a:noFill/>
          </p:spPr>
          <p:txBody>
            <a:bodyPr wrap="none" lIns="0" tIns="0" rIns="0" bIns="0" rtlCol="0">
              <a:spAutoFit/>
            </a:bodyPr>
            <a:lstStyle/>
            <a:p>
              <a:pPr algn="l">
                <a:lnSpc>
                  <a:spcPct val="97000"/>
                </a:lnSpc>
              </a:pPr>
              <a:r>
                <a:rPr lang="en-US" sz="3800" b="1" dirty="0">
                  <a:solidFill>
                    <a:schemeClr val="accent2"/>
                  </a:solidFill>
                  <a:latin typeface="Novozymes" panose="020F0503040000020004" pitchFamily="34" charset="0"/>
                </a:rPr>
                <a:t>26.1%</a:t>
              </a:r>
              <a:endParaRPr lang="en-DK" sz="3800" b="1" dirty="0" err="1">
                <a:solidFill>
                  <a:schemeClr val="accent2"/>
                </a:solidFill>
                <a:latin typeface="Novozymes" panose="020F0503040000020004" pitchFamily="34" charset="0"/>
              </a:endParaRPr>
            </a:p>
          </p:txBody>
        </p:sp>
        <p:sp>
          <p:nvSpPr>
            <p:cNvPr id="19" name="TextBox 18">
              <a:extLst>
                <a:ext uri="{FF2B5EF4-FFF2-40B4-BE49-F238E27FC236}">
                  <a16:creationId xmlns:a16="http://schemas.microsoft.com/office/drawing/2014/main" id="{8D901CA2-B7EE-49E4-B0DC-20536EBD43E2}"/>
                </a:ext>
              </a:extLst>
            </p:cNvPr>
            <p:cNvSpPr txBox="1"/>
            <p:nvPr/>
          </p:nvSpPr>
          <p:spPr>
            <a:xfrm>
              <a:off x="3334195" y="1583203"/>
              <a:ext cx="1109278" cy="567207"/>
            </a:xfrm>
            <a:prstGeom prst="rect">
              <a:avLst/>
            </a:prstGeom>
            <a:noFill/>
          </p:spPr>
          <p:txBody>
            <a:bodyPr wrap="none" lIns="0" tIns="0" rIns="0" bIns="0" rtlCol="0">
              <a:spAutoFit/>
            </a:bodyPr>
            <a:lstStyle/>
            <a:p>
              <a:pPr algn="l">
                <a:lnSpc>
                  <a:spcPct val="97000"/>
                </a:lnSpc>
              </a:pPr>
              <a:r>
                <a:rPr lang="en-US" sz="3800" b="1" dirty="0">
                  <a:solidFill>
                    <a:schemeClr val="accent2"/>
                  </a:solidFill>
                  <a:latin typeface="Novozymes" panose="020F0503040000020004" pitchFamily="34" charset="0"/>
                </a:rPr>
                <a:t>700+</a:t>
              </a:r>
              <a:endParaRPr lang="en-DK" sz="3800" b="1" dirty="0" err="1">
                <a:solidFill>
                  <a:schemeClr val="accent2"/>
                </a:solidFill>
                <a:latin typeface="Novozymes" panose="020F0503040000020004" pitchFamily="34" charset="0"/>
              </a:endParaRPr>
            </a:p>
          </p:txBody>
        </p:sp>
        <p:sp>
          <p:nvSpPr>
            <p:cNvPr id="20" name="TextBox 19">
              <a:extLst>
                <a:ext uri="{FF2B5EF4-FFF2-40B4-BE49-F238E27FC236}">
                  <a16:creationId xmlns:a16="http://schemas.microsoft.com/office/drawing/2014/main" id="{19641CEB-FCBA-4CA7-A28A-8D3026BE3045}"/>
                </a:ext>
              </a:extLst>
            </p:cNvPr>
            <p:cNvSpPr txBox="1"/>
            <p:nvPr/>
          </p:nvSpPr>
          <p:spPr>
            <a:xfrm>
              <a:off x="3334195" y="2622945"/>
              <a:ext cx="1378583" cy="567207"/>
            </a:xfrm>
            <a:prstGeom prst="rect">
              <a:avLst/>
            </a:prstGeom>
            <a:noFill/>
          </p:spPr>
          <p:txBody>
            <a:bodyPr wrap="none" lIns="0" tIns="0" rIns="0" bIns="0" rtlCol="0">
              <a:spAutoFit/>
            </a:bodyPr>
            <a:lstStyle/>
            <a:p>
              <a:pPr algn="l">
                <a:lnSpc>
                  <a:spcPct val="97000"/>
                </a:lnSpc>
              </a:pPr>
              <a:r>
                <a:rPr lang="en-US" sz="3800" b="1" dirty="0">
                  <a:solidFill>
                    <a:schemeClr val="accent2"/>
                  </a:solidFill>
                  <a:latin typeface="Novozymes" panose="020F0503040000020004" pitchFamily="34" charset="0"/>
                </a:rPr>
                <a:t>18.9%</a:t>
              </a:r>
              <a:endParaRPr lang="en-DK" sz="3800" b="1" dirty="0" err="1">
                <a:solidFill>
                  <a:schemeClr val="accent2"/>
                </a:solidFill>
                <a:latin typeface="Novozymes" panose="020F0503040000020004" pitchFamily="34" charset="0"/>
              </a:endParaRPr>
            </a:p>
          </p:txBody>
        </p:sp>
        <p:sp>
          <p:nvSpPr>
            <p:cNvPr id="21" name="TextBox 20">
              <a:extLst>
                <a:ext uri="{FF2B5EF4-FFF2-40B4-BE49-F238E27FC236}">
                  <a16:creationId xmlns:a16="http://schemas.microsoft.com/office/drawing/2014/main" id="{66D9AD30-E672-4758-9258-2FFC12BC4CCD}"/>
                </a:ext>
              </a:extLst>
            </p:cNvPr>
            <p:cNvSpPr txBox="1"/>
            <p:nvPr/>
          </p:nvSpPr>
          <p:spPr>
            <a:xfrm>
              <a:off x="7011481" y="1583203"/>
              <a:ext cx="831959" cy="567207"/>
            </a:xfrm>
            <a:prstGeom prst="rect">
              <a:avLst/>
            </a:prstGeom>
            <a:noFill/>
          </p:spPr>
          <p:txBody>
            <a:bodyPr wrap="none" lIns="0" tIns="0" rIns="0" bIns="0" rtlCol="0">
              <a:spAutoFit/>
            </a:bodyPr>
            <a:lstStyle/>
            <a:p>
              <a:pPr algn="l">
                <a:lnSpc>
                  <a:spcPct val="97000"/>
                </a:lnSpc>
              </a:pPr>
              <a:r>
                <a:rPr lang="en-US" sz="3800" b="1" dirty="0">
                  <a:solidFill>
                    <a:schemeClr val="accent2"/>
                  </a:solidFill>
                  <a:latin typeface="Novozymes" panose="020F0503040000020004" pitchFamily="34" charset="0"/>
                </a:rPr>
                <a:t>30+</a:t>
              </a:r>
              <a:endParaRPr lang="en-DK" sz="3800" b="1" dirty="0" err="1">
                <a:solidFill>
                  <a:schemeClr val="accent2"/>
                </a:solidFill>
                <a:latin typeface="Novozymes" panose="020F0503040000020004" pitchFamily="34" charset="0"/>
              </a:endParaRPr>
            </a:p>
          </p:txBody>
        </p:sp>
        <p:sp>
          <p:nvSpPr>
            <p:cNvPr id="22" name="TextBox 21">
              <a:extLst>
                <a:ext uri="{FF2B5EF4-FFF2-40B4-BE49-F238E27FC236}">
                  <a16:creationId xmlns:a16="http://schemas.microsoft.com/office/drawing/2014/main" id="{CED563D2-7ADE-4979-BF3B-3C674B7703DA}"/>
                </a:ext>
              </a:extLst>
            </p:cNvPr>
            <p:cNvSpPr txBox="1"/>
            <p:nvPr/>
          </p:nvSpPr>
          <p:spPr>
            <a:xfrm>
              <a:off x="7011481" y="2622945"/>
              <a:ext cx="1513235" cy="567207"/>
            </a:xfrm>
            <a:prstGeom prst="rect">
              <a:avLst/>
            </a:prstGeom>
            <a:noFill/>
          </p:spPr>
          <p:txBody>
            <a:bodyPr wrap="none" lIns="0" tIns="0" rIns="0" bIns="0" rtlCol="0">
              <a:spAutoFit/>
            </a:bodyPr>
            <a:lstStyle/>
            <a:p>
              <a:pPr algn="l">
                <a:lnSpc>
                  <a:spcPct val="97000"/>
                </a:lnSpc>
              </a:pPr>
              <a:r>
                <a:rPr lang="en-US" sz="3800" b="1" dirty="0">
                  <a:solidFill>
                    <a:schemeClr val="accent2"/>
                  </a:solidFill>
                  <a:latin typeface="Novozymes" panose="020F0503040000020004" pitchFamily="34" charset="0"/>
                </a:rPr>
                <a:t>14,012</a:t>
              </a:r>
              <a:endParaRPr lang="en-DK" sz="3800" b="1" dirty="0" err="1">
                <a:solidFill>
                  <a:schemeClr val="accent2"/>
                </a:solidFill>
                <a:latin typeface="Novozymes" panose="020F0503040000020004" pitchFamily="34" charset="0"/>
              </a:endParaRPr>
            </a:p>
          </p:txBody>
        </p:sp>
      </p:grpSp>
      <p:pic>
        <p:nvPicPr>
          <p:cNvPr id="23" name="Picture 22">
            <a:extLst>
              <a:ext uri="{FF2B5EF4-FFF2-40B4-BE49-F238E27FC236}">
                <a16:creationId xmlns:a16="http://schemas.microsoft.com/office/drawing/2014/main" id="{22C1B96F-1D67-445F-8CD2-68ECB1CCEACD}"/>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flipH="1">
            <a:off x="0" y="0"/>
            <a:ext cx="12192000" cy="6858000"/>
          </a:xfrm>
          <a:prstGeom prst="rect">
            <a:avLst/>
          </a:prstGeom>
        </p:spPr>
      </p:pic>
      <p:sp>
        <p:nvSpPr>
          <p:cNvPr id="12" name="Text Placeholder 5">
            <a:extLst>
              <a:ext uri="{FF2B5EF4-FFF2-40B4-BE49-F238E27FC236}">
                <a16:creationId xmlns:a16="http://schemas.microsoft.com/office/drawing/2014/main" id="{C744AE76-86EE-424A-A086-7C7E0F6A5D3E}"/>
              </a:ext>
            </a:extLst>
          </p:cNvPr>
          <p:cNvSpPr txBox="1">
            <a:spLocks/>
          </p:cNvSpPr>
          <p:nvPr/>
        </p:nvSpPr>
        <p:spPr>
          <a:xfrm>
            <a:off x="10224000" y="6238800"/>
            <a:ext cx="1476000" cy="435600"/>
          </a:xfrm>
          <a:prstGeom prst="rect">
            <a:avLst/>
          </a:prstGeom>
          <a:blipFill>
            <a:blip r:embed="rId4"/>
            <a:stretch>
              <a:fillRect/>
            </a:stretch>
          </a:blipFill>
        </p:spPr>
        <p:txBody>
          <a:bodyPr/>
          <a:lstStyle>
            <a:lvl1pPr marL="0" indent="0" algn="l" defTabSz="914400" rtl="0" eaLnBrk="1" latinLnBrk="0" hangingPunct="1">
              <a:lnSpc>
                <a:spcPct val="97000"/>
              </a:lnSpc>
              <a:spcBef>
                <a:spcPts val="0"/>
              </a:spcBef>
              <a:spcAft>
                <a:spcPts val="1000"/>
              </a:spcAft>
              <a:buFont typeface="Arial" panose="020B0604020202020204" pitchFamily="34" charset="0"/>
              <a:buChar char="​"/>
              <a:defRPr sz="100" kern="1200">
                <a:solidFill>
                  <a:schemeClr val="accent2"/>
                </a:solidFill>
                <a:latin typeface="+mn-lt"/>
                <a:ea typeface="+mn-ea"/>
                <a:cs typeface="+mn-cs"/>
              </a:defRPr>
            </a:lvl1pPr>
            <a:lvl2pPr marL="0" indent="0" algn="l" defTabSz="914400" rtl="0" eaLnBrk="1" latinLnBrk="0" hangingPunct="1">
              <a:lnSpc>
                <a:spcPct val="97000"/>
              </a:lnSpc>
              <a:spcBef>
                <a:spcPts val="0"/>
              </a:spcBef>
              <a:spcAft>
                <a:spcPts val="0"/>
              </a:spcAft>
              <a:buFont typeface="Arial" panose="020B0604020202020204" pitchFamily="34" charset="0"/>
              <a:buChar char="​"/>
              <a:defRPr sz="1800" b="1" kern="1200">
                <a:solidFill>
                  <a:schemeClr val="accent2"/>
                </a:solidFill>
                <a:latin typeface="+mn-lt"/>
                <a:ea typeface="+mn-ea"/>
                <a:cs typeface="+mn-cs"/>
              </a:defRPr>
            </a:lvl2pPr>
            <a:lvl3pPr marL="190800" indent="-190800" algn="l" defTabSz="914400" rtl="0" eaLnBrk="1" latinLnBrk="0" hangingPunct="1">
              <a:lnSpc>
                <a:spcPct val="97000"/>
              </a:lnSpc>
              <a:spcBef>
                <a:spcPts val="0"/>
              </a:spcBef>
              <a:spcAft>
                <a:spcPts val="1000"/>
              </a:spcAft>
              <a:buFont typeface="Arial" panose="020B0604020202020204" pitchFamily="34" charset="0"/>
              <a:buChar char="•"/>
              <a:defRPr sz="1800" kern="1200">
                <a:solidFill>
                  <a:schemeClr val="accent2"/>
                </a:solidFill>
                <a:latin typeface="+mn-lt"/>
                <a:ea typeface="+mn-ea"/>
                <a:cs typeface="+mn-cs"/>
              </a:defRPr>
            </a:lvl3pPr>
            <a:lvl4pPr marL="378000" indent="-176400" algn="l" defTabSz="914400" rtl="0" eaLnBrk="1" latinLnBrk="0" hangingPunct="1">
              <a:lnSpc>
                <a:spcPct val="100000"/>
              </a:lnSpc>
              <a:spcBef>
                <a:spcPts val="0"/>
              </a:spcBef>
              <a:spcAft>
                <a:spcPts val="1000"/>
              </a:spcAft>
              <a:buFont typeface="Arial" panose="020B0604020202020204" pitchFamily="34" charset="0"/>
              <a:buChar char="•"/>
              <a:defRPr sz="1600" kern="1200">
                <a:solidFill>
                  <a:schemeClr val="accent2"/>
                </a:solidFill>
                <a:latin typeface="+mn-lt"/>
                <a:ea typeface="+mn-ea"/>
                <a:cs typeface="+mn-cs"/>
              </a:defRPr>
            </a:lvl4pPr>
            <a:lvl5pPr marL="561600" indent="-176400" algn="l" defTabSz="914400" rtl="0" eaLnBrk="1" latinLnBrk="0" hangingPunct="1">
              <a:lnSpc>
                <a:spcPct val="100000"/>
              </a:lnSpc>
              <a:spcBef>
                <a:spcPts val="0"/>
              </a:spcBef>
              <a:spcAft>
                <a:spcPts val="1000"/>
              </a:spcAft>
              <a:buFont typeface="Arial" panose="020B0604020202020204" pitchFamily="34" charset="0"/>
              <a:buChar char="•"/>
              <a:defRPr sz="1400" kern="1200">
                <a:solidFill>
                  <a:schemeClr val="accent2"/>
                </a:solidFill>
                <a:latin typeface="+mn-lt"/>
                <a:ea typeface="+mn-ea"/>
                <a:cs typeface="+mn-cs"/>
              </a:defRPr>
            </a:lvl5pPr>
            <a:lvl6pPr marL="561600" indent="-176400" algn="l" defTabSz="914400" rtl="0" eaLnBrk="1" latinLnBrk="0" hangingPunct="1">
              <a:lnSpc>
                <a:spcPct val="100000"/>
              </a:lnSpc>
              <a:spcBef>
                <a:spcPts val="0"/>
              </a:spcBef>
              <a:spcAft>
                <a:spcPts val="1000"/>
              </a:spcAft>
              <a:buFont typeface="Arial" panose="020B0604020202020204" pitchFamily="34" charset="0"/>
              <a:buChar char="•"/>
              <a:defRPr sz="1400" kern="1200">
                <a:solidFill>
                  <a:schemeClr val="tx1"/>
                </a:solidFill>
                <a:latin typeface="+mn-lt"/>
                <a:ea typeface="+mn-ea"/>
                <a:cs typeface="+mn-cs"/>
              </a:defRPr>
            </a:lvl6pPr>
            <a:lvl7pPr marL="561600" indent="-176400" algn="l" defTabSz="914400" rtl="0" eaLnBrk="1" latinLnBrk="0" hangingPunct="1">
              <a:lnSpc>
                <a:spcPct val="100000"/>
              </a:lnSpc>
              <a:spcBef>
                <a:spcPts val="0"/>
              </a:spcBef>
              <a:spcAft>
                <a:spcPts val="1000"/>
              </a:spcAft>
              <a:buFont typeface="Arial" panose="020B0604020202020204" pitchFamily="34" charset="0"/>
              <a:buChar char="•"/>
              <a:defRPr sz="1400" kern="1200">
                <a:solidFill>
                  <a:schemeClr val="tx1"/>
                </a:solidFill>
                <a:latin typeface="+mn-lt"/>
                <a:ea typeface="+mn-ea"/>
                <a:cs typeface="+mn-cs"/>
              </a:defRPr>
            </a:lvl7pPr>
            <a:lvl8pPr marL="561600" indent="-176400" algn="l" defTabSz="914400" rtl="0" eaLnBrk="1" latinLnBrk="0" hangingPunct="1">
              <a:lnSpc>
                <a:spcPct val="100000"/>
              </a:lnSpc>
              <a:spcBef>
                <a:spcPts val="0"/>
              </a:spcBef>
              <a:spcAft>
                <a:spcPts val="1000"/>
              </a:spcAft>
              <a:buFont typeface="Arial" panose="020B0604020202020204" pitchFamily="34" charset="0"/>
              <a:buChar char="•"/>
              <a:defRPr sz="1400" kern="1200">
                <a:solidFill>
                  <a:schemeClr val="tx1"/>
                </a:solidFill>
                <a:latin typeface="+mn-lt"/>
                <a:ea typeface="+mn-ea"/>
                <a:cs typeface="+mn-cs"/>
              </a:defRPr>
            </a:lvl8pPr>
            <a:lvl9pPr marL="561600" indent="-176400" algn="l" defTabSz="914400" rtl="0" eaLnBrk="1" latinLnBrk="0" hangingPunct="1">
              <a:lnSpc>
                <a:spcPct val="100000"/>
              </a:lnSpc>
              <a:spcBef>
                <a:spcPts val="0"/>
              </a:spcBef>
              <a:spcAft>
                <a:spcPts val="1000"/>
              </a:spcAft>
              <a:buFont typeface="Arial" panose="020B0604020202020204" pitchFamily="34" charset="0"/>
              <a:buChar char="•"/>
              <a:defRPr sz="1400" kern="1200">
                <a:solidFill>
                  <a:schemeClr val="tx1"/>
                </a:solidFill>
                <a:latin typeface="+mn-lt"/>
                <a:ea typeface="+mn-ea"/>
                <a:cs typeface="+mn-cs"/>
              </a:defRPr>
            </a:lvl9pPr>
          </a:lstStyle>
          <a:p>
            <a:r>
              <a:rPr lang="en-US"/>
              <a:t>,</a:t>
            </a:r>
            <a:endParaRPr lang="en-US" dirty="0"/>
          </a:p>
        </p:txBody>
      </p:sp>
      <p:pic>
        <p:nvPicPr>
          <p:cNvPr id="28" name="Picture 27">
            <a:extLst>
              <a:ext uri="{FF2B5EF4-FFF2-40B4-BE49-F238E27FC236}">
                <a16:creationId xmlns:a16="http://schemas.microsoft.com/office/drawing/2014/main" id="{2D10ACA9-485F-4845-BBB5-289DA155ADD0}"/>
              </a:ext>
            </a:extLst>
          </p:cNvPr>
          <p:cNvPicPr>
            <a:picLocks noChangeAspect="1"/>
          </p:cNvPicPr>
          <p:nvPr/>
        </p:nvPicPr>
        <p:blipFill rotWithShape="1">
          <a:blip r:embed="rId5"/>
          <a:srcRect/>
          <a:stretch/>
        </p:blipFill>
        <p:spPr>
          <a:xfrm>
            <a:off x="243095" y="435446"/>
            <a:ext cx="4499238" cy="816935"/>
          </a:xfrm>
          <a:prstGeom prst="rect">
            <a:avLst/>
          </a:prstGeom>
        </p:spPr>
      </p:pic>
      <p:pic>
        <p:nvPicPr>
          <p:cNvPr id="24" name="Picture 23">
            <a:extLst>
              <a:ext uri="{FF2B5EF4-FFF2-40B4-BE49-F238E27FC236}">
                <a16:creationId xmlns:a16="http://schemas.microsoft.com/office/drawing/2014/main" id="{67988EB4-342E-47BC-A780-E27F9E4E7BC5}"/>
              </a:ext>
            </a:extLst>
          </p:cNvPr>
          <p:cNvPicPr>
            <a:picLocks noChangeAspect="1"/>
          </p:cNvPicPr>
          <p:nvPr/>
        </p:nvPicPr>
        <p:blipFill rotWithShape="1">
          <a:blip r:embed="rId6"/>
          <a:srcRect/>
          <a:stretch/>
        </p:blipFill>
        <p:spPr>
          <a:xfrm>
            <a:off x="451585" y="1422307"/>
            <a:ext cx="10510415" cy="2133785"/>
          </a:xfrm>
          <a:prstGeom prst="rect">
            <a:avLst/>
          </a:prstGeom>
        </p:spPr>
      </p:pic>
    </p:spTree>
    <p:extLst>
      <p:ext uri="{BB962C8B-B14F-4D97-AF65-F5344CB8AC3E}">
        <p14:creationId xmlns:p14="http://schemas.microsoft.com/office/powerpoint/2010/main" val="89077354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7" name="Picture 126">
            <a:extLst>
              <a:ext uri="{FF2B5EF4-FFF2-40B4-BE49-F238E27FC236}">
                <a16:creationId xmlns:a16="http://schemas.microsoft.com/office/drawing/2014/main" id="{8C7FB1D5-3E64-4564-B7AF-155DCB3E8100}"/>
              </a:ext>
            </a:extLst>
          </p:cNvPr>
          <p:cNvPicPr>
            <a:picLocks/>
          </p:cNvPicPr>
          <p:nvPr/>
        </p:nvPicPr>
        <p:blipFill rotWithShape="1">
          <a:blip r:embed="rId4"/>
          <a:srcRect/>
          <a:stretch/>
        </p:blipFill>
        <p:spPr>
          <a:xfrm>
            <a:off x="751956" y="98549"/>
            <a:ext cx="10389600" cy="6514012"/>
          </a:xfrm>
          <a:prstGeom prst="rect">
            <a:avLst/>
          </a:prstGeom>
        </p:spPr>
      </p:pic>
      <p:grpSp>
        <p:nvGrpSpPr>
          <p:cNvPr id="230" name="Group 229">
            <a:extLst>
              <a:ext uri="{FF2B5EF4-FFF2-40B4-BE49-F238E27FC236}">
                <a16:creationId xmlns:a16="http://schemas.microsoft.com/office/drawing/2014/main" id="{CEEA5ECF-FD49-4D12-888A-15F8D38D46A5}"/>
              </a:ext>
            </a:extLst>
          </p:cNvPr>
          <p:cNvGrpSpPr>
            <a:grpSpLocks/>
          </p:cNvGrpSpPr>
          <p:nvPr/>
        </p:nvGrpSpPr>
        <p:grpSpPr>
          <a:xfrm>
            <a:off x="2102739" y="2519372"/>
            <a:ext cx="1013375" cy="553215"/>
            <a:chOff x="2102739" y="2519372"/>
            <a:chExt cx="1013375" cy="553215"/>
          </a:xfrm>
        </p:grpSpPr>
        <p:grpSp>
          <p:nvGrpSpPr>
            <p:cNvPr id="231" name="Group 230">
              <a:extLst>
                <a:ext uri="{FF2B5EF4-FFF2-40B4-BE49-F238E27FC236}">
                  <a16:creationId xmlns:a16="http://schemas.microsoft.com/office/drawing/2014/main" id="{D769530A-4E8B-4CA2-97C0-FD84D61A8A1A}"/>
                </a:ext>
              </a:extLst>
            </p:cNvPr>
            <p:cNvGrpSpPr/>
            <p:nvPr/>
          </p:nvGrpSpPr>
          <p:grpSpPr>
            <a:xfrm>
              <a:off x="3008114" y="2697956"/>
              <a:ext cx="108000" cy="374631"/>
              <a:chOff x="3008114" y="2697956"/>
              <a:chExt cx="108000" cy="374631"/>
            </a:xfrm>
          </p:grpSpPr>
          <p:sp>
            <p:nvSpPr>
              <p:cNvPr id="233" name="Oval 232">
                <a:extLst>
                  <a:ext uri="{FF2B5EF4-FFF2-40B4-BE49-F238E27FC236}">
                    <a16:creationId xmlns:a16="http://schemas.microsoft.com/office/drawing/2014/main" id="{EF16C007-79CD-4E05-AFCA-2F20911F1AF9}"/>
                  </a:ext>
                </a:extLst>
              </p:cNvPr>
              <p:cNvSpPr/>
              <p:nvPr/>
            </p:nvSpPr>
            <p:spPr>
              <a:xfrm rot="5400000" flipH="1">
                <a:off x="3008114" y="2964587"/>
                <a:ext cx="108000" cy="10800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7000"/>
                  </a:lnSpc>
                </a:pPr>
                <a:endParaRPr lang="en-US" sz="800" dirty="0">
                  <a:solidFill>
                    <a:schemeClr val="accent2"/>
                  </a:solidFill>
                </a:endParaRPr>
              </a:p>
            </p:txBody>
          </p:sp>
          <p:cxnSp>
            <p:nvCxnSpPr>
              <p:cNvPr id="234" name="Straight Connector 233">
                <a:extLst>
                  <a:ext uri="{FF2B5EF4-FFF2-40B4-BE49-F238E27FC236}">
                    <a16:creationId xmlns:a16="http://schemas.microsoft.com/office/drawing/2014/main" id="{3E304C55-B9CA-4D9B-AC5F-7D4A5B72C092}"/>
                  </a:ext>
                </a:extLst>
              </p:cNvPr>
              <p:cNvCxnSpPr>
                <a:cxnSpLocks/>
                <a:stCxn id="233" idx="6"/>
              </p:cNvCxnSpPr>
              <p:nvPr/>
            </p:nvCxnSpPr>
            <p:spPr>
              <a:xfrm flipH="1" flipV="1">
                <a:off x="3062114" y="2697956"/>
                <a:ext cx="1" cy="266630"/>
              </a:xfrm>
              <a:prstGeom prst="line">
                <a:avLst/>
              </a:prstGeom>
              <a:ln w="12700" cap="rnd">
                <a:solidFill>
                  <a:schemeClr val="tx1"/>
                </a:solidFill>
                <a:round/>
              </a:ln>
            </p:spPr>
            <p:style>
              <a:lnRef idx="1">
                <a:schemeClr val="accent1"/>
              </a:lnRef>
              <a:fillRef idx="0">
                <a:schemeClr val="accent1"/>
              </a:fillRef>
              <a:effectRef idx="0">
                <a:schemeClr val="accent1"/>
              </a:effectRef>
              <a:fontRef idx="minor">
                <a:schemeClr val="tx1"/>
              </a:fontRef>
            </p:style>
          </p:cxnSp>
        </p:grpSp>
        <p:sp>
          <p:nvSpPr>
            <p:cNvPr id="232" name="TextBox 231">
              <a:extLst>
                <a:ext uri="{FF2B5EF4-FFF2-40B4-BE49-F238E27FC236}">
                  <a16:creationId xmlns:a16="http://schemas.microsoft.com/office/drawing/2014/main" id="{337BC3F5-7544-47FF-AD95-011FB3523CC2}"/>
                </a:ext>
              </a:extLst>
            </p:cNvPr>
            <p:cNvSpPr txBox="1"/>
            <p:nvPr/>
          </p:nvSpPr>
          <p:spPr>
            <a:xfrm>
              <a:off x="2102739" y="2519372"/>
              <a:ext cx="979683" cy="390872"/>
            </a:xfrm>
            <a:prstGeom prst="rect">
              <a:avLst/>
            </a:prstGeom>
            <a:noFill/>
          </p:spPr>
          <p:txBody>
            <a:bodyPr wrap="none" lIns="36000" tIns="18000" rIns="36000" bIns="18000" rtlCol="0">
              <a:spAutoFit/>
            </a:bodyPr>
            <a:lstStyle/>
            <a:p>
              <a:pPr>
                <a:lnSpc>
                  <a:spcPct val="96000"/>
                </a:lnSpc>
              </a:pPr>
              <a:r>
                <a:rPr lang="en-US" sz="800" b="1" spc="-20" dirty="0">
                  <a:solidFill>
                    <a:schemeClr val="accent2"/>
                  </a:solidFill>
                </a:rPr>
                <a:t>Saskatoon, Canada</a:t>
              </a:r>
            </a:p>
            <a:p>
              <a:pPr indent="-90000">
                <a:lnSpc>
                  <a:spcPct val="96000"/>
                </a:lnSpc>
                <a:buFont typeface="Arial" panose="020B0604020202020204" pitchFamily="34" charset="0"/>
                <a:buChar char="–"/>
              </a:pPr>
              <a:r>
                <a:rPr lang="en-US" sz="800" spc="-20" dirty="0" err="1">
                  <a:solidFill>
                    <a:schemeClr val="accent2"/>
                  </a:solidFill>
                </a:rPr>
                <a:t>BioAg</a:t>
              </a:r>
              <a:r>
                <a:rPr lang="en-US" sz="800" spc="-20" dirty="0">
                  <a:solidFill>
                    <a:schemeClr val="accent2"/>
                  </a:solidFill>
                </a:rPr>
                <a:t> production</a:t>
              </a:r>
            </a:p>
            <a:p>
              <a:pPr indent="-90000">
                <a:lnSpc>
                  <a:spcPct val="96000"/>
                </a:lnSpc>
                <a:buFont typeface="Arial" panose="020B0604020202020204" pitchFamily="34" charset="0"/>
                <a:buChar char="–"/>
              </a:pPr>
              <a:r>
                <a:rPr lang="en-US" sz="800" spc="-20" dirty="0">
                  <a:solidFill>
                    <a:schemeClr val="accent2"/>
                  </a:solidFill>
                </a:rPr>
                <a:t>R&amp;D</a:t>
              </a:r>
            </a:p>
          </p:txBody>
        </p:sp>
      </p:grpSp>
      <p:grpSp>
        <p:nvGrpSpPr>
          <p:cNvPr id="235" name="Group 234">
            <a:extLst>
              <a:ext uri="{FF2B5EF4-FFF2-40B4-BE49-F238E27FC236}">
                <a16:creationId xmlns:a16="http://schemas.microsoft.com/office/drawing/2014/main" id="{DECF7269-6666-43DC-B31F-A32A679CAD5E}"/>
              </a:ext>
            </a:extLst>
          </p:cNvPr>
          <p:cNvGrpSpPr>
            <a:grpSpLocks/>
          </p:cNvGrpSpPr>
          <p:nvPr/>
        </p:nvGrpSpPr>
        <p:grpSpPr>
          <a:xfrm>
            <a:off x="3253525" y="1983838"/>
            <a:ext cx="1121310" cy="1379826"/>
            <a:chOff x="3342060" y="1840396"/>
            <a:chExt cx="1121310" cy="1379826"/>
          </a:xfrm>
        </p:grpSpPr>
        <p:grpSp>
          <p:nvGrpSpPr>
            <p:cNvPr id="236" name="Group 235">
              <a:extLst>
                <a:ext uri="{FF2B5EF4-FFF2-40B4-BE49-F238E27FC236}">
                  <a16:creationId xmlns:a16="http://schemas.microsoft.com/office/drawing/2014/main" id="{36BC4FF1-6FF0-4C12-9C95-AD5F81EA73C1}"/>
                </a:ext>
              </a:extLst>
            </p:cNvPr>
            <p:cNvGrpSpPr/>
            <p:nvPr/>
          </p:nvGrpSpPr>
          <p:grpSpPr>
            <a:xfrm>
              <a:off x="3342060" y="2097434"/>
              <a:ext cx="108000" cy="1122788"/>
              <a:chOff x="3342060" y="2097434"/>
              <a:chExt cx="108000" cy="1122788"/>
            </a:xfrm>
          </p:grpSpPr>
          <p:sp>
            <p:nvSpPr>
              <p:cNvPr id="238" name="Oval 237">
                <a:extLst>
                  <a:ext uri="{FF2B5EF4-FFF2-40B4-BE49-F238E27FC236}">
                    <a16:creationId xmlns:a16="http://schemas.microsoft.com/office/drawing/2014/main" id="{4F0C0736-9C6C-4A72-B253-A270E976B7BC}"/>
                  </a:ext>
                </a:extLst>
              </p:cNvPr>
              <p:cNvSpPr/>
              <p:nvPr/>
            </p:nvSpPr>
            <p:spPr>
              <a:xfrm rot="5400000" flipH="1">
                <a:off x="3342060" y="3112222"/>
                <a:ext cx="108000" cy="10800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7000"/>
                  </a:lnSpc>
                </a:pPr>
                <a:endParaRPr lang="en-US" sz="800" dirty="0">
                  <a:solidFill>
                    <a:schemeClr val="accent2"/>
                  </a:solidFill>
                </a:endParaRPr>
              </a:p>
            </p:txBody>
          </p:sp>
          <p:cxnSp>
            <p:nvCxnSpPr>
              <p:cNvPr id="239" name="Straight Connector 238">
                <a:extLst>
                  <a:ext uri="{FF2B5EF4-FFF2-40B4-BE49-F238E27FC236}">
                    <a16:creationId xmlns:a16="http://schemas.microsoft.com/office/drawing/2014/main" id="{E1BFC9CC-144E-4921-BDFE-6E5BEE6A36CC}"/>
                  </a:ext>
                </a:extLst>
              </p:cNvPr>
              <p:cNvCxnSpPr>
                <a:cxnSpLocks/>
                <a:stCxn id="238" idx="6"/>
              </p:cNvCxnSpPr>
              <p:nvPr/>
            </p:nvCxnSpPr>
            <p:spPr>
              <a:xfrm flipV="1">
                <a:off x="3396059" y="2097434"/>
                <a:ext cx="0" cy="1014789"/>
              </a:xfrm>
              <a:prstGeom prst="line">
                <a:avLst/>
              </a:prstGeom>
              <a:ln w="12700" cap="rnd">
                <a:solidFill>
                  <a:schemeClr val="tx1"/>
                </a:solidFill>
                <a:round/>
              </a:ln>
            </p:spPr>
            <p:style>
              <a:lnRef idx="1">
                <a:schemeClr val="accent1"/>
              </a:lnRef>
              <a:fillRef idx="0">
                <a:schemeClr val="accent1"/>
              </a:fillRef>
              <a:effectRef idx="0">
                <a:schemeClr val="accent1"/>
              </a:effectRef>
              <a:fontRef idx="minor">
                <a:schemeClr val="tx1"/>
              </a:fontRef>
            </p:style>
          </p:cxnSp>
        </p:grpSp>
        <p:sp>
          <p:nvSpPr>
            <p:cNvPr id="237" name="TextBox 236">
              <a:extLst>
                <a:ext uri="{FF2B5EF4-FFF2-40B4-BE49-F238E27FC236}">
                  <a16:creationId xmlns:a16="http://schemas.microsoft.com/office/drawing/2014/main" id="{B1060CA6-3347-41E1-85E1-24A1155C47E6}"/>
                </a:ext>
              </a:extLst>
            </p:cNvPr>
            <p:cNvSpPr txBox="1"/>
            <p:nvPr/>
          </p:nvSpPr>
          <p:spPr>
            <a:xfrm>
              <a:off x="3353523" y="1840396"/>
              <a:ext cx="1109847" cy="272698"/>
            </a:xfrm>
            <a:prstGeom prst="rect">
              <a:avLst/>
            </a:prstGeom>
            <a:noFill/>
          </p:spPr>
          <p:txBody>
            <a:bodyPr wrap="none" lIns="36000" tIns="18000" rIns="36000" bIns="18000" rtlCol="0">
              <a:spAutoFit/>
            </a:bodyPr>
            <a:lstStyle/>
            <a:p>
              <a:pPr>
                <a:lnSpc>
                  <a:spcPct val="96000"/>
                </a:lnSpc>
              </a:pPr>
              <a:r>
                <a:rPr lang="en-US" sz="800" b="1" spc="-20" dirty="0">
                  <a:solidFill>
                    <a:schemeClr val="accent2"/>
                  </a:solidFill>
                </a:rPr>
                <a:t>Milwaukee, Wisconsin</a:t>
              </a:r>
            </a:p>
            <a:p>
              <a:pPr indent="-90000">
                <a:lnSpc>
                  <a:spcPct val="96000"/>
                </a:lnSpc>
                <a:buFont typeface="Arial" panose="020B0604020202020204" pitchFamily="34" charset="0"/>
                <a:buChar char="–"/>
              </a:pPr>
              <a:r>
                <a:rPr lang="en-US" sz="800" spc="-20" dirty="0" err="1">
                  <a:solidFill>
                    <a:schemeClr val="accent2"/>
                  </a:solidFill>
                </a:rPr>
                <a:t>BioAg</a:t>
              </a:r>
              <a:r>
                <a:rPr lang="en-US" sz="800" spc="-20" dirty="0">
                  <a:solidFill>
                    <a:schemeClr val="accent2"/>
                  </a:solidFill>
                </a:rPr>
                <a:t> production</a:t>
              </a:r>
            </a:p>
          </p:txBody>
        </p:sp>
      </p:grpSp>
      <p:grpSp>
        <p:nvGrpSpPr>
          <p:cNvPr id="245" name="Group 244">
            <a:extLst>
              <a:ext uri="{FF2B5EF4-FFF2-40B4-BE49-F238E27FC236}">
                <a16:creationId xmlns:a16="http://schemas.microsoft.com/office/drawing/2014/main" id="{FD9495BE-E192-4643-92C9-4259BB03271C}"/>
              </a:ext>
            </a:extLst>
          </p:cNvPr>
          <p:cNvGrpSpPr>
            <a:grpSpLocks/>
          </p:cNvGrpSpPr>
          <p:nvPr/>
        </p:nvGrpSpPr>
        <p:grpSpPr>
          <a:xfrm>
            <a:off x="3832611" y="3051916"/>
            <a:ext cx="1369115" cy="272698"/>
            <a:chOff x="3832615" y="3051916"/>
            <a:chExt cx="1476428" cy="272698"/>
          </a:xfrm>
        </p:grpSpPr>
        <p:grpSp>
          <p:nvGrpSpPr>
            <p:cNvPr id="246" name="Group 245">
              <a:extLst>
                <a:ext uri="{FF2B5EF4-FFF2-40B4-BE49-F238E27FC236}">
                  <a16:creationId xmlns:a16="http://schemas.microsoft.com/office/drawing/2014/main" id="{C531ED70-0784-4886-BACB-37FB64D6EFEA}"/>
                </a:ext>
              </a:extLst>
            </p:cNvPr>
            <p:cNvGrpSpPr/>
            <p:nvPr/>
          </p:nvGrpSpPr>
          <p:grpSpPr>
            <a:xfrm>
              <a:off x="3832615" y="3062990"/>
              <a:ext cx="374631" cy="108000"/>
              <a:chOff x="3832615" y="3062990"/>
              <a:chExt cx="374631" cy="108000"/>
            </a:xfrm>
          </p:grpSpPr>
          <p:sp>
            <p:nvSpPr>
              <p:cNvPr id="248" name="Oval 247">
                <a:extLst>
                  <a:ext uri="{FF2B5EF4-FFF2-40B4-BE49-F238E27FC236}">
                    <a16:creationId xmlns:a16="http://schemas.microsoft.com/office/drawing/2014/main" id="{FE27C2C3-29BE-4168-8BB3-E28F4D5CFD01}"/>
                  </a:ext>
                </a:extLst>
              </p:cNvPr>
              <p:cNvSpPr/>
              <p:nvPr/>
            </p:nvSpPr>
            <p:spPr>
              <a:xfrm rot="10800000" flipH="1" flipV="1">
                <a:off x="3832615" y="3062990"/>
                <a:ext cx="108000" cy="10800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7000"/>
                  </a:lnSpc>
                </a:pPr>
                <a:endParaRPr lang="en-US" dirty="0">
                  <a:solidFill>
                    <a:schemeClr val="accent2"/>
                  </a:solidFill>
                </a:endParaRPr>
              </a:p>
            </p:txBody>
          </p:sp>
          <p:cxnSp>
            <p:nvCxnSpPr>
              <p:cNvPr id="249" name="Straight Connector 248">
                <a:extLst>
                  <a:ext uri="{FF2B5EF4-FFF2-40B4-BE49-F238E27FC236}">
                    <a16:creationId xmlns:a16="http://schemas.microsoft.com/office/drawing/2014/main" id="{21DEAC48-B160-4853-8270-C0C02B58135D}"/>
                  </a:ext>
                </a:extLst>
              </p:cNvPr>
              <p:cNvCxnSpPr>
                <a:cxnSpLocks/>
                <a:stCxn id="248" idx="6"/>
              </p:cNvCxnSpPr>
              <p:nvPr/>
            </p:nvCxnSpPr>
            <p:spPr>
              <a:xfrm rot="16200000" flipH="1">
                <a:off x="4073930" y="2983675"/>
                <a:ext cx="1" cy="266630"/>
              </a:xfrm>
              <a:prstGeom prst="line">
                <a:avLst/>
              </a:prstGeom>
              <a:ln w="12700" cap="rnd">
                <a:solidFill>
                  <a:schemeClr val="tx1"/>
                </a:solidFill>
                <a:round/>
              </a:ln>
            </p:spPr>
            <p:style>
              <a:lnRef idx="1">
                <a:schemeClr val="accent1"/>
              </a:lnRef>
              <a:fillRef idx="0">
                <a:schemeClr val="accent1"/>
              </a:fillRef>
              <a:effectRef idx="0">
                <a:schemeClr val="accent1"/>
              </a:effectRef>
              <a:fontRef idx="minor">
                <a:schemeClr val="tx1"/>
              </a:fontRef>
            </p:style>
          </p:cxnSp>
        </p:grpSp>
        <p:sp>
          <p:nvSpPr>
            <p:cNvPr id="247" name="TextBox 246">
              <a:extLst>
                <a:ext uri="{FF2B5EF4-FFF2-40B4-BE49-F238E27FC236}">
                  <a16:creationId xmlns:a16="http://schemas.microsoft.com/office/drawing/2014/main" id="{6E9373F3-B377-4D33-B59F-29CF2A3AC821}"/>
                </a:ext>
              </a:extLst>
            </p:cNvPr>
            <p:cNvSpPr txBox="1"/>
            <p:nvPr/>
          </p:nvSpPr>
          <p:spPr>
            <a:xfrm>
              <a:off x="4226988" y="3051916"/>
              <a:ext cx="1082055" cy="272698"/>
            </a:xfrm>
            <a:prstGeom prst="rect">
              <a:avLst/>
            </a:prstGeom>
            <a:noFill/>
          </p:spPr>
          <p:txBody>
            <a:bodyPr wrap="none" lIns="36000" tIns="18000" rIns="36000" bIns="18000" rtlCol="0">
              <a:spAutoFit/>
            </a:bodyPr>
            <a:lstStyle/>
            <a:p>
              <a:pPr>
                <a:lnSpc>
                  <a:spcPct val="96000"/>
                </a:lnSpc>
              </a:pPr>
              <a:r>
                <a:rPr lang="en-US" sz="800" b="1" spc="-20" dirty="0">
                  <a:solidFill>
                    <a:schemeClr val="accent2"/>
                  </a:solidFill>
                </a:rPr>
                <a:t>Ottawa, Canada</a:t>
              </a:r>
            </a:p>
            <a:p>
              <a:pPr indent="-90000">
                <a:lnSpc>
                  <a:spcPct val="96000"/>
                </a:lnSpc>
                <a:buFont typeface="Arial" panose="020B0604020202020204" pitchFamily="34" charset="0"/>
                <a:buChar char="–"/>
              </a:pPr>
              <a:r>
                <a:rPr lang="en-US" sz="800" spc="-20" dirty="0">
                  <a:solidFill>
                    <a:schemeClr val="accent2"/>
                  </a:solidFill>
                </a:rPr>
                <a:t>Enzyme production</a:t>
              </a:r>
            </a:p>
          </p:txBody>
        </p:sp>
      </p:grpSp>
      <p:sp>
        <p:nvSpPr>
          <p:cNvPr id="252" name="TextBox 251">
            <a:extLst>
              <a:ext uri="{FF2B5EF4-FFF2-40B4-BE49-F238E27FC236}">
                <a16:creationId xmlns:a16="http://schemas.microsoft.com/office/drawing/2014/main" id="{A6975EA1-8627-4D1A-9CF3-354CA90AB64A}"/>
              </a:ext>
            </a:extLst>
          </p:cNvPr>
          <p:cNvSpPr txBox="1">
            <a:spLocks/>
          </p:cNvSpPr>
          <p:nvPr/>
        </p:nvSpPr>
        <p:spPr>
          <a:xfrm>
            <a:off x="4202471" y="3422750"/>
            <a:ext cx="1332000" cy="863566"/>
          </a:xfrm>
          <a:prstGeom prst="rect">
            <a:avLst/>
          </a:prstGeom>
          <a:noFill/>
        </p:spPr>
        <p:txBody>
          <a:bodyPr wrap="none" lIns="36000" tIns="18000" rIns="36000" bIns="18000" rtlCol="0">
            <a:spAutoFit/>
          </a:bodyPr>
          <a:lstStyle/>
          <a:p>
            <a:pPr>
              <a:lnSpc>
                <a:spcPct val="96000"/>
              </a:lnSpc>
            </a:pPr>
            <a:r>
              <a:rPr lang="en-US" sz="800" b="1" spc="-20" dirty="0">
                <a:solidFill>
                  <a:schemeClr val="accent2"/>
                </a:solidFill>
              </a:rPr>
              <a:t>Raleigh, North Carolina</a:t>
            </a:r>
          </a:p>
          <a:p>
            <a:pPr indent="-90000">
              <a:lnSpc>
                <a:spcPct val="96000"/>
              </a:lnSpc>
              <a:buFont typeface="Arial" panose="020B0604020202020204" pitchFamily="34" charset="0"/>
              <a:buChar char="–"/>
            </a:pPr>
            <a:r>
              <a:rPr lang="en-US" sz="800" spc="-20" dirty="0">
                <a:solidFill>
                  <a:schemeClr val="accent2"/>
                </a:solidFill>
              </a:rPr>
              <a:t>Enzyme production</a:t>
            </a:r>
          </a:p>
          <a:p>
            <a:pPr indent="-90000">
              <a:lnSpc>
                <a:spcPct val="96000"/>
              </a:lnSpc>
              <a:buFont typeface="Arial" panose="020B0604020202020204" pitchFamily="34" charset="0"/>
              <a:buChar char="–"/>
            </a:pPr>
            <a:r>
              <a:rPr lang="en-US" sz="800" spc="-20" dirty="0">
                <a:solidFill>
                  <a:schemeClr val="accent2"/>
                </a:solidFill>
              </a:rPr>
              <a:t>R&amp;D</a:t>
            </a:r>
          </a:p>
          <a:p>
            <a:pPr>
              <a:lnSpc>
                <a:spcPct val="96000"/>
              </a:lnSpc>
            </a:pPr>
            <a:r>
              <a:rPr lang="en-US" sz="800" b="1" spc="-20" dirty="0">
                <a:solidFill>
                  <a:schemeClr val="accent2"/>
                </a:solidFill>
              </a:rPr>
              <a:t>Salem, Virginia</a:t>
            </a:r>
          </a:p>
          <a:p>
            <a:pPr indent="-90000">
              <a:lnSpc>
                <a:spcPct val="96000"/>
              </a:lnSpc>
              <a:buFont typeface="Arial" panose="020B0604020202020204" pitchFamily="34" charset="0"/>
              <a:buChar char="–"/>
            </a:pPr>
            <a:r>
              <a:rPr lang="en-US" sz="800" spc="-20" dirty="0">
                <a:solidFill>
                  <a:schemeClr val="accent2"/>
                </a:solidFill>
              </a:rPr>
              <a:t>Microorganisms production</a:t>
            </a:r>
          </a:p>
          <a:p>
            <a:pPr indent="-90000">
              <a:lnSpc>
                <a:spcPct val="96000"/>
              </a:lnSpc>
              <a:buFont typeface="Arial" panose="020B0604020202020204" pitchFamily="34" charset="0"/>
              <a:buChar char="–"/>
            </a:pPr>
            <a:r>
              <a:rPr lang="en-US" sz="800" spc="-20" dirty="0">
                <a:solidFill>
                  <a:schemeClr val="accent2"/>
                </a:solidFill>
              </a:rPr>
              <a:t>MicroAg R&amp;D</a:t>
            </a:r>
          </a:p>
          <a:p>
            <a:pPr indent="-90000">
              <a:lnSpc>
                <a:spcPct val="96000"/>
              </a:lnSpc>
              <a:buFont typeface="Arial" panose="020B0604020202020204" pitchFamily="34" charset="0"/>
              <a:buChar char="–"/>
            </a:pPr>
            <a:endParaRPr lang="en-US" sz="800" spc="-20" dirty="0">
              <a:solidFill>
                <a:schemeClr val="accent2"/>
              </a:solidFill>
            </a:endParaRPr>
          </a:p>
        </p:txBody>
      </p:sp>
      <p:grpSp>
        <p:nvGrpSpPr>
          <p:cNvPr id="255" name="Group 254">
            <a:extLst>
              <a:ext uri="{FF2B5EF4-FFF2-40B4-BE49-F238E27FC236}">
                <a16:creationId xmlns:a16="http://schemas.microsoft.com/office/drawing/2014/main" id="{452B5F5C-56DF-4A82-A919-C220847BEFFD}"/>
              </a:ext>
            </a:extLst>
          </p:cNvPr>
          <p:cNvGrpSpPr>
            <a:grpSpLocks/>
          </p:cNvGrpSpPr>
          <p:nvPr/>
        </p:nvGrpSpPr>
        <p:grpSpPr>
          <a:xfrm>
            <a:off x="6638815" y="4116765"/>
            <a:ext cx="1269327" cy="272698"/>
            <a:chOff x="6738050" y="4095501"/>
            <a:chExt cx="1269327" cy="272698"/>
          </a:xfrm>
        </p:grpSpPr>
        <p:grpSp>
          <p:nvGrpSpPr>
            <p:cNvPr id="256" name="Group 255">
              <a:extLst>
                <a:ext uri="{FF2B5EF4-FFF2-40B4-BE49-F238E27FC236}">
                  <a16:creationId xmlns:a16="http://schemas.microsoft.com/office/drawing/2014/main" id="{419F5684-949F-4E68-9404-1819FE46F285}"/>
                </a:ext>
              </a:extLst>
            </p:cNvPr>
            <p:cNvGrpSpPr/>
            <p:nvPr/>
          </p:nvGrpSpPr>
          <p:grpSpPr>
            <a:xfrm>
              <a:off x="7597801" y="4118393"/>
              <a:ext cx="409576" cy="108000"/>
              <a:chOff x="7597801" y="4118393"/>
              <a:chExt cx="409576" cy="108000"/>
            </a:xfrm>
          </p:grpSpPr>
          <p:sp>
            <p:nvSpPr>
              <p:cNvPr id="258" name="Oval 257">
                <a:extLst>
                  <a:ext uri="{FF2B5EF4-FFF2-40B4-BE49-F238E27FC236}">
                    <a16:creationId xmlns:a16="http://schemas.microsoft.com/office/drawing/2014/main" id="{4963C711-FE7C-4CEB-B5E9-85152C809508}"/>
                  </a:ext>
                </a:extLst>
              </p:cNvPr>
              <p:cNvSpPr/>
              <p:nvPr/>
            </p:nvSpPr>
            <p:spPr>
              <a:xfrm flipH="1">
                <a:off x="7899377" y="4118393"/>
                <a:ext cx="108000" cy="10800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7000"/>
                  </a:lnSpc>
                </a:pPr>
                <a:endParaRPr lang="en-US" sz="800" dirty="0">
                  <a:solidFill>
                    <a:schemeClr val="accent2"/>
                  </a:solidFill>
                </a:endParaRPr>
              </a:p>
            </p:txBody>
          </p:sp>
          <p:cxnSp>
            <p:nvCxnSpPr>
              <p:cNvPr id="259" name="Straight Connector 258">
                <a:extLst>
                  <a:ext uri="{FF2B5EF4-FFF2-40B4-BE49-F238E27FC236}">
                    <a16:creationId xmlns:a16="http://schemas.microsoft.com/office/drawing/2014/main" id="{406BE383-E750-40DE-AA77-D43CF2785C12}"/>
                  </a:ext>
                </a:extLst>
              </p:cNvPr>
              <p:cNvCxnSpPr/>
              <p:nvPr/>
            </p:nvCxnSpPr>
            <p:spPr>
              <a:xfrm flipH="1">
                <a:off x="7597801" y="4172393"/>
                <a:ext cx="301576" cy="0"/>
              </a:xfrm>
              <a:prstGeom prst="line">
                <a:avLst/>
              </a:prstGeom>
              <a:ln w="12700" cap="rnd">
                <a:solidFill>
                  <a:schemeClr val="tx1"/>
                </a:solidFill>
                <a:round/>
              </a:ln>
            </p:spPr>
            <p:style>
              <a:lnRef idx="1">
                <a:schemeClr val="accent1"/>
              </a:lnRef>
              <a:fillRef idx="0">
                <a:schemeClr val="accent1"/>
              </a:fillRef>
              <a:effectRef idx="0">
                <a:schemeClr val="accent1"/>
              </a:effectRef>
              <a:fontRef idx="minor">
                <a:schemeClr val="tx1"/>
              </a:fontRef>
            </p:style>
          </p:cxnSp>
        </p:grpSp>
        <p:sp>
          <p:nvSpPr>
            <p:cNvPr id="257" name="TextBox 256">
              <a:extLst>
                <a:ext uri="{FF2B5EF4-FFF2-40B4-BE49-F238E27FC236}">
                  <a16:creationId xmlns:a16="http://schemas.microsoft.com/office/drawing/2014/main" id="{D425B5A9-EB63-4940-B462-6F24BE92FC50}"/>
                </a:ext>
              </a:extLst>
            </p:cNvPr>
            <p:cNvSpPr txBox="1"/>
            <p:nvPr/>
          </p:nvSpPr>
          <p:spPr>
            <a:xfrm>
              <a:off x="6738050" y="4095501"/>
              <a:ext cx="1003407" cy="272698"/>
            </a:xfrm>
            <a:prstGeom prst="rect">
              <a:avLst/>
            </a:prstGeom>
            <a:noFill/>
          </p:spPr>
          <p:txBody>
            <a:bodyPr wrap="none" lIns="36000" tIns="18000" rIns="36000" bIns="18000" rtlCol="0">
              <a:spAutoFit/>
            </a:bodyPr>
            <a:lstStyle/>
            <a:p>
              <a:pPr>
                <a:lnSpc>
                  <a:spcPct val="96000"/>
                </a:lnSpc>
              </a:pPr>
              <a:r>
                <a:rPr lang="en-US" sz="800" b="1" spc="-20" dirty="0" err="1">
                  <a:solidFill>
                    <a:schemeClr val="accent2"/>
                  </a:solidFill>
                </a:rPr>
                <a:t>Patalganga</a:t>
              </a:r>
              <a:r>
                <a:rPr lang="en-US" sz="800" b="1" spc="-20" dirty="0">
                  <a:solidFill>
                    <a:schemeClr val="accent2"/>
                  </a:solidFill>
                </a:rPr>
                <a:t>, India</a:t>
              </a:r>
            </a:p>
            <a:p>
              <a:pPr indent="-90000">
                <a:lnSpc>
                  <a:spcPct val="96000"/>
                </a:lnSpc>
                <a:buFont typeface="Arial" panose="020B0604020202020204" pitchFamily="34" charset="0"/>
                <a:buChar char="–"/>
              </a:pPr>
              <a:r>
                <a:rPr lang="en-US" sz="800" spc="-20" dirty="0">
                  <a:solidFill>
                    <a:schemeClr val="accent2"/>
                  </a:solidFill>
                </a:rPr>
                <a:t>Enzyme production</a:t>
              </a:r>
            </a:p>
          </p:txBody>
        </p:sp>
      </p:grpSp>
      <p:sp>
        <p:nvSpPr>
          <p:cNvPr id="272" name="Oval 271">
            <a:extLst>
              <a:ext uri="{FF2B5EF4-FFF2-40B4-BE49-F238E27FC236}">
                <a16:creationId xmlns:a16="http://schemas.microsoft.com/office/drawing/2014/main" id="{3B04E2CF-E98A-4C80-8DF1-B9795C3A320B}"/>
              </a:ext>
            </a:extLst>
          </p:cNvPr>
          <p:cNvSpPr>
            <a:spLocks/>
          </p:cNvSpPr>
          <p:nvPr/>
        </p:nvSpPr>
        <p:spPr>
          <a:xfrm>
            <a:off x="9093915" y="3697139"/>
            <a:ext cx="108000" cy="10800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7000"/>
              </a:lnSpc>
            </a:pPr>
            <a:endParaRPr lang="en-US" dirty="0">
              <a:solidFill>
                <a:schemeClr val="accent2"/>
              </a:solidFill>
            </a:endParaRPr>
          </a:p>
        </p:txBody>
      </p:sp>
      <p:cxnSp>
        <p:nvCxnSpPr>
          <p:cNvPr id="273" name="Straight Connector 272">
            <a:extLst>
              <a:ext uri="{FF2B5EF4-FFF2-40B4-BE49-F238E27FC236}">
                <a16:creationId xmlns:a16="http://schemas.microsoft.com/office/drawing/2014/main" id="{E1CB31F4-4FFE-47FF-BFD5-7966623A42CA}"/>
              </a:ext>
            </a:extLst>
          </p:cNvPr>
          <p:cNvCxnSpPr>
            <a:cxnSpLocks/>
          </p:cNvCxnSpPr>
          <p:nvPr/>
        </p:nvCxnSpPr>
        <p:spPr>
          <a:xfrm>
            <a:off x="9147915" y="3749439"/>
            <a:ext cx="966982" cy="3706"/>
          </a:xfrm>
          <a:prstGeom prst="line">
            <a:avLst/>
          </a:prstGeom>
          <a:ln w="12700" cap="rnd">
            <a:solidFill>
              <a:schemeClr val="tx1"/>
            </a:solidFill>
            <a:round/>
          </a:ln>
        </p:spPr>
        <p:style>
          <a:lnRef idx="1">
            <a:schemeClr val="accent1"/>
          </a:lnRef>
          <a:fillRef idx="0">
            <a:schemeClr val="accent1"/>
          </a:fillRef>
          <a:effectRef idx="0">
            <a:schemeClr val="accent1"/>
          </a:effectRef>
          <a:fontRef idx="minor">
            <a:schemeClr val="tx1"/>
          </a:fontRef>
        </p:style>
      </p:cxnSp>
      <p:sp>
        <p:nvSpPr>
          <p:cNvPr id="270" name="Oval 269">
            <a:extLst>
              <a:ext uri="{FF2B5EF4-FFF2-40B4-BE49-F238E27FC236}">
                <a16:creationId xmlns:a16="http://schemas.microsoft.com/office/drawing/2014/main" id="{97BB4AC3-599E-4484-A881-202969EAE9F6}"/>
              </a:ext>
            </a:extLst>
          </p:cNvPr>
          <p:cNvSpPr>
            <a:spLocks/>
          </p:cNvSpPr>
          <p:nvPr/>
        </p:nvSpPr>
        <p:spPr>
          <a:xfrm>
            <a:off x="9199625" y="3285452"/>
            <a:ext cx="108000" cy="10800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7000"/>
              </a:lnSpc>
            </a:pPr>
            <a:endParaRPr lang="en-US" dirty="0">
              <a:solidFill>
                <a:schemeClr val="accent2"/>
              </a:solidFill>
            </a:endParaRPr>
          </a:p>
        </p:txBody>
      </p:sp>
      <p:sp>
        <p:nvSpPr>
          <p:cNvPr id="267" name="TextBox 266">
            <a:extLst>
              <a:ext uri="{FF2B5EF4-FFF2-40B4-BE49-F238E27FC236}">
                <a16:creationId xmlns:a16="http://schemas.microsoft.com/office/drawing/2014/main" id="{70E00E0A-CF4D-4D15-A5B9-70D05807BEB7}"/>
              </a:ext>
            </a:extLst>
          </p:cNvPr>
          <p:cNvSpPr txBox="1">
            <a:spLocks/>
          </p:cNvSpPr>
          <p:nvPr/>
        </p:nvSpPr>
        <p:spPr>
          <a:xfrm>
            <a:off x="10172786" y="4215595"/>
            <a:ext cx="1003407" cy="272698"/>
          </a:xfrm>
          <a:prstGeom prst="rect">
            <a:avLst/>
          </a:prstGeom>
          <a:noFill/>
        </p:spPr>
        <p:txBody>
          <a:bodyPr wrap="none" lIns="36000" tIns="18000" rIns="36000" bIns="18000" rtlCol="0">
            <a:spAutoFit/>
          </a:bodyPr>
          <a:lstStyle/>
          <a:p>
            <a:pPr>
              <a:lnSpc>
                <a:spcPct val="96000"/>
              </a:lnSpc>
            </a:pPr>
            <a:r>
              <a:rPr lang="en-US" sz="800" b="1" spc="-20" dirty="0" err="1">
                <a:solidFill>
                  <a:schemeClr val="accent2"/>
                </a:solidFill>
              </a:rPr>
              <a:t>Hongda</a:t>
            </a:r>
            <a:r>
              <a:rPr lang="en-US" sz="800" b="1" spc="-20" dirty="0">
                <a:solidFill>
                  <a:schemeClr val="accent2"/>
                </a:solidFill>
              </a:rPr>
              <a:t>, China</a:t>
            </a:r>
          </a:p>
          <a:p>
            <a:pPr indent="-90000">
              <a:lnSpc>
                <a:spcPct val="96000"/>
              </a:lnSpc>
              <a:buFont typeface="Arial" panose="020B0604020202020204" pitchFamily="34" charset="0"/>
              <a:buChar char="–"/>
            </a:pPr>
            <a:r>
              <a:rPr lang="en-US" sz="800" spc="-20" dirty="0">
                <a:solidFill>
                  <a:schemeClr val="accent2"/>
                </a:solidFill>
              </a:rPr>
              <a:t>Enzyme production</a:t>
            </a:r>
          </a:p>
        </p:txBody>
      </p:sp>
      <p:sp>
        <p:nvSpPr>
          <p:cNvPr id="274" name="Rectangle 273">
            <a:extLst>
              <a:ext uri="{FF2B5EF4-FFF2-40B4-BE49-F238E27FC236}">
                <a16:creationId xmlns:a16="http://schemas.microsoft.com/office/drawing/2014/main" id="{D0282342-6808-4C90-9268-5715BD8F6A22}"/>
              </a:ext>
            </a:extLst>
          </p:cNvPr>
          <p:cNvSpPr>
            <a:spLocks/>
          </p:cNvSpPr>
          <p:nvPr/>
        </p:nvSpPr>
        <p:spPr>
          <a:xfrm>
            <a:off x="465712" y="604800"/>
            <a:ext cx="6052939" cy="821763"/>
          </a:xfrm>
          <a:prstGeom prst="rect">
            <a:avLst/>
          </a:prstGeom>
        </p:spPr>
        <p:txBody>
          <a:bodyPr wrap="none" lIns="0" tIns="0" rIns="0" bIns="0">
            <a:spAutoFit/>
          </a:bodyPr>
          <a:lstStyle/>
          <a:p>
            <a:pPr>
              <a:lnSpc>
                <a:spcPct val="89000"/>
              </a:lnSpc>
            </a:pPr>
            <a:r>
              <a:rPr lang="en-US" sz="3000" b="1" dirty="0">
                <a:solidFill>
                  <a:schemeClr val="accent2"/>
                </a:solidFill>
                <a:latin typeface="+mj-lt"/>
              </a:rPr>
              <a:t>Our biological answers, near you</a:t>
            </a:r>
            <a:br>
              <a:rPr lang="en-US" sz="3000" b="1" dirty="0">
                <a:solidFill>
                  <a:schemeClr val="accent2"/>
                </a:solidFill>
                <a:latin typeface="+mj-lt"/>
              </a:rPr>
            </a:br>
            <a:endParaRPr lang="en-US" sz="3000" b="1" dirty="0">
              <a:solidFill>
                <a:schemeClr val="accent2"/>
              </a:solidFill>
              <a:latin typeface="+mj-lt"/>
            </a:endParaRPr>
          </a:p>
        </p:txBody>
      </p:sp>
      <p:cxnSp>
        <p:nvCxnSpPr>
          <p:cNvPr id="68" name="Straight Connector 67">
            <a:extLst>
              <a:ext uri="{FF2B5EF4-FFF2-40B4-BE49-F238E27FC236}">
                <a16:creationId xmlns:a16="http://schemas.microsoft.com/office/drawing/2014/main" id="{055BDE5C-1CAB-4953-931C-9FDC6330715D}"/>
              </a:ext>
            </a:extLst>
          </p:cNvPr>
          <p:cNvCxnSpPr>
            <a:cxnSpLocks/>
          </p:cNvCxnSpPr>
          <p:nvPr/>
        </p:nvCxnSpPr>
        <p:spPr>
          <a:xfrm flipV="1">
            <a:off x="6068454" y="2330511"/>
            <a:ext cx="0" cy="405282"/>
          </a:xfrm>
          <a:prstGeom prst="line">
            <a:avLst/>
          </a:prstGeom>
          <a:ln w="12700" cap="rnd">
            <a:solidFill>
              <a:schemeClr val="tx1"/>
            </a:solidFill>
            <a:round/>
          </a:ln>
        </p:spPr>
        <p:style>
          <a:lnRef idx="1">
            <a:schemeClr val="accent1"/>
          </a:lnRef>
          <a:fillRef idx="0">
            <a:schemeClr val="accent1"/>
          </a:fillRef>
          <a:effectRef idx="0">
            <a:schemeClr val="accent1"/>
          </a:effectRef>
          <a:fontRef idx="minor">
            <a:schemeClr val="tx1"/>
          </a:fontRef>
        </p:style>
      </p:cxnSp>
      <p:sp>
        <p:nvSpPr>
          <p:cNvPr id="66" name="TextBox 65">
            <a:extLst>
              <a:ext uri="{FF2B5EF4-FFF2-40B4-BE49-F238E27FC236}">
                <a16:creationId xmlns:a16="http://schemas.microsoft.com/office/drawing/2014/main" id="{0D82C03E-68DE-435C-94AC-0634B1FD1A79}"/>
              </a:ext>
            </a:extLst>
          </p:cNvPr>
          <p:cNvSpPr txBox="1">
            <a:spLocks/>
          </p:cNvSpPr>
          <p:nvPr/>
        </p:nvSpPr>
        <p:spPr>
          <a:xfrm>
            <a:off x="6117421" y="1016749"/>
            <a:ext cx="1950447" cy="1572606"/>
          </a:xfrm>
          <a:prstGeom prst="rect">
            <a:avLst/>
          </a:prstGeom>
          <a:noFill/>
        </p:spPr>
        <p:txBody>
          <a:bodyPr wrap="square" lIns="36000" tIns="18000" rIns="36000" bIns="18000" rtlCol="0">
            <a:spAutoFit/>
          </a:bodyPr>
          <a:lstStyle/>
          <a:p>
            <a:pPr>
              <a:lnSpc>
                <a:spcPct val="96000"/>
              </a:lnSpc>
            </a:pPr>
            <a:r>
              <a:rPr lang="en-US" sz="800" b="1" spc="-20" dirty="0">
                <a:solidFill>
                  <a:schemeClr val="accent2"/>
                </a:solidFill>
              </a:rPr>
              <a:t>Bagsværd, Denmark</a:t>
            </a:r>
          </a:p>
          <a:p>
            <a:pPr indent="-90000">
              <a:lnSpc>
                <a:spcPct val="96000"/>
              </a:lnSpc>
              <a:buFont typeface="Arial" panose="020B0604020202020204" pitchFamily="34" charset="0"/>
              <a:buChar char="–"/>
            </a:pPr>
            <a:r>
              <a:rPr lang="en-US" sz="800" spc="-20" dirty="0">
                <a:solidFill>
                  <a:schemeClr val="accent2"/>
                </a:solidFill>
              </a:rPr>
              <a:t>Headquarters</a:t>
            </a:r>
          </a:p>
          <a:p>
            <a:pPr indent="-90000">
              <a:lnSpc>
                <a:spcPct val="96000"/>
              </a:lnSpc>
              <a:buFont typeface="Arial" panose="020B0604020202020204" pitchFamily="34" charset="0"/>
              <a:buChar char="–"/>
            </a:pPr>
            <a:r>
              <a:rPr lang="en-US" sz="800" spc="-20" dirty="0">
                <a:solidFill>
                  <a:schemeClr val="accent2"/>
                </a:solidFill>
              </a:rPr>
              <a:t>R&amp;D</a:t>
            </a:r>
          </a:p>
          <a:p>
            <a:pPr indent="-90000">
              <a:lnSpc>
                <a:spcPct val="96000"/>
              </a:lnSpc>
              <a:buFont typeface="Arial" panose="020B0604020202020204" pitchFamily="34" charset="0"/>
              <a:buChar char="–"/>
            </a:pPr>
            <a:r>
              <a:rPr lang="en-US" sz="800" spc="-20" dirty="0">
                <a:solidFill>
                  <a:schemeClr val="accent2"/>
                </a:solidFill>
              </a:rPr>
              <a:t>Pilot plant</a:t>
            </a:r>
          </a:p>
          <a:p>
            <a:pPr>
              <a:lnSpc>
                <a:spcPct val="96000"/>
              </a:lnSpc>
            </a:pPr>
            <a:r>
              <a:rPr lang="en-US" sz="800" b="1" spc="-20" dirty="0">
                <a:solidFill>
                  <a:schemeClr val="accent2"/>
                </a:solidFill>
              </a:rPr>
              <a:t>Kalundborg, Denmark</a:t>
            </a:r>
          </a:p>
          <a:p>
            <a:pPr indent="-90000">
              <a:lnSpc>
                <a:spcPct val="96000"/>
              </a:lnSpc>
              <a:buFont typeface="Arial" panose="020B0604020202020204" pitchFamily="34" charset="0"/>
              <a:buChar char="–"/>
            </a:pPr>
            <a:r>
              <a:rPr lang="en-US" sz="800" spc="-20" dirty="0">
                <a:solidFill>
                  <a:schemeClr val="accent2"/>
                </a:solidFill>
              </a:rPr>
              <a:t>Enzyme production</a:t>
            </a:r>
          </a:p>
          <a:p>
            <a:pPr indent="-90000">
              <a:lnSpc>
                <a:spcPct val="96000"/>
              </a:lnSpc>
              <a:buFont typeface="Arial" panose="020B0604020202020204" pitchFamily="34" charset="0"/>
              <a:buChar char="–"/>
            </a:pPr>
            <a:r>
              <a:rPr lang="en-US" sz="800" spc="-20" dirty="0">
                <a:solidFill>
                  <a:schemeClr val="accent2"/>
                </a:solidFill>
              </a:rPr>
              <a:t>Pilot plant</a:t>
            </a:r>
          </a:p>
          <a:p>
            <a:pPr>
              <a:lnSpc>
                <a:spcPct val="96000"/>
              </a:lnSpc>
            </a:pPr>
            <a:r>
              <a:rPr lang="en-US" sz="800" b="1" spc="-20" dirty="0" err="1">
                <a:solidFill>
                  <a:schemeClr val="accent2"/>
                </a:solidFill>
              </a:rPr>
              <a:t>Fuglebakken</a:t>
            </a:r>
            <a:r>
              <a:rPr lang="en-US" sz="800" b="1" spc="-20" dirty="0">
                <a:solidFill>
                  <a:schemeClr val="accent2"/>
                </a:solidFill>
              </a:rPr>
              <a:t>, Denmark</a:t>
            </a:r>
          </a:p>
          <a:p>
            <a:pPr indent="-90000">
              <a:lnSpc>
                <a:spcPct val="96000"/>
              </a:lnSpc>
              <a:buFont typeface="Arial" panose="020B0604020202020204" pitchFamily="34" charset="0"/>
              <a:buChar char="–"/>
            </a:pPr>
            <a:r>
              <a:rPr lang="en-US" sz="800" spc="-20" dirty="0">
                <a:solidFill>
                  <a:schemeClr val="accent2"/>
                </a:solidFill>
              </a:rPr>
              <a:t>Enzyme Production</a:t>
            </a:r>
          </a:p>
          <a:p>
            <a:pPr>
              <a:lnSpc>
                <a:spcPct val="96000"/>
              </a:lnSpc>
            </a:pPr>
            <a:r>
              <a:rPr lang="en-US" sz="800" b="1" spc="-20" dirty="0">
                <a:solidFill>
                  <a:schemeClr val="accent2"/>
                </a:solidFill>
              </a:rPr>
              <a:t>Lyngby, Denmark</a:t>
            </a:r>
          </a:p>
          <a:p>
            <a:pPr indent="-90000">
              <a:lnSpc>
                <a:spcPct val="96000"/>
              </a:lnSpc>
              <a:buFont typeface="Arial" panose="020B0604020202020204" pitchFamily="34" charset="0"/>
              <a:buChar char="–"/>
            </a:pPr>
            <a:r>
              <a:rPr lang="en-US" sz="800" spc="-20" dirty="0">
                <a:solidFill>
                  <a:schemeClr val="accent2"/>
                </a:solidFill>
              </a:rPr>
              <a:t>R&amp;D</a:t>
            </a:r>
          </a:p>
          <a:p>
            <a:pPr indent="-90000">
              <a:lnSpc>
                <a:spcPct val="96000"/>
              </a:lnSpc>
              <a:buFont typeface="Arial" panose="020B0604020202020204" pitchFamily="34" charset="0"/>
              <a:buChar char="–"/>
            </a:pPr>
            <a:endParaRPr lang="en-US" sz="800" spc="-20" dirty="0">
              <a:solidFill>
                <a:schemeClr val="accent2"/>
              </a:solidFill>
            </a:endParaRPr>
          </a:p>
          <a:p>
            <a:pPr indent="-90000">
              <a:lnSpc>
                <a:spcPct val="96000"/>
              </a:lnSpc>
              <a:buFont typeface="Arial" panose="020B0604020202020204" pitchFamily="34" charset="0"/>
              <a:buChar char="–"/>
            </a:pPr>
            <a:endParaRPr lang="en-US" sz="800" spc="-20" dirty="0">
              <a:solidFill>
                <a:schemeClr val="accent2"/>
              </a:solidFill>
            </a:endParaRPr>
          </a:p>
        </p:txBody>
      </p:sp>
      <p:sp>
        <p:nvSpPr>
          <p:cNvPr id="59" name="Title 1" hidden="1">
            <a:extLst>
              <a:ext uri="{FF2B5EF4-FFF2-40B4-BE49-F238E27FC236}">
                <a16:creationId xmlns:a16="http://schemas.microsoft.com/office/drawing/2014/main" id="{A5EFE0B2-2ED5-4956-BC3C-24669CE9147A}"/>
              </a:ext>
            </a:extLst>
          </p:cNvPr>
          <p:cNvSpPr>
            <a:spLocks noGrp="1"/>
          </p:cNvSpPr>
          <p:nvPr>
            <p:ph type="title" idx="4294967295"/>
          </p:nvPr>
        </p:nvSpPr>
        <p:spPr>
          <a:xfrm>
            <a:off x="0" y="28575"/>
            <a:ext cx="8361363" cy="863600"/>
          </a:xfrm>
        </p:spPr>
        <p:txBody>
          <a:bodyPr/>
          <a:lstStyle/>
          <a:p>
            <a:r>
              <a:rPr lang="en-US" sz="900"/>
              <a:t>Novozymes production sites</a:t>
            </a:r>
            <a:endParaRPr lang="en-US" sz="900" dirty="0"/>
          </a:p>
        </p:txBody>
      </p:sp>
      <p:grpSp>
        <p:nvGrpSpPr>
          <p:cNvPr id="70" name="Group 69">
            <a:extLst>
              <a:ext uri="{FF2B5EF4-FFF2-40B4-BE49-F238E27FC236}">
                <a16:creationId xmlns:a16="http://schemas.microsoft.com/office/drawing/2014/main" id="{6FD02EE9-BA0A-4E5B-94D3-352AA2F9BE65}"/>
              </a:ext>
            </a:extLst>
          </p:cNvPr>
          <p:cNvGrpSpPr>
            <a:grpSpLocks/>
          </p:cNvGrpSpPr>
          <p:nvPr/>
        </p:nvGrpSpPr>
        <p:grpSpPr>
          <a:xfrm>
            <a:off x="960560" y="3253620"/>
            <a:ext cx="2179593" cy="272698"/>
            <a:chOff x="960560" y="3207838"/>
            <a:chExt cx="2179593" cy="272698"/>
          </a:xfrm>
        </p:grpSpPr>
        <p:grpSp>
          <p:nvGrpSpPr>
            <p:cNvPr id="71" name="Group 70">
              <a:extLst>
                <a:ext uri="{FF2B5EF4-FFF2-40B4-BE49-F238E27FC236}">
                  <a16:creationId xmlns:a16="http://schemas.microsoft.com/office/drawing/2014/main" id="{E726404F-9BCF-49A1-B42E-2B24DCF0A23E}"/>
                </a:ext>
              </a:extLst>
            </p:cNvPr>
            <p:cNvGrpSpPr/>
            <p:nvPr/>
          </p:nvGrpSpPr>
          <p:grpSpPr>
            <a:xfrm>
              <a:off x="1924051" y="3247951"/>
              <a:ext cx="1216102" cy="108000"/>
              <a:chOff x="1924051" y="3247951"/>
              <a:chExt cx="1216102" cy="108000"/>
            </a:xfrm>
          </p:grpSpPr>
          <p:sp>
            <p:nvSpPr>
              <p:cNvPr id="73" name="Oval 72">
                <a:extLst>
                  <a:ext uri="{FF2B5EF4-FFF2-40B4-BE49-F238E27FC236}">
                    <a16:creationId xmlns:a16="http://schemas.microsoft.com/office/drawing/2014/main" id="{23A3A1AD-7000-41A2-B21F-E30FCB9C96ED}"/>
                  </a:ext>
                </a:extLst>
              </p:cNvPr>
              <p:cNvSpPr/>
              <p:nvPr/>
            </p:nvSpPr>
            <p:spPr>
              <a:xfrm flipH="1">
                <a:off x="3032153" y="3247951"/>
                <a:ext cx="108000" cy="10800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7000"/>
                  </a:lnSpc>
                </a:pPr>
                <a:endParaRPr lang="en-US" sz="800" dirty="0">
                  <a:solidFill>
                    <a:schemeClr val="accent2"/>
                  </a:solidFill>
                </a:endParaRPr>
              </a:p>
            </p:txBody>
          </p:sp>
          <p:cxnSp>
            <p:nvCxnSpPr>
              <p:cNvPr id="74" name="Straight Connector 73">
                <a:extLst>
                  <a:ext uri="{FF2B5EF4-FFF2-40B4-BE49-F238E27FC236}">
                    <a16:creationId xmlns:a16="http://schemas.microsoft.com/office/drawing/2014/main" id="{74F26B5A-5552-4C5C-A1C7-16B1B14D72FD}"/>
                  </a:ext>
                </a:extLst>
              </p:cNvPr>
              <p:cNvCxnSpPr>
                <a:cxnSpLocks/>
                <a:stCxn id="73" idx="6"/>
              </p:cNvCxnSpPr>
              <p:nvPr/>
            </p:nvCxnSpPr>
            <p:spPr>
              <a:xfrm flipH="1">
                <a:off x="1924051" y="3301951"/>
                <a:ext cx="1108102" cy="1"/>
              </a:xfrm>
              <a:prstGeom prst="line">
                <a:avLst/>
              </a:prstGeom>
              <a:ln w="12700" cap="rnd">
                <a:solidFill>
                  <a:schemeClr val="tx1"/>
                </a:solidFill>
                <a:round/>
              </a:ln>
            </p:spPr>
            <p:style>
              <a:lnRef idx="1">
                <a:schemeClr val="accent1"/>
              </a:lnRef>
              <a:fillRef idx="0">
                <a:schemeClr val="accent1"/>
              </a:fillRef>
              <a:effectRef idx="0">
                <a:schemeClr val="accent1"/>
              </a:effectRef>
              <a:fontRef idx="minor">
                <a:schemeClr val="tx1"/>
              </a:fontRef>
            </p:style>
          </p:cxnSp>
        </p:grpSp>
        <p:sp>
          <p:nvSpPr>
            <p:cNvPr id="72" name="TextBox 71">
              <a:extLst>
                <a:ext uri="{FF2B5EF4-FFF2-40B4-BE49-F238E27FC236}">
                  <a16:creationId xmlns:a16="http://schemas.microsoft.com/office/drawing/2014/main" id="{AD2AC0AB-463C-478D-B987-3A42EC5CDEDB}"/>
                </a:ext>
              </a:extLst>
            </p:cNvPr>
            <p:cNvSpPr txBox="1"/>
            <p:nvPr/>
          </p:nvSpPr>
          <p:spPr>
            <a:xfrm>
              <a:off x="960560" y="3207838"/>
              <a:ext cx="1003407" cy="272698"/>
            </a:xfrm>
            <a:prstGeom prst="rect">
              <a:avLst/>
            </a:prstGeom>
            <a:noFill/>
          </p:spPr>
          <p:txBody>
            <a:bodyPr wrap="none" lIns="36000" tIns="18000" rIns="36000" bIns="18000" rtlCol="0">
              <a:spAutoFit/>
            </a:bodyPr>
            <a:lstStyle/>
            <a:p>
              <a:pPr>
                <a:lnSpc>
                  <a:spcPct val="96000"/>
                </a:lnSpc>
              </a:pPr>
              <a:r>
                <a:rPr lang="en-US" sz="800" b="1" spc="-20" dirty="0">
                  <a:solidFill>
                    <a:schemeClr val="accent2"/>
                  </a:solidFill>
                </a:rPr>
                <a:t>Blair, Nebraska</a:t>
              </a:r>
            </a:p>
            <a:p>
              <a:pPr indent="-90000">
                <a:lnSpc>
                  <a:spcPct val="96000"/>
                </a:lnSpc>
                <a:buFont typeface="Arial" panose="020B0604020202020204" pitchFamily="34" charset="0"/>
                <a:buChar char="–"/>
              </a:pPr>
              <a:r>
                <a:rPr lang="en-US" sz="800" spc="-20" dirty="0">
                  <a:solidFill>
                    <a:schemeClr val="accent2"/>
                  </a:solidFill>
                </a:rPr>
                <a:t>Enzyme production</a:t>
              </a:r>
            </a:p>
          </p:txBody>
        </p:sp>
      </p:grpSp>
      <p:sp>
        <p:nvSpPr>
          <p:cNvPr id="75" name="Oval 74">
            <a:extLst>
              <a:ext uri="{FF2B5EF4-FFF2-40B4-BE49-F238E27FC236}">
                <a16:creationId xmlns:a16="http://schemas.microsoft.com/office/drawing/2014/main" id="{58093BCE-3A38-4CBC-899B-EA1220D62F06}"/>
              </a:ext>
            </a:extLst>
          </p:cNvPr>
          <p:cNvSpPr>
            <a:spLocks/>
          </p:cNvSpPr>
          <p:nvPr/>
        </p:nvSpPr>
        <p:spPr>
          <a:xfrm rot="10800000" flipH="1" flipV="1">
            <a:off x="3495333" y="3454710"/>
            <a:ext cx="108000" cy="10800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7000"/>
              </a:lnSpc>
            </a:pPr>
            <a:endParaRPr lang="en-US" dirty="0">
              <a:solidFill>
                <a:schemeClr val="accent2"/>
              </a:solidFill>
            </a:endParaRPr>
          </a:p>
        </p:txBody>
      </p:sp>
      <p:sp>
        <p:nvSpPr>
          <p:cNvPr id="77" name="TextBox 76">
            <a:extLst>
              <a:ext uri="{FF2B5EF4-FFF2-40B4-BE49-F238E27FC236}">
                <a16:creationId xmlns:a16="http://schemas.microsoft.com/office/drawing/2014/main" id="{2D07FA12-2893-4A77-9094-E79EBED9B337}"/>
              </a:ext>
            </a:extLst>
          </p:cNvPr>
          <p:cNvSpPr txBox="1">
            <a:spLocks/>
          </p:cNvSpPr>
          <p:nvPr/>
        </p:nvSpPr>
        <p:spPr>
          <a:xfrm>
            <a:off x="10179185" y="3952858"/>
            <a:ext cx="1003407" cy="272698"/>
          </a:xfrm>
          <a:prstGeom prst="rect">
            <a:avLst/>
          </a:prstGeom>
          <a:noFill/>
        </p:spPr>
        <p:txBody>
          <a:bodyPr wrap="none" lIns="36000" tIns="18000" rIns="36000" bIns="18000" rtlCol="0">
            <a:spAutoFit/>
          </a:bodyPr>
          <a:lstStyle/>
          <a:p>
            <a:pPr>
              <a:lnSpc>
                <a:spcPct val="96000"/>
              </a:lnSpc>
            </a:pPr>
            <a:r>
              <a:rPr lang="en-US" sz="800" b="1" spc="-20" dirty="0">
                <a:solidFill>
                  <a:schemeClr val="accent2"/>
                </a:solidFill>
              </a:rPr>
              <a:t>Tianjin, China</a:t>
            </a:r>
          </a:p>
          <a:p>
            <a:pPr indent="-90000">
              <a:lnSpc>
                <a:spcPct val="96000"/>
              </a:lnSpc>
              <a:buFont typeface="Arial" panose="020B0604020202020204" pitchFamily="34" charset="0"/>
              <a:buChar char="–"/>
            </a:pPr>
            <a:r>
              <a:rPr lang="en-US" sz="800" spc="-20" dirty="0">
                <a:solidFill>
                  <a:schemeClr val="accent2"/>
                </a:solidFill>
              </a:rPr>
              <a:t>Enzyme production</a:t>
            </a:r>
          </a:p>
        </p:txBody>
      </p:sp>
      <p:sp>
        <p:nvSpPr>
          <p:cNvPr id="79" name="TextBox 78">
            <a:extLst>
              <a:ext uri="{FF2B5EF4-FFF2-40B4-BE49-F238E27FC236}">
                <a16:creationId xmlns:a16="http://schemas.microsoft.com/office/drawing/2014/main" id="{FA97DD5B-FB62-4221-8674-45C1DE608BFA}"/>
              </a:ext>
            </a:extLst>
          </p:cNvPr>
          <p:cNvSpPr txBox="1">
            <a:spLocks/>
          </p:cNvSpPr>
          <p:nvPr/>
        </p:nvSpPr>
        <p:spPr>
          <a:xfrm>
            <a:off x="10181816" y="4465523"/>
            <a:ext cx="1789837" cy="390872"/>
          </a:xfrm>
          <a:prstGeom prst="rect">
            <a:avLst/>
          </a:prstGeom>
          <a:noFill/>
        </p:spPr>
        <p:txBody>
          <a:bodyPr wrap="square" lIns="36000" tIns="18000" rIns="36000" bIns="18000" rtlCol="0">
            <a:spAutoFit/>
          </a:bodyPr>
          <a:lstStyle/>
          <a:p>
            <a:pPr>
              <a:lnSpc>
                <a:spcPct val="96000"/>
              </a:lnSpc>
            </a:pPr>
            <a:r>
              <a:rPr lang="en-US" sz="800" b="1" spc="-20" dirty="0">
                <a:solidFill>
                  <a:schemeClr val="accent2"/>
                </a:solidFill>
              </a:rPr>
              <a:t>Shenyang, China</a:t>
            </a:r>
          </a:p>
          <a:p>
            <a:pPr marL="90000" indent="-90000">
              <a:lnSpc>
                <a:spcPct val="96000"/>
              </a:lnSpc>
              <a:buFont typeface="Arial" panose="020B0604020202020204" pitchFamily="34" charset="0"/>
              <a:buChar char="–"/>
            </a:pPr>
            <a:r>
              <a:rPr lang="en-US" sz="800" spc="-20" dirty="0">
                <a:solidFill>
                  <a:schemeClr val="accent2"/>
                </a:solidFill>
              </a:rPr>
              <a:t>Microorganisms</a:t>
            </a:r>
            <a:br>
              <a:rPr lang="en-US" sz="800" spc="-20" dirty="0">
                <a:solidFill>
                  <a:schemeClr val="accent2"/>
                </a:solidFill>
              </a:rPr>
            </a:br>
            <a:r>
              <a:rPr lang="en-US" sz="800" spc="-20" dirty="0">
                <a:solidFill>
                  <a:schemeClr val="accent2"/>
                </a:solidFill>
              </a:rPr>
              <a:t>production</a:t>
            </a:r>
          </a:p>
        </p:txBody>
      </p:sp>
      <p:cxnSp>
        <p:nvCxnSpPr>
          <p:cNvPr id="80" name="Straight Connector 79">
            <a:extLst>
              <a:ext uri="{FF2B5EF4-FFF2-40B4-BE49-F238E27FC236}">
                <a16:creationId xmlns:a16="http://schemas.microsoft.com/office/drawing/2014/main" id="{22E9384E-2165-46B3-BDBF-F729E4814175}"/>
              </a:ext>
            </a:extLst>
          </p:cNvPr>
          <p:cNvCxnSpPr>
            <a:cxnSpLocks/>
          </p:cNvCxnSpPr>
          <p:nvPr/>
        </p:nvCxnSpPr>
        <p:spPr>
          <a:xfrm flipV="1">
            <a:off x="9244100" y="2946832"/>
            <a:ext cx="0" cy="392621"/>
          </a:xfrm>
          <a:prstGeom prst="line">
            <a:avLst/>
          </a:prstGeom>
          <a:ln w="12700" cap="rnd">
            <a:solidFill>
              <a:schemeClr val="tx1"/>
            </a:solidFill>
            <a:round/>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B53E4337-3C4A-47F8-81B8-58ACB1AA899B}"/>
              </a:ext>
            </a:extLst>
          </p:cNvPr>
          <p:cNvCxnSpPr>
            <a:cxnSpLocks/>
          </p:cNvCxnSpPr>
          <p:nvPr/>
        </p:nvCxnSpPr>
        <p:spPr>
          <a:xfrm>
            <a:off x="3517835" y="3508710"/>
            <a:ext cx="662177" cy="0"/>
          </a:xfrm>
          <a:prstGeom prst="line">
            <a:avLst/>
          </a:prstGeom>
          <a:ln w="9525" cap="rnd">
            <a:solidFill>
              <a:schemeClr val="tx1"/>
            </a:solidFill>
          </a:ln>
        </p:spPr>
        <p:style>
          <a:lnRef idx="1">
            <a:schemeClr val="accent1"/>
          </a:lnRef>
          <a:fillRef idx="0">
            <a:schemeClr val="accent1"/>
          </a:fillRef>
          <a:effectRef idx="0">
            <a:schemeClr val="accent1"/>
          </a:effectRef>
          <a:fontRef idx="minor">
            <a:schemeClr val="tx1"/>
          </a:fontRef>
        </p:style>
      </p:cxnSp>
      <p:grpSp>
        <p:nvGrpSpPr>
          <p:cNvPr id="62" name="Group 61">
            <a:extLst>
              <a:ext uri="{FF2B5EF4-FFF2-40B4-BE49-F238E27FC236}">
                <a16:creationId xmlns:a16="http://schemas.microsoft.com/office/drawing/2014/main" id="{7DBA27FE-97EA-48F5-BE08-A5A9CC1F10AD}"/>
              </a:ext>
            </a:extLst>
          </p:cNvPr>
          <p:cNvGrpSpPr>
            <a:grpSpLocks/>
          </p:cNvGrpSpPr>
          <p:nvPr/>
        </p:nvGrpSpPr>
        <p:grpSpPr>
          <a:xfrm>
            <a:off x="2006371" y="4037353"/>
            <a:ext cx="1003407" cy="1046489"/>
            <a:chOff x="2083330" y="4046530"/>
            <a:chExt cx="1003407" cy="1046489"/>
          </a:xfrm>
        </p:grpSpPr>
        <p:grpSp>
          <p:nvGrpSpPr>
            <p:cNvPr id="63" name="Group 62">
              <a:extLst>
                <a:ext uri="{FF2B5EF4-FFF2-40B4-BE49-F238E27FC236}">
                  <a16:creationId xmlns:a16="http://schemas.microsoft.com/office/drawing/2014/main" id="{3313A2A9-D819-44A9-8BBE-F83FE24F4E72}"/>
                </a:ext>
              </a:extLst>
            </p:cNvPr>
            <p:cNvGrpSpPr/>
            <p:nvPr/>
          </p:nvGrpSpPr>
          <p:grpSpPr>
            <a:xfrm>
              <a:off x="2946971" y="4046530"/>
              <a:ext cx="108000" cy="861227"/>
              <a:chOff x="2946971" y="4046530"/>
              <a:chExt cx="108000" cy="861227"/>
            </a:xfrm>
          </p:grpSpPr>
          <p:sp>
            <p:nvSpPr>
              <p:cNvPr id="76" name="Oval 75">
                <a:extLst>
                  <a:ext uri="{FF2B5EF4-FFF2-40B4-BE49-F238E27FC236}">
                    <a16:creationId xmlns:a16="http://schemas.microsoft.com/office/drawing/2014/main" id="{07A2E33D-BDFE-4E54-806A-13FC60BFEFD3}"/>
                  </a:ext>
                </a:extLst>
              </p:cNvPr>
              <p:cNvSpPr/>
              <p:nvPr/>
            </p:nvSpPr>
            <p:spPr>
              <a:xfrm rot="16200000" flipH="1">
                <a:off x="2946971" y="4046530"/>
                <a:ext cx="108000" cy="10800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7000"/>
                  </a:lnSpc>
                </a:pPr>
                <a:endParaRPr lang="en-US" sz="800" dirty="0">
                  <a:solidFill>
                    <a:schemeClr val="accent2"/>
                  </a:solidFill>
                </a:endParaRPr>
              </a:p>
            </p:txBody>
          </p:sp>
          <p:cxnSp>
            <p:nvCxnSpPr>
              <p:cNvPr id="81" name="Straight Connector 80">
                <a:extLst>
                  <a:ext uri="{FF2B5EF4-FFF2-40B4-BE49-F238E27FC236}">
                    <a16:creationId xmlns:a16="http://schemas.microsoft.com/office/drawing/2014/main" id="{A310B1FE-B1F9-4696-BD14-26EAC8CECA83}"/>
                  </a:ext>
                </a:extLst>
              </p:cNvPr>
              <p:cNvCxnSpPr>
                <a:cxnSpLocks/>
                <a:stCxn id="76" idx="6"/>
              </p:cNvCxnSpPr>
              <p:nvPr/>
            </p:nvCxnSpPr>
            <p:spPr>
              <a:xfrm>
                <a:off x="3000971" y="4154530"/>
                <a:ext cx="0" cy="753227"/>
              </a:xfrm>
              <a:prstGeom prst="line">
                <a:avLst/>
              </a:prstGeom>
              <a:ln w="12700" cap="rnd">
                <a:solidFill>
                  <a:schemeClr val="tx1"/>
                </a:solidFill>
                <a:round/>
              </a:ln>
            </p:spPr>
            <p:style>
              <a:lnRef idx="1">
                <a:schemeClr val="accent1"/>
              </a:lnRef>
              <a:fillRef idx="0">
                <a:schemeClr val="accent1"/>
              </a:fillRef>
              <a:effectRef idx="0">
                <a:schemeClr val="accent1"/>
              </a:effectRef>
              <a:fontRef idx="minor">
                <a:schemeClr val="tx1"/>
              </a:fontRef>
            </p:style>
          </p:cxnSp>
        </p:grpSp>
        <p:sp>
          <p:nvSpPr>
            <p:cNvPr id="69" name="TextBox 68">
              <a:extLst>
                <a:ext uri="{FF2B5EF4-FFF2-40B4-BE49-F238E27FC236}">
                  <a16:creationId xmlns:a16="http://schemas.microsoft.com/office/drawing/2014/main" id="{C0F5C670-7EBF-4FB6-8F91-1CCC9F522CE9}"/>
                </a:ext>
              </a:extLst>
            </p:cNvPr>
            <p:cNvSpPr txBox="1"/>
            <p:nvPr/>
          </p:nvSpPr>
          <p:spPr>
            <a:xfrm>
              <a:off x="2083330" y="4938494"/>
              <a:ext cx="1003407" cy="154525"/>
            </a:xfrm>
            <a:prstGeom prst="rect">
              <a:avLst/>
            </a:prstGeom>
            <a:noFill/>
          </p:spPr>
          <p:txBody>
            <a:bodyPr wrap="none" lIns="36000" tIns="18000" rIns="36000" bIns="18000" rtlCol="0">
              <a:spAutoFit/>
            </a:bodyPr>
            <a:lstStyle/>
            <a:p>
              <a:pPr>
                <a:lnSpc>
                  <a:spcPct val="96000"/>
                </a:lnSpc>
              </a:pPr>
              <a:r>
                <a:rPr lang="en-US" sz="800" b="1" spc="-20" dirty="0">
                  <a:solidFill>
                    <a:schemeClr val="accent2"/>
                  </a:solidFill>
                </a:rPr>
                <a:t>Mexico City, Mexico</a:t>
              </a:r>
            </a:p>
          </p:txBody>
        </p:sp>
      </p:grpSp>
      <p:grpSp>
        <p:nvGrpSpPr>
          <p:cNvPr id="82" name="Group 81">
            <a:extLst>
              <a:ext uri="{FF2B5EF4-FFF2-40B4-BE49-F238E27FC236}">
                <a16:creationId xmlns:a16="http://schemas.microsoft.com/office/drawing/2014/main" id="{466BEB46-6C1B-4E7A-A3F2-B961CBE5AE5E}"/>
              </a:ext>
            </a:extLst>
          </p:cNvPr>
          <p:cNvGrpSpPr>
            <a:grpSpLocks/>
          </p:cNvGrpSpPr>
          <p:nvPr/>
        </p:nvGrpSpPr>
        <p:grpSpPr>
          <a:xfrm>
            <a:off x="1648742" y="3439906"/>
            <a:ext cx="837015" cy="920567"/>
            <a:chOff x="1648742" y="3439906"/>
            <a:chExt cx="837015" cy="920567"/>
          </a:xfrm>
        </p:grpSpPr>
        <p:grpSp>
          <p:nvGrpSpPr>
            <p:cNvPr id="83" name="Group 82">
              <a:extLst>
                <a:ext uri="{FF2B5EF4-FFF2-40B4-BE49-F238E27FC236}">
                  <a16:creationId xmlns:a16="http://schemas.microsoft.com/office/drawing/2014/main" id="{13F8E018-2DB8-4062-9E70-10442D984610}"/>
                </a:ext>
              </a:extLst>
            </p:cNvPr>
            <p:cNvGrpSpPr/>
            <p:nvPr/>
          </p:nvGrpSpPr>
          <p:grpSpPr>
            <a:xfrm>
              <a:off x="2351064" y="3439906"/>
              <a:ext cx="108000" cy="617745"/>
              <a:chOff x="2351064" y="3439906"/>
              <a:chExt cx="108000" cy="617745"/>
            </a:xfrm>
          </p:grpSpPr>
          <p:sp>
            <p:nvSpPr>
              <p:cNvPr id="85" name="Oval 84">
                <a:extLst>
                  <a:ext uri="{FF2B5EF4-FFF2-40B4-BE49-F238E27FC236}">
                    <a16:creationId xmlns:a16="http://schemas.microsoft.com/office/drawing/2014/main" id="{9F50E6D6-436A-460B-A758-764483E7E625}"/>
                  </a:ext>
                </a:extLst>
              </p:cNvPr>
              <p:cNvSpPr/>
              <p:nvPr/>
            </p:nvSpPr>
            <p:spPr>
              <a:xfrm rot="16200000" flipH="1">
                <a:off x="2351064" y="3439906"/>
                <a:ext cx="108000" cy="10800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7000"/>
                  </a:lnSpc>
                </a:pPr>
                <a:endParaRPr lang="en-US" sz="800" dirty="0">
                  <a:solidFill>
                    <a:schemeClr val="accent2"/>
                  </a:solidFill>
                </a:endParaRPr>
              </a:p>
            </p:txBody>
          </p:sp>
          <p:cxnSp>
            <p:nvCxnSpPr>
              <p:cNvPr id="86" name="Straight Connector 85">
                <a:extLst>
                  <a:ext uri="{FF2B5EF4-FFF2-40B4-BE49-F238E27FC236}">
                    <a16:creationId xmlns:a16="http://schemas.microsoft.com/office/drawing/2014/main" id="{4C3F6162-7B4B-4585-8217-89BEE954B520}"/>
                  </a:ext>
                </a:extLst>
              </p:cNvPr>
              <p:cNvCxnSpPr>
                <a:cxnSpLocks/>
                <a:stCxn id="85" idx="6"/>
              </p:cNvCxnSpPr>
              <p:nvPr/>
            </p:nvCxnSpPr>
            <p:spPr>
              <a:xfrm>
                <a:off x="2405065" y="3547907"/>
                <a:ext cx="0" cy="509744"/>
              </a:xfrm>
              <a:prstGeom prst="line">
                <a:avLst/>
              </a:prstGeom>
              <a:ln w="12700" cap="rnd">
                <a:solidFill>
                  <a:schemeClr val="tx1"/>
                </a:solidFill>
                <a:round/>
              </a:ln>
            </p:spPr>
            <p:style>
              <a:lnRef idx="1">
                <a:schemeClr val="accent1"/>
              </a:lnRef>
              <a:fillRef idx="0">
                <a:schemeClr val="accent1"/>
              </a:fillRef>
              <a:effectRef idx="0">
                <a:schemeClr val="accent1"/>
              </a:effectRef>
              <a:fontRef idx="minor">
                <a:schemeClr val="tx1"/>
              </a:fontRef>
            </p:style>
          </p:cxnSp>
        </p:grpSp>
        <p:sp>
          <p:nvSpPr>
            <p:cNvPr id="84" name="TextBox 83">
              <a:extLst>
                <a:ext uri="{FF2B5EF4-FFF2-40B4-BE49-F238E27FC236}">
                  <a16:creationId xmlns:a16="http://schemas.microsoft.com/office/drawing/2014/main" id="{DD59ED5F-F9AA-4FC5-9F97-F7B4DE77C424}"/>
                </a:ext>
              </a:extLst>
            </p:cNvPr>
            <p:cNvSpPr txBox="1"/>
            <p:nvPr/>
          </p:nvSpPr>
          <p:spPr>
            <a:xfrm>
              <a:off x="1648742" y="4087775"/>
              <a:ext cx="837015" cy="272698"/>
            </a:xfrm>
            <a:prstGeom prst="rect">
              <a:avLst/>
            </a:prstGeom>
            <a:noFill/>
          </p:spPr>
          <p:txBody>
            <a:bodyPr wrap="none" lIns="36000" tIns="18000" rIns="36000" bIns="18000" rtlCol="0">
              <a:spAutoFit/>
            </a:bodyPr>
            <a:lstStyle/>
            <a:p>
              <a:pPr>
                <a:lnSpc>
                  <a:spcPct val="96000"/>
                </a:lnSpc>
              </a:pPr>
              <a:r>
                <a:rPr lang="en-US" sz="800" b="1" spc="-20" dirty="0">
                  <a:solidFill>
                    <a:schemeClr val="accent2"/>
                  </a:solidFill>
                </a:rPr>
                <a:t>Davis, California</a:t>
              </a:r>
            </a:p>
            <a:p>
              <a:pPr indent="-90000">
                <a:lnSpc>
                  <a:spcPct val="96000"/>
                </a:lnSpc>
                <a:buFont typeface="Arial" panose="020B0604020202020204" pitchFamily="34" charset="0"/>
                <a:buChar char="–"/>
              </a:pPr>
              <a:r>
                <a:rPr lang="en-US" sz="800" spc="-20" dirty="0">
                  <a:solidFill>
                    <a:schemeClr val="accent2"/>
                  </a:solidFill>
                </a:rPr>
                <a:t>R&amp;D</a:t>
              </a:r>
            </a:p>
          </p:txBody>
        </p:sp>
      </p:grpSp>
      <p:grpSp>
        <p:nvGrpSpPr>
          <p:cNvPr id="87" name="Group 86">
            <a:extLst>
              <a:ext uri="{FF2B5EF4-FFF2-40B4-BE49-F238E27FC236}">
                <a16:creationId xmlns:a16="http://schemas.microsoft.com/office/drawing/2014/main" id="{6FB0F7D3-6787-4587-AE39-6058072930D8}"/>
              </a:ext>
            </a:extLst>
          </p:cNvPr>
          <p:cNvGrpSpPr>
            <a:grpSpLocks/>
          </p:cNvGrpSpPr>
          <p:nvPr/>
        </p:nvGrpSpPr>
        <p:grpSpPr>
          <a:xfrm>
            <a:off x="4136767" y="2717817"/>
            <a:ext cx="2027174" cy="303151"/>
            <a:chOff x="4136767" y="2717817"/>
            <a:chExt cx="2027174" cy="303151"/>
          </a:xfrm>
        </p:grpSpPr>
        <p:grpSp>
          <p:nvGrpSpPr>
            <p:cNvPr id="88" name="Group 87">
              <a:extLst>
                <a:ext uri="{FF2B5EF4-FFF2-40B4-BE49-F238E27FC236}">
                  <a16:creationId xmlns:a16="http://schemas.microsoft.com/office/drawing/2014/main" id="{DFAF420C-F2B8-4C73-B2A5-2E5509C8FD2E}"/>
                </a:ext>
              </a:extLst>
            </p:cNvPr>
            <p:cNvGrpSpPr/>
            <p:nvPr/>
          </p:nvGrpSpPr>
          <p:grpSpPr>
            <a:xfrm>
              <a:off x="4562590" y="2912968"/>
              <a:ext cx="1601351" cy="108000"/>
              <a:chOff x="4562590" y="2912968"/>
              <a:chExt cx="1601351" cy="108000"/>
            </a:xfrm>
          </p:grpSpPr>
          <p:sp>
            <p:nvSpPr>
              <p:cNvPr id="90" name="Oval 89">
                <a:extLst>
                  <a:ext uri="{FF2B5EF4-FFF2-40B4-BE49-F238E27FC236}">
                    <a16:creationId xmlns:a16="http://schemas.microsoft.com/office/drawing/2014/main" id="{75DEA25C-C288-484B-8EFC-5FFC9D9F7798}"/>
                  </a:ext>
                </a:extLst>
              </p:cNvPr>
              <p:cNvSpPr/>
              <p:nvPr/>
            </p:nvSpPr>
            <p:spPr>
              <a:xfrm flipH="1">
                <a:off x="6055941" y="2912968"/>
                <a:ext cx="108000" cy="10800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7000"/>
                  </a:lnSpc>
                </a:pPr>
                <a:endParaRPr lang="en-US" sz="800" dirty="0">
                  <a:solidFill>
                    <a:schemeClr val="accent2"/>
                  </a:solidFill>
                </a:endParaRPr>
              </a:p>
            </p:txBody>
          </p:sp>
          <p:cxnSp>
            <p:nvCxnSpPr>
              <p:cNvPr id="91" name="Straight Connector 90">
                <a:extLst>
                  <a:ext uri="{FF2B5EF4-FFF2-40B4-BE49-F238E27FC236}">
                    <a16:creationId xmlns:a16="http://schemas.microsoft.com/office/drawing/2014/main" id="{6B0E4930-AEA9-4434-9795-7D787BB0BED4}"/>
                  </a:ext>
                </a:extLst>
              </p:cNvPr>
              <p:cNvCxnSpPr>
                <a:cxnSpLocks/>
                <a:stCxn id="90" idx="6"/>
              </p:cNvCxnSpPr>
              <p:nvPr/>
            </p:nvCxnSpPr>
            <p:spPr>
              <a:xfrm flipH="1">
                <a:off x="4562590" y="2966968"/>
                <a:ext cx="1493351" cy="0"/>
              </a:xfrm>
              <a:prstGeom prst="line">
                <a:avLst/>
              </a:prstGeom>
              <a:ln w="12700" cap="rnd">
                <a:solidFill>
                  <a:schemeClr val="tx1"/>
                </a:solidFill>
                <a:round/>
              </a:ln>
            </p:spPr>
            <p:style>
              <a:lnRef idx="1">
                <a:schemeClr val="accent1"/>
              </a:lnRef>
              <a:fillRef idx="0">
                <a:schemeClr val="accent1"/>
              </a:fillRef>
              <a:effectRef idx="0">
                <a:schemeClr val="accent1"/>
              </a:effectRef>
              <a:fontRef idx="minor">
                <a:schemeClr val="tx1"/>
              </a:fontRef>
            </p:style>
          </p:cxnSp>
        </p:grpSp>
        <p:sp>
          <p:nvSpPr>
            <p:cNvPr id="89" name="TextBox 88">
              <a:extLst>
                <a:ext uri="{FF2B5EF4-FFF2-40B4-BE49-F238E27FC236}">
                  <a16:creationId xmlns:a16="http://schemas.microsoft.com/office/drawing/2014/main" id="{E5D504BF-173A-475C-AAA6-EE1D4705CC7D}"/>
                </a:ext>
              </a:extLst>
            </p:cNvPr>
            <p:cNvSpPr txBox="1"/>
            <p:nvPr/>
          </p:nvSpPr>
          <p:spPr>
            <a:xfrm>
              <a:off x="4136767" y="2717817"/>
              <a:ext cx="830924" cy="272698"/>
            </a:xfrm>
            <a:prstGeom prst="rect">
              <a:avLst/>
            </a:prstGeom>
            <a:noFill/>
          </p:spPr>
          <p:txBody>
            <a:bodyPr wrap="none" lIns="36000" tIns="18000" rIns="36000" bIns="18000" rtlCol="0">
              <a:spAutoFit/>
            </a:bodyPr>
            <a:lstStyle/>
            <a:p>
              <a:pPr>
                <a:lnSpc>
                  <a:spcPct val="96000"/>
                </a:lnSpc>
              </a:pPr>
              <a:r>
                <a:rPr lang="en-US" sz="800" b="1" spc="-20" dirty="0">
                  <a:solidFill>
                    <a:schemeClr val="accent2"/>
                  </a:solidFill>
                </a:rPr>
                <a:t>Berlin, Germany</a:t>
              </a:r>
            </a:p>
            <a:p>
              <a:pPr indent="-90000">
                <a:lnSpc>
                  <a:spcPct val="96000"/>
                </a:lnSpc>
                <a:buFont typeface="Arial" panose="020B0604020202020204" pitchFamily="34" charset="0"/>
                <a:buChar char="–"/>
              </a:pPr>
              <a:r>
                <a:rPr lang="en-US" sz="800" spc="-20" dirty="0">
                  <a:solidFill>
                    <a:schemeClr val="accent2"/>
                  </a:solidFill>
                </a:rPr>
                <a:t>R&amp;D</a:t>
              </a:r>
            </a:p>
          </p:txBody>
        </p:sp>
      </p:grpSp>
      <p:grpSp>
        <p:nvGrpSpPr>
          <p:cNvPr id="92" name="Group 91">
            <a:extLst>
              <a:ext uri="{FF2B5EF4-FFF2-40B4-BE49-F238E27FC236}">
                <a16:creationId xmlns:a16="http://schemas.microsoft.com/office/drawing/2014/main" id="{4A7A54FA-7C66-48B9-9880-B3E9DCF181B5}"/>
              </a:ext>
            </a:extLst>
          </p:cNvPr>
          <p:cNvGrpSpPr>
            <a:grpSpLocks/>
          </p:cNvGrpSpPr>
          <p:nvPr/>
        </p:nvGrpSpPr>
        <p:grpSpPr>
          <a:xfrm>
            <a:off x="6788943" y="2750505"/>
            <a:ext cx="1245325" cy="154525"/>
            <a:chOff x="6788943" y="2750505"/>
            <a:chExt cx="1245325" cy="154525"/>
          </a:xfrm>
        </p:grpSpPr>
        <p:grpSp>
          <p:nvGrpSpPr>
            <p:cNvPr id="93" name="Group 92">
              <a:extLst>
                <a:ext uri="{FF2B5EF4-FFF2-40B4-BE49-F238E27FC236}">
                  <a16:creationId xmlns:a16="http://schemas.microsoft.com/office/drawing/2014/main" id="{2D86F23B-6C7B-40B7-B59F-6143B4F83F53}"/>
                </a:ext>
              </a:extLst>
            </p:cNvPr>
            <p:cNvGrpSpPr/>
            <p:nvPr/>
          </p:nvGrpSpPr>
          <p:grpSpPr>
            <a:xfrm>
              <a:off x="6788943" y="2779688"/>
              <a:ext cx="409576" cy="108000"/>
              <a:chOff x="6788943" y="2779688"/>
              <a:chExt cx="409576" cy="108000"/>
            </a:xfrm>
          </p:grpSpPr>
          <p:sp>
            <p:nvSpPr>
              <p:cNvPr id="95" name="Oval 94">
                <a:extLst>
                  <a:ext uri="{FF2B5EF4-FFF2-40B4-BE49-F238E27FC236}">
                    <a16:creationId xmlns:a16="http://schemas.microsoft.com/office/drawing/2014/main" id="{F560AC94-1988-486B-B76B-185324181164}"/>
                  </a:ext>
                </a:extLst>
              </p:cNvPr>
              <p:cNvSpPr/>
              <p:nvPr/>
            </p:nvSpPr>
            <p:spPr>
              <a:xfrm>
                <a:off x="6788943" y="2779688"/>
                <a:ext cx="108000" cy="10800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7000"/>
                  </a:lnSpc>
                </a:pPr>
                <a:endParaRPr lang="en-US" sz="800" dirty="0">
                  <a:solidFill>
                    <a:schemeClr val="accent2"/>
                  </a:solidFill>
                </a:endParaRPr>
              </a:p>
            </p:txBody>
          </p:sp>
          <p:cxnSp>
            <p:nvCxnSpPr>
              <p:cNvPr id="96" name="Straight Connector 95">
                <a:extLst>
                  <a:ext uri="{FF2B5EF4-FFF2-40B4-BE49-F238E27FC236}">
                    <a16:creationId xmlns:a16="http://schemas.microsoft.com/office/drawing/2014/main" id="{B0B9CB4F-ADBD-4D94-9DD9-BFDC5F2AA2E2}"/>
                  </a:ext>
                </a:extLst>
              </p:cNvPr>
              <p:cNvCxnSpPr>
                <a:stCxn id="95" idx="6"/>
              </p:cNvCxnSpPr>
              <p:nvPr/>
            </p:nvCxnSpPr>
            <p:spPr>
              <a:xfrm>
                <a:off x="6896943" y="2833688"/>
                <a:ext cx="301576" cy="0"/>
              </a:xfrm>
              <a:prstGeom prst="line">
                <a:avLst/>
              </a:prstGeom>
              <a:ln w="12700" cap="rnd">
                <a:solidFill>
                  <a:schemeClr val="tx1"/>
                </a:solidFill>
                <a:round/>
              </a:ln>
            </p:spPr>
            <p:style>
              <a:lnRef idx="1">
                <a:schemeClr val="accent1"/>
              </a:lnRef>
              <a:fillRef idx="0">
                <a:schemeClr val="accent1"/>
              </a:fillRef>
              <a:effectRef idx="0">
                <a:schemeClr val="accent1"/>
              </a:effectRef>
              <a:fontRef idx="minor">
                <a:schemeClr val="tx1"/>
              </a:fontRef>
            </p:style>
          </p:cxnSp>
        </p:grpSp>
        <p:sp>
          <p:nvSpPr>
            <p:cNvPr id="94" name="TextBox 93">
              <a:extLst>
                <a:ext uri="{FF2B5EF4-FFF2-40B4-BE49-F238E27FC236}">
                  <a16:creationId xmlns:a16="http://schemas.microsoft.com/office/drawing/2014/main" id="{D6A00C88-0ABA-4484-9588-1F5218B1786C}"/>
                </a:ext>
              </a:extLst>
            </p:cNvPr>
            <p:cNvSpPr txBox="1"/>
            <p:nvPr/>
          </p:nvSpPr>
          <p:spPr>
            <a:xfrm>
              <a:off x="7195971" y="2750505"/>
              <a:ext cx="838297" cy="154525"/>
            </a:xfrm>
            <a:prstGeom prst="rect">
              <a:avLst/>
            </a:prstGeom>
            <a:noFill/>
          </p:spPr>
          <p:txBody>
            <a:bodyPr wrap="none" lIns="36000" tIns="18000" rIns="36000" bIns="18000" rtlCol="0">
              <a:spAutoFit/>
            </a:bodyPr>
            <a:lstStyle/>
            <a:p>
              <a:pPr>
                <a:lnSpc>
                  <a:spcPct val="96000"/>
                </a:lnSpc>
              </a:pPr>
              <a:r>
                <a:rPr lang="en-US" sz="800" b="1" spc="-20" dirty="0">
                  <a:solidFill>
                    <a:schemeClr val="accent2"/>
                  </a:solidFill>
                </a:rPr>
                <a:t>Moscow, Russia</a:t>
              </a:r>
            </a:p>
          </p:txBody>
        </p:sp>
      </p:grpSp>
      <p:grpSp>
        <p:nvGrpSpPr>
          <p:cNvPr id="97" name="Group 96">
            <a:extLst>
              <a:ext uri="{FF2B5EF4-FFF2-40B4-BE49-F238E27FC236}">
                <a16:creationId xmlns:a16="http://schemas.microsoft.com/office/drawing/2014/main" id="{B9981CF0-9398-47D2-8CCA-5C2BB06C6321}"/>
              </a:ext>
            </a:extLst>
          </p:cNvPr>
          <p:cNvGrpSpPr>
            <a:grpSpLocks/>
          </p:cNvGrpSpPr>
          <p:nvPr/>
        </p:nvGrpSpPr>
        <p:grpSpPr>
          <a:xfrm>
            <a:off x="6560343" y="3344175"/>
            <a:ext cx="1231523" cy="272698"/>
            <a:chOff x="6560343" y="3344175"/>
            <a:chExt cx="1231523" cy="272698"/>
          </a:xfrm>
        </p:grpSpPr>
        <p:grpSp>
          <p:nvGrpSpPr>
            <p:cNvPr id="98" name="Group 97">
              <a:extLst>
                <a:ext uri="{FF2B5EF4-FFF2-40B4-BE49-F238E27FC236}">
                  <a16:creationId xmlns:a16="http://schemas.microsoft.com/office/drawing/2014/main" id="{8A8BEFB6-4602-4602-8EE6-02CB2D171019}"/>
                </a:ext>
              </a:extLst>
            </p:cNvPr>
            <p:cNvGrpSpPr/>
            <p:nvPr/>
          </p:nvGrpSpPr>
          <p:grpSpPr>
            <a:xfrm>
              <a:off x="6560343" y="3375000"/>
              <a:ext cx="409576" cy="108000"/>
              <a:chOff x="6560343" y="3375000"/>
              <a:chExt cx="409576" cy="108000"/>
            </a:xfrm>
          </p:grpSpPr>
          <p:sp>
            <p:nvSpPr>
              <p:cNvPr id="100" name="Oval 99">
                <a:extLst>
                  <a:ext uri="{FF2B5EF4-FFF2-40B4-BE49-F238E27FC236}">
                    <a16:creationId xmlns:a16="http://schemas.microsoft.com/office/drawing/2014/main" id="{CDF1E8AB-64A2-4970-AFD3-45D8F91FD6AC}"/>
                  </a:ext>
                </a:extLst>
              </p:cNvPr>
              <p:cNvSpPr/>
              <p:nvPr/>
            </p:nvSpPr>
            <p:spPr>
              <a:xfrm>
                <a:off x="6560343" y="3375000"/>
                <a:ext cx="108000" cy="10800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7000"/>
                  </a:lnSpc>
                </a:pPr>
                <a:endParaRPr lang="en-US" dirty="0">
                  <a:solidFill>
                    <a:schemeClr val="accent2"/>
                  </a:solidFill>
                </a:endParaRPr>
              </a:p>
            </p:txBody>
          </p:sp>
          <p:cxnSp>
            <p:nvCxnSpPr>
              <p:cNvPr id="101" name="Straight Connector 100">
                <a:extLst>
                  <a:ext uri="{FF2B5EF4-FFF2-40B4-BE49-F238E27FC236}">
                    <a16:creationId xmlns:a16="http://schemas.microsoft.com/office/drawing/2014/main" id="{DE8B1CBC-124B-4324-8F9A-29BD8689D1AC}"/>
                  </a:ext>
                </a:extLst>
              </p:cNvPr>
              <p:cNvCxnSpPr>
                <a:stCxn id="100" idx="6"/>
              </p:cNvCxnSpPr>
              <p:nvPr/>
            </p:nvCxnSpPr>
            <p:spPr>
              <a:xfrm>
                <a:off x="6668343" y="3429000"/>
                <a:ext cx="301576" cy="0"/>
              </a:xfrm>
              <a:prstGeom prst="line">
                <a:avLst/>
              </a:prstGeom>
              <a:ln w="12700" cap="rnd">
                <a:solidFill>
                  <a:schemeClr val="tx1"/>
                </a:solidFill>
                <a:round/>
              </a:ln>
            </p:spPr>
            <p:style>
              <a:lnRef idx="1">
                <a:schemeClr val="accent1"/>
              </a:lnRef>
              <a:fillRef idx="0">
                <a:schemeClr val="accent1"/>
              </a:fillRef>
              <a:effectRef idx="0">
                <a:schemeClr val="accent1"/>
              </a:effectRef>
              <a:fontRef idx="minor">
                <a:schemeClr val="tx1"/>
              </a:fontRef>
            </p:style>
          </p:cxnSp>
        </p:grpSp>
        <p:sp>
          <p:nvSpPr>
            <p:cNvPr id="99" name="TextBox 98">
              <a:extLst>
                <a:ext uri="{FF2B5EF4-FFF2-40B4-BE49-F238E27FC236}">
                  <a16:creationId xmlns:a16="http://schemas.microsoft.com/office/drawing/2014/main" id="{544CDDEA-104F-4B98-AEA4-5640DA584D82}"/>
                </a:ext>
              </a:extLst>
            </p:cNvPr>
            <p:cNvSpPr txBox="1"/>
            <p:nvPr/>
          </p:nvSpPr>
          <p:spPr>
            <a:xfrm>
              <a:off x="6969919" y="3344175"/>
              <a:ext cx="821947" cy="272698"/>
            </a:xfrm>
            <a:prstGeom prst="rect">
              <a:avLst/>
            </a:prstGeom>
            <a:noFill/>
          </p:spPr>
          <p:txBody>
            <a:bodyPr wrap="none" lIns="36000" tIns="18000" rIns="36000" bIns="18000" rtlCol="0">
              <a:spAutoFit/>
            </a:bodyPr>
            <a:lstStyle/>
            <a:p>
              <a:pPr>
                <a:lnSpc>
                  <a:spcPct val="96000"/>
                </a:lnSpc>
              </a:pPr>
              <a:r>
                <a:rPr lang="en-US" sz="800" b="1" spc="-20" dirty="0">
                  <a:solidFill>
                    <a:schemeClr val="accent2"/>
                  </a:solidFill>
                </a:rPr>
                <a:t>Istanbul, Turkey</a:t>
              </a:r>
            </a:p>
            <a:p>
              <a:pPr indent="-90000">
                <a:lnSpc>
                  <a:spcPct val="96000"/>
                </a:lnSpc>
                <a:buFont typeface="Arial" panose="020B0604020202020204" pitchFamily="34" charset="0"/>
                <a:buChar char="–"/>
              </a:pPr>
              <a:r>
                <a:rPr lang="en-US" sz="800" spc="-20" dirty="0">
                  <a:solidFill>
                    <a:schemeClr val="accent2"/>
                  </a:solidFill>
                </a:rPr>
                <a:t>R&amp;D office</a:t>
              </a:r>
            </a:p>
          </p:txBody>
        </p:sp>
      </p:grpSp>
      <p:grpSp>
        <p:nvGrpSpPr>
          <p:cNvPr id="102" name="Group 101">
            <a:extLst>
              <a:ext uri="{FF2B5EF4-FFF2-40B4-BE49-F238E27FC236}">
                <a16:creationId xmlns:a16="http://schemas.microsoft.com/office/drawing/2014/main" id="{1BAD3340-ABD6-49BF-ADF0-6521591CBB77}"/>
              </a:ext>
            </a:extLst>
          </p:cNvPr>
          <p:cNvGrpSpPr>
            <a:grpSpLocks/>
          </p:cNvGrpSpPr>
          <p:nvPr/>
        </p:nvGrpSpPr>
        <p:grpSpPr>
          <a:xfrm>
            <a:off x="7627144" y="3864042"/>
            <a:ext cx="1284076" cy="154525"/>
            <a:chOff x="7627144" y="3864042"/>
            <a:chExt cx="1284076" cy="154525"/>
          </a:xfrm>
        </p:grpSpPr>
        <p:grpSp>
          <p:nvGrpSpPr>
            <p:cNvPr id="103" name="Group 102">
              <a:extLst>
                <a:ext uri="{FF2B5EF4-FFF2-40B4-BE49-F238E27FC236}">
                  <a16:creationId xmlns:a16="http://schemas.microsoft.com/office/drawing/2014/main" id="{CDE47D81-FE1D-4A07-BA30-7FC25B075A52}"/>
                </a:ext>
              </a:extLst>
            </p:cNvPr>
            <p:cNvGrpSpPr/>
            <p:nvPr/>
          </p:nvGrpSpPr>
          <p:grpSpPr>
            <a:xfrm>
              <a:off x="7627144" y="3895679"/>
              <a:ext cx="409576" cy="108000"/>
              <a:chOff x="7627144" y="3895679"/>
              <a:chExt cx="409576" cy="108000"/>
            </a:xfrm>
          </p:grpSpPr>
          <p:sp>
            <p:nvSpPr>
              <p:cNvPr id="105" name="Oval 104">
                <a:extLst>
                  <a:ext uri="{FF2B5EF4-FFF2-40B4-BE49-F238E27FC236}">
                    <a16:creationId xmlns:a16="http://schemas.microsoft.com/office/drawing/2014/main" id="{3E5D02DE-826E-400F-9D0F-9F92FDD51FF2}"/>
                  </a:ext>
                </a:extLst>
              </p:cNvPr>
              <p:cNvSpPr/>
              <p:nvPr/>
            </p:nvSpPr>
            <p:spPr>
              <a:xfrm>
                <a:off x="7627144" y="3895679"/>
                <a:ext cx="108000" cy="10800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7000"/>
                  </a:lnSpc>
                </a:pPr>
                <a:endParaRPr lang="en-US" sz="800" dirty="0">
                  <a:solidFill>
                    <a:schemeClr val="accent2"/>
                  </a:solidFill>
                </a:endParaRPr>
              </a:p>
            </p:txBody>
          </p:sp>
          <p:cxnSp>
            <p:nvCxnSpPr>
              <p:cNvPr id="106" name="Straight Connector 105">
                <a:extLst>
                  <a:ext uri="{FF2B5EF4-FFF2-40B4-BE49-F238E27FC236}">
                    <a16:creationId xmlns:a16="http://schemas.microsoft.com/office/drawing/2014/main" id="{1AF74304-0228-402F-9E51-6780E8F24A6C}"/>
                  </a:ext>
                </a:extLst>
              </p:cNvPr>
              <p:cNvCxnSpPr>
                <a:stCxn id="105" idx="6"/>
              </p:cNvCxnSpPr>
              <p:nvPr/>
            </p:nvCxnSpPr>
            <p:spPr>
              <a:xfrm>
                <a:off x="7735144" y="3949679"/>
                <a:ext cx="301576" cy="0"/>
              </a:xfrm>
              <a:prstGeom prst="line">
                <a:avLst/>
              </a:prstGeom>
              <a:ln w="12700" cap="rnd">
                <a:solidFill>
                  <a:schemeClr val="tx1"/>
                </a:solidFill>
                <a:round/>
              </a:ln>
            </p:spPr>
            <p:style>
              <a:lnRef idx="1">
                <a:schemeClr val="accent1"/>
              </a:lnRef>
              <a:fillRef idx="0">
                <a:schemeClr val="accent1"/>
              </a:fillRef>
              <a:effectRef idx="0">
                <a:schemeClr val="accent1"/>
              </a:effectRef>
              <a:fontRef idx="minor">
                <a:schemeClr val="tx1"/>
              </a:fontRef>
            </p:style>
          </p:cxnSp>
        </p:grpSp>
        <p:sp>
          <p:nvSpPr>
            <p:cNvPr id="104" name="TextBox 103">
              <a:extLst>
                <a:ext uri="{FF2B5EF4-FFF2-40B4-BE49-F238E27FC236}">
                  <a16:creationId xmlns:a16="http://schemas.microsoft.com/office/drawing/2014/main" id="{44B0AE99-DB7A-47D8-B4C8-1221001E4FAB}"/>
                </a:ext>
              </a:extLst>
            </p:cNvPr>
            <p:cNvSpPr txBox="1"/>
            <p:nvPr/>
          </p:nvSpPr>
          <p:spPr>
            <a:xfrm>
              <a:off x="8021305" y="3864042"/>
              <a:ext cx="889915" cy="154525"/>
            </a:xfrm>
            <a:prstGeom prst="rect">
              <a:avLst/>
            </a:prstGeom>
            <a:noFill/>
          </p:spPr>
          <p:txBody>
            <a:bodyPr wrap="none" lIns="36000" tIns="18000" rIns="36000" bIns="18000" rtlCol="0">
              <a:spAutoFit/>
            </a:bodyPr>
            <a:lstStyle/>
            <a:p>
              <a:pPr>
                <a:lnSpc>
                  <a:spcPct val="96000"/>
                </a:lnSpc>
              </a:pPr>
              <a:r>
                <a:rPr lang="en-US" sz="800" b="1" spc="-20" dirty="0">
                  <a:solidFill>
                    <a:schemeClr val="accent2"/>
                  </a:solidFill>
                </a:rPr>
                <a:t>Karachi, Pakistan</a:t>
              </a:r>
            </a:p>
          </p:txBody>
        </p:sp>
      </p:grpSp>
      <p:grpSp>
        <p:nvGrpSpPr>
          <p:cNvPr id="107" name="Group 106">
            <a:extLst>
              <a:ext uri="{FF2B5EF4-FFF2-40B4-BE49-F238E27FC236}">
                <a16:creationId xmlns:a16="http://schemas.microsoft.com/office/drawing/2014/main" id="{11033C5F-9769-421C-BF5F-D76DFA9E5C0D}"/>
              </a:ext>
            </a:extLst>
          </p:cNvPr>
          <p:cNvGrpSpPr>
            <a:grpSpLocks/>
          </p:cNvGrpSpPr>
          <p:nvPr/>
        </p:nvGrpSpPr>
        <p:grpSpPr>
          <a:xfrm>
            <a:off x="8496764" y="4539227"/>
            <a:ext cx="1196088" cy="804701"/>
            <a:chOff x="8473970" y="4495780"/>
            <a:chExt cx="1196088" cy="804701"/>
          </a:xfrm>
        </p:grpSpPr>
        <p:grpSp>
          <p:nvGrpSpPr>
            <p:cNvPr id="108" name="Group 107">
              <a:extLst>
                <a:ext uri="{FF2B5EF4-FFF2-40B4-BE49-F238E27FC236}">
                  <a16:creationId xmlns:a16="http://schemas.microsoft.com/office/drawing/2014/main" id="{8ECBF341-3D2A-4AD6-80AD-0877401CBAA2}"/>
                </a:ext>
              </a:extLst>
            </p:cNvPr>
            <p:cNvGrpSpPr/>
            <p:nvPr/>
          </p:nvGrpSpPr>
          <p:grpSpPr>
            <a:xfrm>
              <a:off x="8534771" y="4495780"/>
              <a:ext cx="108000" cy="502465"/>
              <a:chOff x="8534771" y="4495780"/>
              <a:chExt cx="108000" cy="502465"/>
            </a:xfrm>
          </p:grpSpPr>
          <p:sp>
            <p:nvSpPr>
              <p:cNvPr id="110" name="Oval 109">
                <a:extLst>
                  <a:ext uri="{FF2B5EF4-FFF2-40B4-BE49-F238E27FC236}">
                    <a16:creationId xmlns:a16="http://schemas.microsoft.com/office/drawing/2014/main" id="{7C4F3846-4260-45CC-A835-5CCD61F69D09}"/>
                  </a:ext>
                </a:extLst>
              </p:cNvPr>
              <p:cNvSpPr/>
              <p:nvPr/>
            </p:nvSpPr>
            <p:spPr>
              <a:xfrm rot="5400000">
                <a:off x="8534771" y="4495780"/>
                <a:ext cx="108000" cy="10800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7000"/>
                  </a:lnSpc>
                </a:pPr>
                <a:endParaRPr lang="en-US" sz="800" dirty="0">
                  <a:solidFill>
                    <a:schemeClr val="accent2"/>
                  </a:solidFill>
                </a:endParaRPr>
              </a:p>
            </p:txBody>
          </p:sp>
          <p:cxnSp>
            <p:nvCxnSpPr>
              <p:cNvPr id="111" name="Straight Connector 110">
                <a:extLst>
                  <a:ext uri="{FF2B5EF4-FFF2-40B4-BE49-F238E27FC236}">
                    <a16:creationId xmlns:a16="http://schemas.microsoft.com/office/drawing/2014/main" id="{C015C6F7-E068-455A-A4AF-38BA8B092C53}"/>
                  </a:ext>
                </a:extLst>
              </p:cNvPr>
              <p:cNvCxnSpPr>
                <a:cxnSpLocks/>
                <a:stCxn id="110" idx="6"/>
              </p:cNvCxnSpPr>
              <p:nvPr/>
            </p:nvCxnSpPr>
            <p:spPr>
              <a:xfrm>
                <a:off x="8588770" y="4603780"/>
                <a:ext cx="0" cy="394465"/>
              </a:xfrm>
              <a:prstGeom prst="line">
                <a:avLst/>
              </a:prstGeom>
              <a:ln w="12700" cap="rnd">
                <a:solidFill>
                  <a:schemeClr val="tx1"/>
                </a:solidFill>
                <a:round/>
              </a:ln>
            </p:spPr>
            <p:style>
              <a:lnRef idx="1">
                <a:schemeClr val="accent1"/>
              </a:lnRef>
              <a:fillRef idx="0">
                <a:schemeClr val="accent1"/>
              </a:fillRef>
              <a:effectRef idx="0">
                <a:schemeClr val="accent1"/>
              </a:effectRef>
              <a:fontRef idx="minor">
                <a:schemeClr val="tx1"/>
              </a:fontRef>
            </p:style>
          </p:cxnSp>
        </p:grpSp>
        <p:sp>
          <p:nvSpPr>
            <p:cNvPr id="109" name="TextBox 108">
              <a:extLst>
                <a:ext uri="{FF2B5EF4-FFF2-40B4-BE49-F238E27FC236}">
                  <a16:creationId xmlns:a16="http://schemas.microsoft.com/office/drawing/2014/main" id="{50CFE2F7-08B1-4F22-9F29-C122613762E5}"/>
                </a:ext>
              </a:extLst>
            </p:cNvPr>
            <p:cNvSpPr txBox="1"/>
            <p:nvPr/>
          </p:nvSpPr>
          <p:spPr>
            <a:xfrm>
              <a:off x="8473970" y="5027783"/>
              <a:ext cx="1196088" cy="272698"/>
            </a:xfrm>
            <a:prstGeom prst="rect">
              <a:avLst/>
            </a:prstGeom>
            <a:noFill/>
          </p:spPr>
          <p:txBody>
            <a:bodyPr wrap="none" lIns="36000" tIns="18000" rIns="36000" bIns="18000" rtlCol="0">
              <a:spAutoFit/>
            </a:bodyPr>
            <a:lstStyle/>
            <a:p>
              <a:pPr>
                <a:lnSpc>
                  <a:spcPct val="96000"/>
                </a:lnSpc>
              </a:pPr>
              <a:r>
                <a:rPr lang="en-US" sz="800" b="1" spc="-20" dirty="0">
                  <a:solidFill>
                    <a:schemeClr val="accent2"/>
                  </a:solidFill>
                </a:rPr>
                <a:t>Kuala Lumpur, Malaysia</a:t>
              </a:r>
            </a:p>
            <a:p>
              <a:pPr indent="-90000">
                <a:lnSpc>
                  <a:spcPct val="96000"/>
                </a:lnSpc>
                <a:buFont typeface="Arial" panose="020B0604020202020204" pitchFamily="34" charset="0"/>
                <a:buChar char="–"/>
              </a:pPr>
              <a:r>
                <a:rPr lang="en-US" sz="800" spc="-20" dirty="0">
                  <a:solidFill>
                    <a:schemeClr val="accent2"/>
                  </a:solidFill>
                </a:rPr>
                <a:t>R&amp;D office</a:t>
              </a:r>
            </a:p>
          </p:txBody>
        </p:sp>
      </p:grpSp>
      <p:grpSp>
        <p:nvGrpSpPr>
          <p:cNvPr id="112" name="Group 111">
            <a:extLst>
              <a:ext uri="{FF2B5EF4-FFF2-40B4-BE49-F238E27FC236}">
                <a16:creationId xmlns:a16="http://schemas.microsoft.com/office/drawing/2014/main" id="{6D49945E-8FB6-4E67-A59D-C38BE8BB40BC}"/>
              </a:ext>
            </a:extLst>
          </p:cNvPr>
          <p:cNvGrpSpPr>
            <a:grpSpLocks/>
          </p:cNvGrpSpPr>
          <p:nvPr/>
        </p:nvGrpSpPr>
        <p:grpSpPr>
          <a:xfrm>
            <a:off x="7586480" y="4090121"/>
            <a:ext cx="1003407" cy="982675"/>
            <a:chOff x="7523595" y="4118393"/>
            <a:chExt cx="1003407" cy="982675"/>
          </a:xfrm>
        </p:grpSpPr>
        <p:grpSp>
          <p:nvGrpSpPr>
            <p:cNvPr id="113" name="Group 112">
              <a:extLst>
                <a:ext uri="{FF2B5EF4-FFF2-40B4-BE49-F238E27FC236}">
                  <a16:creationId xmlns:a16="http://schemas.microsoft.com/office/drawing/2014/main" id="{1E9DAB14-DDFB-47AE-B66F-DEF09E24B931}"/>
                </a:ext>
              </a:extLst>
            </p:cNvPr>
            <p:cNvGrpSpPr/>
            <p:nvPr/>
          </p:nvGrpSpPr>
          <p:grpSpPr>
            <a:xfrm rot="10800000">
              <a:off x="7919177" y="4118393"/>
              <a:ext cx="108000" cy="563869"/>
              <a:chOff x="7899377" y="3662524"/>
              <a:chExt cx="108000" cy="563869"/>
            </a:xfrm>
          </p:grpSpPr>
          <p:sp>
            <p:nvSpPr>
              <p:cNvPr id="115" name="Oval 114">
                <a:extLst>
                  <a:ext uri="{FF2B5EF4-FFF2-40B4-BE49-F238E27FC236}">
                    <a16:creationId xmlns:a16="http://schemas.microsoft.com/office/drawing/2014/main" id="{3949B749-8779-4AEC-A23F-0F42530D902B}"/>
                  </a:ext>
                </a:extLst>
              </p:cNvPr>
              <p:cNvSpPr/>
              <p:nvPr/>
            </p:nvSpPr>
            <p:spPr>
              <a:xfrm flipH="1">
                <a:off x="7899377" y="4118393"/>
                <a:ext cx="108000" cy="10800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7000"/>
                  </a:lnSpc>
                </a:pPr>
                <a:endParaRPr lang="en-US" sz="800" dirty="0">
                  <a:solidFill>
                    <a:schemeClr val="accent2"/>
                  </a:solidFill>
                </a:endParaRPr>
              </a:p>
            </p:txBody>
          </p:sp>
          <p:cxnSp>
            <p:nvCxnSpPr>
              <p:cNvPr id="116" name="Straight Connector 115">
                <a:extLst>
                  <a:ext uri="{FF2B5EF4-FFF2-40B4-BE49-F238E27FC236}">
                    <a16:creationId xmlns:a16="http://schemas.microsoft.com/office/drawing/2014/main" id="{79122784-CB50-43AA-B5A4-8662262A03E9}"/>
                  </a:ext>
                </a:extLst>
              </p:cNvPr>
              <p:cNvCxnSpPr>
                <a:cxnSpLocks/>
              </p:cNvCxnSpPr>
              <p:nvPr/>
            </p:nvCxnSpPr>
            <p:spPr>
              <a:xfrm rot="10800000" flipH="1">
                <a:off x="7951244" y="3662524"/>
                <a:ext cx="10847" cy="509869"/>
              </a:xfrm>
              <a:prstGeom prst="line">
                <a:avLst/>
              </a:prstGeom>
              <a:ln w="12700" cap="rnd">
                <a:solidFill>
                  <a:schemeClr val="tx1"/>
                </a:solidFill>
                <a:round/>
              </a:ln>
            </p:spPr>
            <p:style>
              <a:lnRef idx="1">
                <a:schemeClr val="accent1"/>
              </a:lnRef>
              <a:fillRef idx="0">
                <a:schemeClr val="accent1"/>
              </a:fillRef>
              <a:effectRef idx="0">
                <a:schemeClr val="accent1"/>
              </a:effectRef>
              <a:fontRef idx="minor">
                <a:schemeClr val="tx1"/>
              </a:fontRef>
            </p:style>
          </p:cxnSp>
        </p:grpSp>
        <p:sp>
          <p:nvSpPr>
            <p:cNvPr id="114" name="TextBox 113">
              <a:extLst>
                <a:ext uri="{FF2B5EF4-FFF2-40B4-BE49-F238E27FC236}">
                  <a16:creationId xmlns:a16="http://schemas.microsoft.com/office/drawing/2014/main" id="{4E65DE51-BA02-4457-9E00-AA443777F747}"/>
                </a:ext>
              </a:extLst>
            </p:cNvPr>
            <p:cNvSpPr txBox="1"/>
            <p:nvPr/>
          </p:nvSpPr>
          <p:spPr>
            <a:xfrm>
              <a:off x="7523595" y="4710196"/>
              <a:ext cx="1003407" cy="390872"/>
            </a:xfrm>
            <a:prstGeom prst="rect">
              <a:avLst/>
            </a:prstGeom>
            <a:noFill/>
          </p:spPr>
          <p:txBody>
            <a:bodyPr wrap="none" lIns="36000" tIns="18000" rIns="36000" bIns="18000" rtlCol="0">
              <a:spAutoFit/>
            </a:bodyPr>
            <a:lstStyle/>
            <a:p>
              <a:pPr>
                <a:lnSpc>
                  <a:spcPct val="96000"/>
                </a:lnSpc>
              </a:pPr>
              <a:r>
                <a:rPr lang="en-US" sz="800" b="1" spc="-20" dirty="0">
                  <a:solidFill>
                    <a:schemeClr val="accent2"/>
                  </a:solidFill>
                </a:rPr>
                <a:t>Bangalore, India</a:t>
              </a:r>
            </a:p>
            <a:p>
              <a:pPr indent="-90000">
                <a:lnSpc>
                  <a:spcPct val="96000"/>
                </a:lnSpc>
                <a:buFont typeface="Arial" panose="020B0604020202020204" pitchFamily="34" charset="0"/>
                <a:buChar char="–"/>
              </a:pPr>
              <a:r>
                <a:rPr lang="en-US" sz="800" spc="-20" dirty="0">
                  <a:solidFill>
                    <a:schemeClr val="accent2"/>
                  </a:solidFill>
                </a:rPr>
                <a:t>Enzyme production</a:t>
              </a:r>
            </a:p>
            <a:p>
              <a:pPr indent="-90000">
                <a:lnSpc>
                  <a:spcPct val="96000"/>
                </a:lnSpc>
                <a:buFont typeface="Arial" panose="020B0604020202020204" pitchFamily="34" charset="0"/>
                <a:buChar char="–"/>
              </a:pPr>
              <a:r>
                <a:rPr lang="en-US" sz="800" spc="-20" dirty="0">
                  <a:solidFill>
                    <a:schemeClr val="accent2"/>
                  </a:solidFill>
                </a:rPr>
                <a:t>R&amp;D office</a:t>
              </a:r>
            </a:p>
          </p:txBody>
        </p:sp>
      </p:grpSp>
      <p:grpSp>
        <p:nvGrpSpPr>
          <p:cNvPr id="117" name="Group 116">
            <a:extLst>
              <a:ext uri="{FF2B5EF4-FFF2-40B4-BE49-F238E27FC236}">
                <a16:creationId xmlns:a16="http://schemas.microsoft.com/office/drawing/2014/main" id="{4582440E-C9BD-4565-81D7-E1E5F0A3CDB4}"/>
              </a:ext>
            </a:extLst>
          </p:cNvPr>
          <p:cNvGrpSpPr>
            <a:grpSpLocks/>
          </p:cNvGrpSpPr>
          <p:nvPr/>
        </p:nvGrpSpPr>
        <p:grpSpPr>
          <a:xfrm>
            <a:off x="9574614" y="3389004"/>
            <a:ext cx="1566944" cy="272698"/>
            <a:chOff x="8749848" y="3260520"/>
            <a:chExt cx="1299713" cy="272698"/>
          </a:xfrm>
        </p:grpSpPr>
        <p:grpSp>
          <p:nvGrpSpPr>
            <p:cNvPr id="118" name="Group 117">
              <a:extLst>
                <a:ext uri="{FF2B5EF4-FFF2-40B4-BE49-F238E27FC236}">
                  <a16:creationId xmlns:a16="http://schemas.microsoft.com/office/drawing/2014/main" id="{F8C10834-3856-4514-B29C-04D1392928C7}"/>
                </a:ext>
              </a:extLst>
            </p:cNvPr>
            <p:cNvGrpSpPr/>
            <p:nvPr/>
          </p:nvGrpSpPr>
          <p:grpSpPr>
            <a:xfrm>
              <a:off x="8749848" y="3362132"/>
              <a:ext cx="693915" cy="107999"/>
              <a:chOff x="8749848" y="3362132"/>
              <a:chExt cx="693915" cy="107999"/>
            </a:xfrm>
          </p:grpSpPr>
          <p:sp>
            <p:nvSpPr>
              <p:cNvPr id="120" name="Oval 119">
                <a:extLst>
                  <a:ext uri="{FF2B5EF4-FFF2-40B4-BE49-F238E27FC236}">
                    <a16:creationId xmlns:a16="http://schemas.microsoft.com/office/drawing/2014/main" id="{DB51125B-17DC-4A71-9103-DA7B9316AE2B}"/>
                  </a:ext>
                </a:extLst>
              </p:cNvPr>
              <p:cNvSpPr/>
              <p:nvPr/>
            </p:nvSpPr>
            <p:spPr>
              <a:xfrm rot="16200000">
                <a:off x="8739423" y="3372557"/>
                <a:ext cx="107999" cy="8714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7000"/>
                  </a:lnSpc>
                </a:pPr>
                <a:endParaRPr lang="en-US" sz="800" dirty="0">
                  <a:solidFill>
                    <a:schemeClr val="accent2"/>
                  </a:solidFill>
                </a:endParaRPr>
              </a:p>
            </p:txBody>
          </p:sp>
          <p:cxnSp>
            <p:nvCxnSpPr>
              <p:cNvPr id="121" name="Straight Connector 120">
                <a:extLst>
                  <a:ext uri="{FF2B5EF4-FFF2-40B4-BE49-F238E27FC236}">
                    <a16:creationId xmlns:a16="http://schemas.microsoft.com/office/drawing/2014/main" id="{7DF3AADF-1E0C-4E08-9E29-D0504C444368}"/>
                  </a:ext>
                </a:extLst>
              </p:cNvPr>
              <p:cNvCxnSpPr>
                <a:cxnSpLocks/>
              </p:cNvCxnSpPr>
              <p:nvPr/>
            </p:nvCxnSpPr>
            <p:spPr>
              <a:xfrm flipV="1">
                <a:off x="8799865" y="3412257"/>
                <a:ext cx="643898" cy="6951"/>
              </a:xfrm>
              <a:prstGeom prst="line">
                <a:avLst/>
              </a:prstGeom>
              <a:ln w="12700" cap="rnd">
                <a:solidFill>
                  <a:schemeClr val="tx1"/>
                </a:solidFill>
                <a:round/>
              </a:ln>
            </p:spPr>
            <p:style>
              <a:lnRef idx="1">
                <a:schemeClr val="accent1"/>
              </a:lnRef>
              <a:fillRef idx="0">
                <a:schemeClr val="accent1"/>
              </a:fillRef>
              <a:effectRef idx="0">
                <a:schemeClr val="accent1"/>
              </a:effectRef>
              <a:fontRef idx="minor">
                <a:schemeClr val="tx1"/>
              </a:fontRef>
            </p:style>
          </p:cxnSp>
        </p:grpSp>
        <p:sp>
          <p:nvSpPr>
            <p:cNvPr id="119" name="TextBox 118">
              <a:extLst>
                <a:ext uri="{FF2B5EF4-FFF2-40B4-BE49-F238E27FC236}">
                  <a16:creationId xmlns:a16="http://schemas.microsoft.com/office/drawing/2014/main" id="{40E1C8F3-B1AC-4D9F-AD4F-FEB14917CCD0}"/>
                </a:ext>
              </a:extLst>
            </p:cNvPr>
            <p:cNvSpPr txBox="1"/>
            <p:nvPr/>
          </p:nvSpPr>
          <p:spPr>
            <a:xfrm>
              <a:off x="9468310" y="3260520"/>
              <a:ext cx="581251" cy="272698"/>
            </a:xfrm>
            <a:prstGeom prst="rect">
              <a:avLst/>
            </a:prstGeom>
            <a:noFill/>
          </p:spPr>
          <p:txBody>
            <a:bodyPr wrap="none" lIns="36000" tIns="18000" rIns="36000" bIns="18000" rtlCol="0">
              <a:spAutoFit/>
            </a:bodyPr>
            <a:lstStyle/>
            <a:p>
              <a:pPr>
                <a:lnSpc>
                  <a:spcPct val="96000"/>
                </a:lnSpc>
              </a:pPr>
              <a:r>
                <a:rPr lang="en-US" sz="800" b="1" spc="-20" dirty="0">
                  <a:solidFill>
                    <a:schemeClr val="accent2"/>
                  </a:solidFill>
                </a:rPr>
                <a:t>Tokyo, Japan</a:t>
              </a:r>
            </a:p>
            <a:p>
              <a:pPr indent="-90000">
                <a:lnSpc>
                  <a:spcPct val="96000"/>
                </a:lnSpc>
                <a:buFont typeface="Arial" panose="020B0604020202020204" pitchFamily="34" charset="0"/>
                <a:buChar char="–"/>
              </a:pPr>
              <a:r>
                <a:rPr lang="en-US" sz="800" spc="-20" dirty="0">
                  <a:solidFill>
                    <a:schemeClr val="accent2"/>
                  </a:solidFill>
                </a:rPr>
                <a:t>R&amp;D</a:t>
              </a:r>
            </a:p>
          </p:txBody>
        </p:sp>
      </p:grpSp>
      <p:sp>
        <p:nvSpPr>
          <p:cNvPr id="123" name="Oval 122">
            <a:extLst>
              <a:ext uri="{FF2B5EF4-FFF2-40B4-BE49-F238E27FC236}">
                <a16:creationId xmlns:a16="http://schemas.microsoft.com/office/drawing/2014/main" id="{6B36B4D2-F004-4064-B502-D2B69E276EDD}"/>
              </a:ext>
            </a:extLst>
          </p:cNvPr>
          <p:cNvSpPr>
            <a:spLocks/>
          </p:cNvSpPr>
          <p:nvPr/>
        </p:nvSpPr>
        <p:spPr>
          <a:xfrm>
            <a:off x="9032900" y="3535597"/>
            <a:ext cx="108000" cy="10800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7000"/>
              </a:lnSpc>
            </a:pPr>
            <a:endParaRPr lang="en-US" dirty="0">
              <a:solidFill>
                <a:schemeClr val="accent2"/>
              </a:solidFill>
            </a:endParaRPr>
          </a:p>
        </p:txBody>
      </p:sp>
      <p:sp>
        <p:nvSpPr>
          <p:cNvPr id="128" name="TextBox 127">
            <a:extLst>
              <a:ext uri="{FF2B5EF4-FFF2-40B4-BE49-F238E27FC236}">
                <a16:creationId xmlns:a16="http://schemas.microsoft.com/office/drawing/2014/main" id="{D7AEE1AD-1764-4717-860B-D42483F87A8A}"/>
              </a:ext>
            </a:extLst>
          </p:cNvPr>
          <p:cNvSpPr txBox="1">
            <a:spLocks/>
          </p:cNvSpPr>
          <p:nvPr/>
        </p:nvSpPr>
        <p:spPr>
          <a:xfrm>
            <a:off x="10194891" y="3718900"/>
            <a:ext cx="722881" cy="272698"/>
          </a:xfrm>
          <a:prstGeom prst="rect">
            <a:avLst/>
          </a:prstGeom>
          <a:noFill/>
        </p:spPr>
        <p:txBody>
          <a:bodyPr wrap="none" lIns="36000" tIns="18000" rIns="36000" bIns="18000" rtlCol="0">
            <a:spAutoFit/>
          </a:bodyPr>
          <a:lstStyle/>
          <a:p>
            <a:pPr>
              <a:lnSpc>
                <a:spcPct val="96000"/>
              </a:lnSpc>
            </a:pPr>
            <a:r>
              <a:rPr lang="en-US" sz="800" b="1" spc="-20" dirty="0">
                <a:solidFill>
                  <a:schemeClr val="accent2"/>
                </a:solidFill>
              </a:rPr>
              <a:t>Beijing, China</a:t>
            </a:r>
          </a:p>
          <a:p>
            <a:pPr indent="-90000">
              <a:lnSpc>
                <a:spcPct val="96000"/>
              </a:lnSpc>
              <a:buFont typeface="Arial" panose="020B0604020202020204" pitchFamily="34" charset="0"/>
              <a:buChar char="–"/>
            </a:pPr>
            <a:r>
              <a:rPr lang="en-US" sz="800" spc="-20" dirty="0">
                <a:solidFill>
                  <a:schemeClr val="accent2"/>
                </a:solidFill>
              </a:rPr>
              <a:t>R&amp;D</a:t>
            </a:r>
          </a:p>
        </p:txBody>
      </p:sp>
      <p:grpSp>
        <p:nvGrpSpPr>
          <p:cNvPr id="129" name="Group 128">
            <a:extLst>
              <a:ext uri="{FF2B5EF4-FFF2-40B4-BE49-F238E27FC236}">
                <a16:creationId xmlns:a16="http://schemas.microsoft.com/office/drawing/2014/main" id="{71DA0773-43C6-4D03-BAB1-2843F5B0E8FB}"/>
              </a:ext>
            </a:extLst>
          </p:cNvPr>
          <p:cNvGrpSpPr>
            <a:grpSpLocks/>
          </p:cNvGrpSpPr>
          <p:nvPr/>
        </p:nvGrpSpPr>
        <p:grpSpPr>
          <a:xfrm>
            <a:off x="9882619" y="5608324"/>
            <a:ext cx="1129385" cy="154525"/>
            <a:chOff x="9882619" y="5608324"/>
            <a:chExt cx="1129385" cy="154525"/>
          </a:xfrm>
        </p:grpSpPr>
        <p:grpSp>
          <p:nvGrpSpPr>
            <p:cNvPr id="130" name="Group 129">
              <a:extLst>
                <a:ext uri="{FF2B5EF4-FFF2-40B4-BE49-F238E27FC236}">
                  <a16:creationId xmlns:a16="http://schemas.microsoft.com/office/drawing/2014/main" id="{8D5B9350-0168-453A-B271-74C747459811}"/>
                </a:ext>
              </a:extLst>
            </p:cNvPr>
            <p:cNvGrpSpPr/>
            <p:nvPr/>
          </p:nvGrpSpPr>
          <p:grpSpPr>
            <a:xfrm>
              <a:off x="9882619" y="5645513"/>
              <a:ext cx="218647" cy="108000"/>
              <a:chOff x="9882619" y="5645513"/>
              <a:chExt cx="218647" cy="108000"/>
            </a:xfrm>
          </p:grpSpPr>
          <p:sp>
            <p:nvSpPr>
              <p:cNvPr id="132" name="Oval 131">
                <a:extLst>
                  <a:ext uri="{FF2B5EF4-FFF2-40B4-BE49-F238E27FC236}">
                    <a16:creationId xmlns:a16="http://schemas.microsoft.com/office/drawing/2014/main" id="{E1C44467-6E4B-4BCD-9F87-8A6B806DC17B}"/>
                  </a:ext>
                </a:extLst>
              </p:cNvPr>
              <p:cNvSpPr/>
              <p:nvPr/>
            </p:nvSpPr>
            <p:spPr>
              <a:xfrm>
                <a:off x="9882619" y="5645513"/>
                <a:ext cx="108000" cy="10800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7000"/>
                  </a:lnSpc>
                </a:pPr>
                <a:endParaRPr lang="en-US" sz="800" dirty="0">
                  <a:solidFill>
                    <a:schemeClr val="accent2"/>
                  </a:solidFill>
                </a:endParaRPr>
              </a:p>
            </p:txBody>
          </p:sp>
          <p:cxnSp>
            <p:nvCxnSpPr>
              <p:cNvPr id="133" name="Straight Connector 132">
                <a:extLst>
                  <a:ext uri="{FF2B5EF4-FFF2-40B4-BE49-F238E27FC236}">
                    <a16:creationId xmlns:a16="http://schemas.microsoft.com/office/drawing/2014/main" id="{6AD9A5A6-7A85-48A8-8870-619C01B1725B}"/>
                  </a:ext>
                </a:extLst>
              </p:cNvPr>
              <p:cNvCxnSpPr>
                <a:cxnSpLocks/>
                <a:stCxn id="132" idx="6"/>
              </p:cNvCxnSpPr>
              <p:nvPr/>
            </p:nvCxnSpPr>
            <p:spPr>
              <a:xfrm>
                <a:off x="9990619" y="5699513"/>
                <a:ext cx="110647" cy="1"/>
              </a:xfrm>
              <a:prstGeom prst="line">
                <a:avLst/>
              </a:prstGeom>
              <a:ln w="12700" cap="rnd">
                <a:solidFill>
                  <a:schemeClr val="tx1"/>
                </a:solidFill>
                <a:round/>
              </a:ln>
            </p:spPr>
            <p:style>
              <a:lnRef idx="1">
                <a:schemeClr val="accent1"/>
              </a:lnRef>
              <a:fillRef idx="0">
                <a:schemeClr val="accent1"/>
              </a:fillRef>
              <a:effectRef idx="0">
                <a:schemeClr val="accent1"/>
              </a:effectRef>
              <a:fontRef idx="minor">
                <a:schemeClr val="tx1"/>
              </a:fontRef>
            </p:style>
          </p:cxnSp>
        </p:grpSp>
        <p:sp>
          <p:nvSpPr>
            <p:cNvPr id="131" name="TextBox 130">
              <a:extLst>
                <a:ext uri="{FF2B5EF4-FFF2-40B4-BE49-F238E27FC236}">
                  <a16:creationId xmlns:a16="http://schemas.microsoft.com/office/drawing/2014/main" id="{2A7EE078-E0DB-4FA7-BE16-F97AB44C1202}"/>
                </a:ext>
              </a:extLst>
            </p:cNvPr>
            <p:cNvSpPr txBox="1"/>
            <p:nvPr/>
          </p:nvSpPr>
          <p:spPr>
            <a:xfrm>
              <a:off x="10117281" y="5608324"/>
              <a:ext cx="894723" cy="154525"/>
            </a:xfrm>
            <a:prstGeom prst="rect">
              <a:avLst/>
            </a:prstGeom>
            <a:noFill/>
          </p:spPr>
          <p:txBody>
            <a:bodyPr wrap="none" lIns="36000" tIns="18000" rIns="36000" bIns="18000" rtlCol="0">
              <a:spAutoFit/>
            </a:bodyPr>
            <a:lstStyle/>
            <a:p>
              <a:pPr>
                <a:lnSpc>
                  <a:spcPct val="96000"/>
                </a:lnSpc>
              </a:pPr>
              <a:r>
                <a:rPr lang="en-US" sz="800" b="1" spc="-20" dirty="0">
                  <a:solidFill>
                    <a:schemeClr val="accent2"/>
                  </a:solidFill>
                </a:rPr>
                <a:t>Sydney, Australia</a:t>
              </a:r>
            </a:p>
          </p:txBody>
        </p:sp>
      </p:grpSp>
      <p:grpSp>
        <p:nvGrpSpPr>
          <p:cNvPr id="134" name="Group 133">
            <a:extLst>
              <a:ext uri="{FF2B5EF4-FFF2-40B4-BE49-F238E27FC236}">
                <a16:creationId xmlns:a16="http://schemas.microsoft.com/office/drawing/2014/main" id="{5F05CAD4-697E-4562-BAE7-E75679F08DE5}"/>
              </a:ext>
            </a:extLst>
          </p:cNvPr>
          <p:cNvGrpSpPr>
            <a:grpSpLocks/>
          </p:cNvGrpSpPr>
          <p:nvPr/>
        </p:nvGrpSpPr>
        <p:grpSpPr>
          <a:xfrm>
            <a:off x="6428608" y="5365707"/>
            <a:ext cx="1660892" cy="740603"/>
            <a:chOff x="6428608" y="5365707"/>
            <a:chExt cx="1660892" cy="740603"/>
          </a:xfrm>
        </p:grpSpPr>
        <p:grpSp>
          <p:nvGrpSpPr>
            <p:cNvPr id="135" name="Group 134">
              <a:extLst>
                <a:ext uri="{FF2B5EF4-FFF2-40B4-BE49-F238E27FC236}">
                  <a16:creationId xmlns:a16="http://schemas.microsoft.com/office/drawing/2014/main" id="{C20634B0-8917-4AFD-8D81-D60A2E7519FA}"/>
                </a:ext>
              </a:extLst>
            </p:cNvPr>
            <p:cNvGrpSpPr/>
            <p:nvPr/>
          </p:nvGrpSpPr>
          <p:grpSpPr>
            <a:xfrm>
              <a:off x="6428608" y="5365707"/>
              <a:ext cx="396911" cy="401622"/>
              <a:chOff x="6428608" y="5365707"/>
              <a:chExt cx="396911" cy="401622"/>
            </a:xfrm>
          </p:grpSpPr>
          <p:sp>
            <p:nvSpPr>
              <p:cNvPr id="137" name="Oval 136">
                <a:extLst>
                  <a:ext uri="{FF2B5EF4-FFF2-40B4-BE49-F238E27FC236}">
                    <a16:creationId xmlns:a16="http://schemas.microsoft.com/office/drawing/2014/main" id="{EB3C92AE-DADA-406D-8F99-3DFCEFEC697B}"/>
                  </a:ext>
                </a:extLst>
              </p:cNvPr>
              <p:cNvSpPr/>
              <p:nvPr/>
            </p:nvSpPr>
            <p:spPr>
              <a:xfrm rot="5400000">
                <a:off x="6428608" y="5365707"/>
                <a:ext cx="108000" cy="10800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7000"/>
                  </a:lnSpc>
                </a:pPr>
                <a:endParaRPr lang="en-US" sz="800" dirty="0">
                  <a:solidFill>
                    <a:schemeClr val="accent2"/>
                  </a:solidFill>
                </a:endParaRPr>
              </a:p>
            </p:txBody>
          </p:sp>
          <p:cxnSp>
            <p:nvCxnSpPr>
              <p:cNvPr id="138" name="Straight Connector 137">
                <a:extLst>
                  <a:ext uri="{FF2B5EF4-FFF2-40B4-BE49-F238E27FC236}">
                    <a16:creationId xmlns:a16="http://schemas.microsoft.com/office/drawing/2014/main" id="{136B6817-1B42-40AA-A866-781090ABA6CD}"/>
                  </a:ext>
                </a:extLst>
              </p:cNvPr>
              <p:cNvCxnSpPr>
                <a:cxnSpLocks/>
              </p:cNvCxnSpPr>
              <p:nvPr/>
            </p:nvCxnSpPr>
            <p:spPr>
              <a:xfrm>
                <a:off x="6519184" y="5455419"/>
                <a:ext cx="306335" cy="311910"/>
              </a:xfrm>
              <a:prstGeom prst="line">
                <a:avLst/>
              </a:prstGeom>
              <a:ln w="12700" cap="rnd">
                <a:solidFill>
                  <a:schemeClr val="tx1"/>
                </a:solidFill>
                <a:round/>
              </a:ln>
            </p:spPr>
            <p:style>
              <a:lnRef idx="1">
                <a:schemeClr val="accent1"/>
              </a:lnRef>
              <a:fillRef idx="0">
                <a:schemeClr val="accent1"/>
              </a:fillRef>
              <a:effectRef idx="0">
                <a:schemeClr val="accent1"/>
              </a:effectRef>
              <a:fontRef idx="minor">
                <a:schemeClr val="tx1"/>
              </a:fontRef>
            </p:style>
          </p:cxnSp>
        </p:grpSp>
        <p:sp>
          <p:nvSpPr>
            <p:cNvPr id="136" name="TextBox 135">
              <a:extLst>
                <a:ext uri="{FF2B5EF4-FFF2-40B4-BE49-F238E27FC236}">
                  <a16:creationId xmlns:a16="http://schemas.microsoft.com/office/drawing/2014/main" id="{F0911783-B53D-4D97-AB8B-864473E3A70A}"/>
                </a:ext>
              </a:extLst>
            </p:cNvPr>
            <p:cNvSpPr txBox="1"/>
            <p:nvPr/>
          </p:nvSpPr>
          <p:spPr>
            <a:xfrm>
              <a:off x="6706502" y="5833612"/>
              <a:ext cx="1382998" cy="272698"/>
            </a:xfrm>
            <a:prstGeom prst="rect">
              <a:avLst/>
            </a:prstGeom>
            <a:noFill/>
          </p:spPr>
          <p:txBody>
            <a:bodyPr wrap="none" lIns="36000" tIns="18000" rIns="36000" bIns="18000" rtlCol="0">
              <a:spAutoFit/>
            </a:bodyPr>
            <a:lstStyle/>
            <a:p>
              <a:pPr>
                <a:lnSpc>
                  <a:spcPct val="96000"/>
                </a:lnSpc>
              </a:pPr>
              <a:r>
                <a:rPr lang="en-US" sz="800" b="1" spc="-20" dirty="0">
                  <a:solidFill>
                    <a:schemeClr val="accent2"/>
                  </a:solidFill>
                </a:rPr>
                <a:t>Johannesburg, South Africa</a:t>
              </a:r>
            </a:p>
            <a:p>
              <a:pPr>
                <a:lnSpc>
                  <a:spcPct val="96000"/>
                </a:lnSpc>
              </a:pPr>
              <a:endParaRPr lang="en-US" sz="800" spc="-20" dirty="0">
                <a:solidFill>
                  <a:schemeClr val="accent2"/>
                </a:solidFill>
              </a:endParaRPr>
            </a:p>
          </p:txBody>
        </p:sp>
      </p:grpSp>
      <p:sp>
        <p:nvSpPr>
          <p:cNvPr id="122" name="Oval 121">
            <a:extLst>
              <a:ext uri="{FF2B5EF4-FFF2-40B4-BE49-F238E27FC236}">
                <a16:creationId xmlns:a16="http://schemas.microsoft.com/office/drawing/2014/main" id="{0FFC732D-6375-4B62-B944-4212ABC2F108}"/>
              </a:ext>
            </a:extLst>
          </p:cNvPr>
          <p:cNvSpPr>
            <a:spLocks/>
          </p:cNvSpPr>
          <p:nvPr/>
        </p:nvSpPr>
        <p:spPr>
          <a:xfrm>
            <a:off x="6029380" y="2741253"/>
            <a:ext cx="108000" cy="10800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7000"/>
              </a:lnSpc>
            </a:pPr>
            <a:endParaRPr lang="en-US" dirty="0">
              <a:solidFill>
                <a:schemeClr val="accent2"/>
              </a:solidFill>
            </a:endParaRPr>
          </a:p>
        </p:txBody>
      </p:sp>
      <p:grpSp>
        <p:nvGrpSpPr>
          <p:cNvPr id="147" name="Group 146">
            <a:extLst>
              <a:ext uri="{FF2B5EF4-FFF2-40B4-BE49-F238E27FC236}">
                <a16:creationId xmlns:a16="http://schemas.microsoft.com/office/drawing/2014/main" id="{DCE6188B-24DD-48D0-9B18-7D4E435B7F03}"/>
              </a:ext>
            </a:extLst>
          </p:cNvPr>
          <p:cNvGrpSpPr>
            <a:grpSpLocks/>
          </p:cNvGrpSpPr>
          <p:nvPr/>
        </p:nvGrpSpPr>
        <p:grpSpPr>
          <a:xfrm>
            <a:off x="4562590" y="5053797"/>
            <a:ext cx="1398577" cy="509045"/>
            <a:chOff x="4597426" y="4975416"/>
            <a:chExt cx="1398577" cy="509045"/>
          </a:xfrm>
        </p:grpSpPr>
        <p:cxnSp>
          <p:nvCxnSpPr>
            <p:cNvPr id="151" name="Straight Connector 150">
              <a:extLst>
                <a:ext uri="{FF2B5EF4-FFF2-40B4-BE49-F238E27FC236}">
                  <a16:creationId xmlns:a16="http://schemas.microsoft.com/office/drawing/2014/main" id="{EC81F5C5-72CB-4EA3-BB1A-02ED2A49344A}"/>
                </a:ext>
              </a:extLst>
            </p:cNvPr>
            <p:cNvCxnSpPr>
              <a:cxnSpLocks/>
            </p:cNvCxnSpPr>
            <p:nvPr/>
          </p:nvCxnSpPr>
          <p:spPr>
            <a:xfrm>
              <a:off x="4597426" y="5059012"/>
              <a:ext cx="395170" cy="2921"/>
            </a:xfrm>
            <a:prstGeom prst="line">
              <a:avLst/>
            </a:prstGeom>
            <a:ln w="12700" cap="rnd">
              <a:solidFill>
                <a:schemeClr val="tx1"/>
              </a:solidFill>
              <a:round/>
            </a:ln>
          </p:spPr>
          <p:style>
            <a:lnRef idx="1">
              <a:schemeClr val="accent1"/>
            </a:lnRef>
            <a:fillRef idx="0">
              <a:schemeClr val="accent1"/>
            </a:fillRef>
            <a:effectRef idx="0">
              <a:schemeClr val="accent1"/>
            </a:effectRef>
            <a:fontRef idx="minor">
              <a:schemeClr val="tx1"/>
            </a:fontRef>
          </p:style>
        </p:cxnSp>
        <p:sp>
          <p:nvSpPr>
            <p:cNvPr id="149" name="TextBox 148">
              <a:extLst>
                <a:ext uri="{FF2B5EF4-FFF2-40B4-BE49-F238E27FC236}">
                  <a16:creationId xmlns:a16="http://schemas.microsoft.com/office/drawing/2014/main" id="{48861D3A-8BD8-4336-BFD9-B7AAD0942B0C}"/>
                </a:ext>
              </a:extLst>
            </p:cNvPr>
            <p:cNvSpPr txBox="1"/>
            <p:nvPr/>
          </p:nvSpPr>
          <p:spPr>
            <a:xfrm>
              <a:off x="4992596" y="4975416"/>
              <a:ext cx="1003407" cy="509045"/>
            </a:xfrm>
            <a:prstGeom prst="rect">
              <a:avLst/>
            </a:prstGeom>
            <a:noFill/>
          </p:spPr>
          <p:txBody>
            <a:bodyPr wrap="none" lIns="36000" tIns="18000" rIns="36000" bIns="18000" rtlCol="0">
              <a:spAutoFit/>
            </a:bodyPr>
            <a:lstStyle/>
            <a:p>
              <a:pPr>
                <a:lnSpc>
                  <a:spcPct val="96000"/>
                </a:lnSpc>
              </a:pPr>
              <a:r>
                <a:rPr lang="en-US" sz="800" b="1" spc="-20" dirty="0">
                  <a:solidFill>
                    <a:schemeClr val="accent2"/>
                  </a:solidFill>
                </a:rPr>
                <a:t>Curitiba, Brazil</a:t>
              </a:r>
            </a:p>
            <a:p>
              <a:pPr indent="-90000">
                <a:lnSpc>
                  <a:spcPct val="96000"/>
                </a:lnSpc>
                <a:buFont typeface="Arial" panose="020B0604020202020204" pitchFamily="34" charset="0"/>
                <a:buChar char="–"/>
              </a:pPr>
              <a:r>
                <a:rPr lang="en-US" sz="800" spc="-20" dirty="0" err="1">
                  <a:solidFill>
                    <a:schemeClr val="accent2"/>
                  </a:solidFill>
                </a:rPr>
                <a:t>BioAg</a:t>
              </a:r>
              <a:r>
                <a:rPr lang="en-US" sz="800" spc="-20" dirty="0">
                  <a:solidFill>
                    <a:schemeClr val="accent2"/>
                  </a:solidFill>
                </a:rPr>
                <a:t> production</a:t>
              </a:r>
            </a:p>
            <a:p>
              <a:pPr indent="-90000">
                <a:lnSpc>
                  <a:spcPct val="96000"/>
                </a:lnSpc>
                <a:buFont typeface="Arial" panose="020B0604020202020204" pitchFamily="34" charset="0"/>
                <a:buChar char="–"/>
              </a:pPr>
              <a:r>
                <a:rPr lang="en-US" sz="800" spc="-20" dirty="0">
                  <a:solidFill>
                    <a:schemeClr val="accent2"/>
                  </a:solidFill>
                </a:rPr>
                <a:t>Enzyme production</a:t>
              </a:r>
            </a:p>
            <a:p>
              <a:pPr indent="-90000">
                <a:lnSpc>
                  <a:spcPct val="96000"/>
                </a:lnSpc>
                <a:buFont typeface="Arial" panose="020B0604020202020204" pitchFamily="34" charset="0"/>
                <a:buChar char="–"/>
              </a:pPr>
              <a:r>
                <a:rPr lang="en-US" sz="800" spc="-20" dirty="0">
                  <a:solidFill>
                    <a:schemeClr val="accent2"/>
                  </a:solidFill>
                </a:rPr>
                <a:t>R&amp;D office</a:t>
              </a:r>
            </a:p>
          </p:txBody>
        </p:sp>
      </p:grpSp>
      <p:sp>
        <p:nvSpPr>
          <p:cNvPr id="152" name="Oval 151">
            <a:extLst>
              <a:ext uri="{FF2B5EF4-FFF2-40B4-BE49-F238E27FC236}">
                <a16:creationId xmlns:a16="http://schemas.microsoft.com/office/drawing/2014/main" id="{31A237EB-67A4-4374-8BBC-80CAB0781AC9}"/>
              </a:ext>
            </a:extLst>
          </p:cNvPr>
          <p:cNvSpPr>
            <a:spLocks/>
          </p:cNvSpPr>
          <p:nvPr/>
        </p:nvSpPr>
        <p:spPr>
          <a:xfrm>
            <a:off x="4490319" y="5083842"/>
            <a:ext cx="108000" cy="10800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7000"/>
              </a:lnSpc>
            </a:pPr>
            <a:endParaRPr lang="en-US">
              <a:solidFill>
                <a:schemeClr val="accent2"/>
              </a:solidFill>
            </a:endParaRPr>
          </a:p>
        </p:txBody>
      </p:sp>
      <p:grpSp>
        <p:nvGrpSpPr>
          <p:cNvPr id="154" name="Group 153">
            <a:extLst>
              <a:ext uri="{FF2B5EF4-FFF2-40B4-BE49-F238E27FC236}">
                <a16:creationId xmlns:a16="http://schemas.microsoft.com/office/drawing/2014/main" id="{0117865A-0313-495E-8AEC-59F7F8C98D16}"/>
              </a:ext>
            </a:extLst>
          </p:cNvPr>
          <p:cNvGrpSpPr>
            <a:grpSpLocks/>
          </p:cNvGrpSpPr>
          <p:nvPr/>
        </p:nvGrpSpPr>
        <p:grpSpPr>
          <a:xfrm>
            <a:off x="2722212" y="5608324"/>
            <a:ext cx="1432674" cy="390872"/>
            <a:chOff x="2823810" y="5460546"/>
            <a:chExt cx="1432674" cy="390872"/>
          </a:xfrm>
        </p:grpSpPr>
        <p:grpSp>
          <p:nvGrpSpPr>
            <p:cNvPr id="155" name="Group 154">
              <a:extLst>
                <a:ext uri="{FF2B5EF4-FFF2-40B4-BE49-F238E27FC236}">
                  <a16:creationId xmlns:a16="http://schemas.microsoft.com/office/drawing/2014/main" id="{BE189282-0BA0-413A-A945-2274DA55A27A}"/>
                </a:ext>
              </a:extLst>
            </p:cNvPr>
            <p:cNvGrpSpPr/>
            <p:nvPr/>
          </p:nvGrpSpPr>
          <p:grpSpPr>
            <a:xfrm>
              <a:off x="3626644" y="5503499"/>
              <a:ext cx="629840" cy="108000"/>
              <a:chOff x="3626644" y="5503499"/>
              <a:chExt cx="629840" cy="108000"/>
            </a:xfrm>
          </p:grpSpPr>
          <p:sp>
            <p:nvSpPr>
              <p:cNvPr id="157" name="Oval 156">
                <a:extLst>
                  <a:ext uri="{FF2B5EF4-FFF2-40B4-BE49-F238E27FC236}">
                    <a16:creationId xmlns:a16="http://schemas.microsoft.com/office/drawing/2014/main" id="{364FAE3E-72D1-4F9A-AE78-CC5AA3CD29AB}"/>
                  </a:ext>
                </a:extLst>
              </p:cNvPr>
              <p:cNvSpPr/>
              <p:nvPr/>
            </p:nvSpPr>
            <p:spPr>
              <a:xfrm flipH="1">
                <a:off x="4148484" y="5503499"/>
                <a:ext cx="108000" cy="10800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7000"/>
                  </a:lnSpc>
                </a:pPr>
                <a:endParaRPr lang="en-US" sz="800">
                  <a:solidFill>
                    <a:schemeClr val="accent2"/>
                  </a:solidFill>
                </a:endParaRPr>
              </a:p>
            </p:txBody>
          </p:sp>
          <p:cxnSp>
            <p:nvCxnSpPr>
              <p:cNvPr id="158" name="Straight Connector 157">
                <a:extLst>
                  <a:ext uri="{FF2B5EF4-FFF2-40B4-BE49-F238E27FC236}">
                    <a16:creationId xmlns:a16="http://schemas.microsoft.com/office/drawing/2014/main" id="{3539F975-3791-4292-A074-59912DD63B0A}"/>
                  </a:ext>
                </a:extLst>
              </p:cNvPr>
              <p:cNvCxnSpPr>
                <a:cxnSpLocks/>
                <a:stCxn id="157" idx="6"/>
              </p:cNvCxnSpPr>
              <p:nvPr/>
            </p:nvCxnSpPr>
            <p:spPr>
              <a:xfrm flipH="1">
                <a:off x="3626644" y="5557499"/>
                <a:ext cx="521840" cy="0"/>
              </a:xfrm>
              <a:prstGeom prst="line">
                <a:avLst/>
              </a:prstGeom>
              <a:ln w="12700" cap="rnd">
                <a:solidFill>
                  <a:schemeClr val="tx1"/>
                </a:solidFill>
                <a:round/>
              </a:ln>
            </p:spPr>
            <p:style>
              <a:lnRef idx="1">
                <a:schemeClr val="accent1"/>
              </a:lnRef>
              <a:fillRef idx="0">
                <a:schemeClr val="accent1"/>
              </a:fillRef>
              <a:effectRef idx="0">
                <a:schemeClr val="accent1"/>
              </a:effectRef>
              <a:fontRef idx="minor">
                <a:schemeClr val="tx1"/>
              </a:fontRef>
            </p:style>
          </p:cxnSp>
        </p:grpSp>
        <p:sp>
          <p:nvSpPr>
            <p:cNvPr id="156" name="TextBox 155">
              <a:extLst>
                <a:ext uri="{FF2B5EF4-FFF2-40B4-BE49-F238E27FC236}">
                  <a16:creationId xmlns:a16="http://schemas.microsoft.com/office/drawing/2014/main" id="{96FC87B2-B4F7-400E-A8E5-25FEB384A2C2}"/>
                </a:ext>
              </a:extLst>
            </p:cNvPr>
            <p:cNvSpPr txBox="1"/>
            <p:nvPr/>
          </p:nvSpPr>
          <p:spPr>
            <a:xfrm>
              <a:off x="2823810" y="5460546"/>
              <a:ext cx="932234" cy="390872"/>
            </a:xfrm>
            <a:prstGeom prst="rect">
              <a:avLst/>
            </a:prstGeom>
            <a:noFill/>
          </p:spPr>
          <p:txBody>
            <a:bodyPr wrap="none" lIns="36000" tIns="18000" rIns="36000" bIns="18000" rtlCol="0">
              <a:spAutoFit/>
            </a:bodyPr>
            <a:lstStyle/>
            <a:p>
              <a:pPr>
                <a:lnSpc>
                  <a:spcPct val="96000"/>
                </a:lnSpc>
              </a:pPr>
              <a:r>
                <a:rPr lang="en-US" sz="800" b="1" spc="-20" dirty="0">
                  <a:solidFill>
                    <a:schemeClr val="accent2"/>
                  </a:solidFill>
                </a:rPr>
                <a:t>Pilar, Argentina</a:t>
              </a:r>
            </a:p>
            <a:p>
              <a:pPr indent="-90000">
                <a:lnSpc>
                  <a:spcPct val="96000"/>
                </a:lnSpc>
                <a:buFont typeface="Arial" panose="020B0604020202020204" pitchFamily="34" charset="0"/>
                <a:buChar char="–"/>
              </a:pPr>
              <a:r>
                <a:rPr lang="en-US" sz="800" spc="-20" dirty="0" err="1">
                  <a:solidFill>
                    <a:schemeClr val="accent2"/>
                  </a:solidFill>
                </a:rPr>
                <a:t>BioAG</a:t>
              </a:r>
              <a:r>
                <a:rPr lang="en-US" sz="800" spc="-20" dirty="0">
                  <a:solidFill>
                    <a:schemeClr val="accent2"/>
                  </a:solidFill>
                </a:rPr>
                <a:t> production</a:t>
              </a:r>
            </a:p>
            <a:p>
              <a:pPr indent="-90000">
                <a:lnSpc>
                  <a:spcPct val="96000"/>
                </a:lnSpc>
                <a:buFont typeface="Arial" panose="020B0604020202020204" pitchFamily="34" charset="0"/>
                <a:buChar char="–"/>
              </a:pPr>
              <a:r>
                <a:rPr lang="en-US" sz="800" spc="-20" dirty="0">
                  <a:solidFill>
                    <a:schemeClr val="accent2"/>
                  </a:solidFill>
                </a:rPr>
                <a:t>R&amp;D office</a:t>
              </a:r>
            </a:p>
          </p:txBody>
        </p:sp>
      </p:grpSp>
      <p:sp>
        <p:nvSpPr>
          <p:cNvPr id="124" name="Oval 123">
            <a:extLst>
              <a:ext uri="{FF2B5EF4-FFF2-40B4-BE49-F238E27FC236}">
                <a16:creationId xmlns:a16="http://schemas.microsoft.com/office/drawing/2014/main" id="{E06A7F04-9648-4D28-86CA-22B4D5C42DBE}"/>
              </a:ext>
            </a:extLst>
          </p:cNvPr>
          <p:cNvSpPr>
            <a:spLocks/>
          </p:cNvSpPr>
          <p:nvPr/>
        </p:nvSpPr>
        <p:spPr>
          <a:xfrm>
            <a:off x="8884830" y="3301555"/>
            <a:ext cx="108000" cy="10800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7000"/>
              </a:lnSpc>
            </a:pPr>
            <a:endParaRPr lang="en-US" dirty="0">
              <a:solidFill>
                <a:schemeClr val="accent2"/>
              </a:solidFill>
            </a:endParaRPr>
          </a:p>
        </p:txBody>
      </p:sp>
      <p:sp>
        <p:nvSpPr>
          <p:cNvPr id="125" name="Oval 124">
            <a:extLst>
              <a:ext uri="{FF2B5EF4-FFF2-40B4-BE49-F238E27FC236}">
                <a16:creationId xmlns:a16="http://schemas.microsoft.com/office/drawing/2014/main" id="{3FB242DC-9456-4595-94AC-C01DD5513EB8}"/>
              </a:ext>
            </a:extLst>
          </p:cNvPr>
          <p:cNvSpPr>
            <a:spLocks/>
          </p:cNvSpPr>
          <p:nvPr/>
        </p:nvSpPr>
        <p:spPr>
          <a:xfrm>
            <a:off x="8950150" y="3412853"/>
            <a:ext cx="108000" cy="10800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7000"/>
              </a:lnSpc>
            </a:pPr>
            <a:endParaRPr lang="en-US" dirty="0">
              <a:solidFill>
                <a:schemeClr val="accent2"/>
              </a:solidFill>
            </a:endParaRPr>
          </a:p>
        </p:txBody>
      </p:sp>
      <p:sp>
        <p:nvSpPr>
          <p:cNvPr id="139" name="TextBox 138">
            <a:extLst>
              <a:ext uri="{FF2B5EF4-FFF2-40B4-BE49-F238E27FC236}">
                <a16:creationId xmlns:a16="http://schemas.microsoft.com/office/drawing/2014/main" id="{BDFEE1DE-1E79-4DE6-B139-BF9D36EF70BA}"/>
              </a:ext>
            </a:extLst>
          </p:cNvPr>
          <p:cNvSpPr txBox="1">
            <a:spLocks/>
          </p:cNvSpPr>
          <p:nvPr/>
        </p:nvSpPr>
        <p:spPr>
          <a:xfrm>
            <a:off x="8753153" y="2677831"/>
            <a:ext cx="698195" cy="272698"/>
          </a:xfrm>
          <a:prstGeom prst="rect">
            <a:avLst/>
          </a:prstGeom>
          <a:noFill/>
        </p:spPr>
        <p:txBody>
          <a:bodyPr wrap="none" lIns="36000" tIns="18000" rIns="36000" bIns="18000" rtlCol="0">
            <a:spAutoFit/>
          </a:bodyPr>
          <a:lstStyle/>
          <a:p>
            <a:pPr>
              <a:lnSpc>
                <a:spcPct val="96000"/>
              </a:lnSpc>
            </a:pPr>
            <a:r>
              <a:rPr lang="en-US" sz="800" b="1" spc="-20" dirty="0">
                <a:solidFill>
                  <a:schemeClr val="accent2"/>
                </a:solidFill>
              </a:rPr>
              <a:t>Seoul, Korea </a:t>
            </a:r>
          </a:p>
          <a:p>
            <a:pPr indent="-90000">
              <a:lnSpc>
                <a:spcPct val="96000"/>
              </a:lnSpc>
              <a:buFont typeface="Arial" panose="020B0604020202020204" pitchFamily="34" charset="0"/>
              <a:buChar char="–"/>
            </a:pPr>
            <a:r>
              <a:rPr lang="en-US" sz="800" spc="-20" dirty="0">
                <a:solidFill>
                  <a:schemeClr val="accent2"/>
                </a:solidFill>
              </a:rPr>
              <a:t>R&amp;D office</a:t>
            </a:r>
          </a:p>
        </p:txBody>
      </p:sp>
      <p:grpSp>
        <p:nvGrpSpPr>
          <p:cNvPr id="140" name="Group 139">
            <a:extLst>
              <a:ext uri="{FF2B5EF4-FFF2-40B4-BE49-F238E27FC236}">
                <a16:creationId xmlns:a16="http://schemas.microsoft.com/office/drawing/2014/main" id="{D4395710-3479-45C7-9486-C5C7AFC3599D}"/>
              </a:ext>
            </a:extLst>
          </p:cNvPr>
          <p:cNvGrpSpPr>
            <a:grpSpLocks/>
          </p:cNvGrpSpPr>
          <p:nvPr/>
        </p:nvGrpSpPr>
        <p:grpSpPr>
          <a:xfrm>
            <a:off x="8716464" y="4329174"/>
            <a:ext cx="1398433" cy="272698"/>
            <a:chOff x="8534771" y="4476196"/>
            <a:chExt cx="1398433" cy="272698"/>
          </a:xfrm>
        </p:grpSpPr>
        <p:grpSp>
          <p:nvGrpSpPr>
            <p:cNvPr id="141" name="Group 140">
              <a:extLst>
                <a:ext uri="{FF2B5EF4-FFF2-40B4-BE49-F238E27FC236}">
                  <a16:creationId xmlns:a16="http://schemas.microsoft.com/office/drawing/2014/main" id="{03B3FD97-FC40-4B94-AB38-76AE6312AA64}"/>
                </a:ext>
              </a:extLst>
            </p:cNvPr>
            <p:cNvGrpSpPr/>
            <p:nvPr/>
          </p:nvGrpSpPr>
          <p:grpSpPr>
            <a:xfrm>
              <a:off x="8534771" y="4495780"/>
              <a:ext cx="453174" cy="108000"/>
              <a:chOff x="8534771" y="4495780"/>
              <a:chExt cx="453174" cy="108000"/>
            </a:xfrm>
          </p:grpSpPr>
          <p:sp>
            <p:nvSpPr>
              <p:cNvPr id="143" name="Oval 142">
                <a:extLst>
                  <a:ext uri="{FF2B5EF4-FFF2-40B4-BE49-F238E27FC236}">
                    <a16:creationId xmlns:a16="http://schemas.microsoft.com/office/drawing/2014/main" id="{461DD89A-87A7-47DD-8969-ED97ED65F0E7}"/>
                  </a:ext>
                </a:extLst>
              </p:cNvPr>
              <p:cNvSpPr/>
              <p:nvPr/>
            </p:nvSpPr>
            <p:spPr>
              <a:xfrm rot="5400000">
                <a:off x="8534771" y="4495780"/>
                <a:ext cx="108000" cy="10800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7000"/>
                  </a:lnSpc>
                </a:pPr>
                <a:endParaRPr lang="en-US" sz="800" dirty="0">
                  <a:solidFill>
                    <a:schemeClr val="accent2"/>
                  </a:solidFill>
                </a:endParaRPr>
              </a:p>
            </p:txBody>
          </p:sp>
          <p:cxnSp>
            <p:nvCxnSpPr>
              <p:cNvPr id="144" name="Straight Connector 143">
                <a:extLst>
                  <a:ext uri="{FF2B5EF4-FFF2-40B4-BE49-F238E27FC236}">
                    <a16:creationId xmlns:a16="http://schemas.microsoft.com/office/drawing/2014/main" id="{9D9CF025-C519-4116-8BEF-D3B53CD6092E}"/>
                  </a:ext>
                </a:extLst>
              </p:cNvPr>
              <p:cNvCxnSpPr>
                <a:cxnSpLocks/>
              </p:cNvCxnSpPr>
              <p:nvPr/>
            </p:nvCxnSpPr>
            <p:spPr>
              <a:xfrm>
                <a:off x="8634329" y="4550233"/>
                <a:ext cx="353616" cy="0"/>
              </a:xfrm>
              <a:prstGeom prst="line">
                <a:avLst/>
              </a:prstGeom>
              <a:ln w="12700" cap="rnd">
                <a:solidFill>
                  <a:schemeClr val="tx1"/>
                </a:solidFill>
                <a:round/>
              </a:ln>
            </p:spPr>
            <p:style>
              <a:lnRef idx="1">
                <a:schemeClr val="accent1"/>
              </a:lnRef>
              <a:fillRef idx="0">
                <a:schemeClr val="accent1"/>
              </a:fillRef>
              <a:effectRef idx="0">
                <a:schemeClr val="accent1"/>
              </a:effectRef>
              <a:fontRef idx="minor">
                <a:schemeClr val="tx1"/>
              </a:fontRef>
            </p:style>
          </p:cxnSp>
        </p:grpSp>
        <p:sp>
          <p:nvSpPr>
            <p:cNvPr id="142" name="TextBox 141">
              <a:extLst>
                <a:ext uri="{FF2B5EF4-FFF2-40B4-BE49-F238E27FC236}">
                  <a16:creationId xmlns:a16="http://schemas.microsoft.com/office/drawing/2014/main" id="{CFC8F676-930E-4816-AEAC-4E06C195375F}"/>
                </a:ext>
              </a:extLst>
            </p:cNvPr>
            <p:cNvSpPr txBox="1"/>
            <p:nvPr/>
          </p:nvSpPr>
          <p:spPr>
            <a:xfrm>
              <a:off x="8988787" y="4476196"/>
              <a:ext cx="944417" cy="272698"/>
            </a:xfrm>
            <a:prstGeom prst="rect">
              <a:avLst/>
            </a:prstGeom>
            <a:noFill/>
          </p:spPr>
          <p:txBody>
            <a:bodyPr wrap="none" lIns="36000" tIns="18000" rIns="36000" bIns="18000" rtlCol="0">
              <a:spAutoFit/>
            </a:bodyPr>
            <a:lstStyle/>
            <a:p>
              <a:pPr>
                <a:lnSpc>
                  <a:spcPct val="96000"/>
                </a:lnSpc>
              </a:pPr>
              <a:r>
                <a:rPr lang="en-US" sz="800" b="1" spc="-20" dirty="0">
                  <a:solidFill>
                    <a:schemeClr val="accent2"/>
                  </a:solidFill>
                </a:rPr>
                <a:t>Bangkok, Thailand</a:t>
              </a:r>
              <a:endParaRPr lang="en-US" sz="800" spc="-20" dirty="0">
                <a:solidFill>
                  <a:schemeClr val="accent2"/>
                </a:solidFill>
              </a:endParaRPr>
            </a:p>
            <a:p>
              <a:pPr indent="-90000">
                <a:lnSpc>
                  <a:spcPct val="96000"/>
                </a:lnSpc>
                <a:buFont typeface="Arial" panose="020B0604020202020204" pitchFamily="34" charset="0"/>
                <a:buChar char="–"/>
              </a:pPr>
              <a:r>
                <a:rPr lang="en-US" sz="800" spc="-20" dirty="0">
                  <a:solidFill>
                    <a:schemeClr val="accent2"/>
                  </a:solidFill>
                </a:rPr>
                <a:t>R&amp;D office</a:t>
              </a:r>
            </a:p>
          </p:txBody>
        </p:sp>
      </p:grpSp>
      <p:grpSp>
        <p:nvGrpSpPr>
          <p:cNvPr id="145" name="Group 144">
            <a:extLst>
              <a:ext uri="{FF2B5EF4-FFF2-40B4-BE49-F238E27FC236}">
                <a16:creationId xmlns:a16="http://schemas.microsoft.com/office/drawing/2014/main" id="{2C72DCD3-F399-4014-9CA2-EBAB918A4C5C}"/>
              </a:ext>
            </a:extLst>
          </p:cNvPr>
          <p:cNvGrpSpPr>
            <a:grpSpLocks/>
          </p:cNvGrpSpPr>
          <p:nvPr/>
        </p:nvGrpSpPr>
        <p:grpSpPr>
          <a:xfrm>
            <a:off x="5992758" y="3112716"/>
            <a:ext cx="1499865" cy="154525"/>
            <a:chOff x="6560343" y="3344175"/>
            <a:chExt cx="1499865" cy="154525"/>
          </a:xfrm>
        </p:grpSpPr>
        <p:grpSp>
          <p:nvGrpSpPr>
            <p:cNvPr id="146" name="Group 145">
              <a:extLst>
                <a:ext uri="{FF2B5EF4-FFF2-40B4-BE49-F238E27FC236}">
                  <a16:creationId xmlns:a16="http://schemas.microsoft.com/office/drawing/2014/main" id="{76FCFC5B-596E-4AB9-B094-81F373D72DB2}"/>
                </a:ext>
              </a:extLst>
            </p:cNvPr>
            <p:cNvGrpSpPr/>
            <p:nvPr/>
          </p:nvGrpSpPr>
          <p:grpSpPr>
            <a:xfrm>
              <a:off x="6560343" y="3375000"/>
              <a:ext cx="409576" cy="108000"/>
              <a:chOff x="6560343" y="3375000"/>
              <a:chExt cx="409576" cy="108000"/>
            </a:xfrm>
          </p:grpSpPr>
          <p:sp>
            <p:nvSpPr>
              <p:cNvPr id="160" name="Oval 159">
                <a:extLst>
                  <a:ext uri="{FF2B5EF4-FFF2-40B4-BE49-F238E27FC236}">
                    <a16:creationId xmlns:a16="http://schemas.microsoft.com/office/drawing/2014/main" id="{144B7BDC-8C63-4510-B5EA-3AE58F249B43}"/>
                  </a:ext>
                </a:extLst>
              </p:cNvPr>
              <p:cNvSpPr/>
              <p:nvPr/>
            </p:nvSpPr>
            <p:spPr>
              <a:xfrm>
                <a:off x="6560343" y="3375000"/>
                <a:ext cx="108000" cy="10800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7000"/>
                  </a:lnSpc>
                </a:pPr>
                <a:endParaRPr lang="en-US" sz="800" dirty="0">
                  <a:solidFill>
                    <a:schemeClr val="accent2"/>
                  </a:solidFill>
                </a:endParaRPr>
              </a:p>
            </p:txBody>
          </p:sp>
          <p:cxnSp>
            <p:nvCxnSpPr>
              <p:cNvPr id="161" name="Straight Connector 160">
                <a:extLst>
                  <a:ext uri="{FF2B5EF4-FFF2-40B4-BE49-F238E27FC236}">
                    <a16:creationId xmlns:a16="http://schemas.microsoft.com/office/drawing/2014/main" id="{4D7B7B30-75D4-4E81-AB89-1144BE7F76EA}"/>
                  </a:ext>
                </a:extLst>
              </p:cNvPr>
              <p:cNvCxnSpPr>
                <a:cxnSpLocks/>
              </p:cNvCxnSpPr>
              <p:nvPr/>
            </p:nvCxnSpPr>
            <p:spPr>
              <a:xfrm>
                <a:off x="6668343" y="3423631"/>
                <a:ext cx="301576" cy="0"/>
              </a:xfrm>
              <a:prstGeom prst="line">
                <a:avLst/>
              </a:prstGeom>
              <a:ln w="12700" cap="rnd">
                <a:solidFill>
                  <a:schemeClr val="tx1"/>
                </a:solidFill>
                <a:round/>
              </a:ln>
            </p:spPr>
            <p:style>
              <a:lnRef idx="1">
                <a:schemeClr val="accent1"/>
              </a:lnRef>
              <a:fillRef idx="0">
                <a:schemeClr val="accent1"/>
              </a:fillRef>
              <a:effectRef idx="0">
                <a:schemeClr val="accent1"/>
              </a:effectRef>
              <a:fontRef idx="minor">
                <a:schemeClr val="tx1"/>
              </a:fontRef>
            </p:style>
          </p:cxnSp>
        </p:grpSp>
        <p:sp>
          <p:nvSpPr>
            <p:cNvPr id="159" name="TextBox 158">
              <a:extLst>
                <a:ext uri="{FF2B5EF4-FFF2-40B4-BE49-F238E27FC236}">
                  <a16:creationId xmlns:a16="http://schemas.microsoft.com/office/drawing/2014/main" id="{B900787A-A5F8-4476-9BE7-4D28FBA99676}"/>
                </a:ext>
              </a:extLst>
            </p:cNvPr>
            <p:cNvSpPr txBox="1"/>
            <p:nvPr/>
          </p:nvSpPr>
          <p:spPr>
            <a:xfrm>
              <a:off x="6969919" y="3344175"/>
              <a:ext cx="1090289" cy="154525"/>
            </a:xfrm>
            <a:prstGeom prst="rect">
              <a:avLst/>
            </a:prstGeom>
            <a:noFill/>
          </p:spPr>
          <p:txBody>
            <a:bodyPr wrap="none" lIns="36000" tIns="18000" rIns="36000" bIns="18000" rtlCol="0">
              <a:spAutoFit/>
            </a:bodyPr>
            <a:lstStyle/>
            <a:p>
              <a:pPr>
                <a:lnSpc>
                  <a:spcPct val="96000"/>
                </a:lnSpc>
              </a:pPr>
              <a:r>
                <a:rPr lang="en-US" sz="800" b="1" spc="-20" dirty="0" err="1">
                  <a:solidFill>
                    <a:schemeClr val="accent2"/>
                  </a:solidFill>
                </a:rPr>
                <a:t>Dittingen</a:t>
              </a:r>
              <a:r>
                <a:rPr lang="en-US" sz="800" b="1" spc="-20" dirty="0">
                  <a:solidFill>
                    <a:schemeClr val="accent2"/>
                  </a:solidFill>
                </a:rPr>
                <a:t>, Switzerland</a:t>
              </a:r>
            </a:p>
          </p:txBody>
        </p:sp>
      </p:grpSp>
      <p:grpSp>
        <p:nvGrpSpPr>
          <p:cNvPr id="162" name="Group 161">
            <a:extLst>
              <a:ext uri="{FF2B5EF4-FFF2-40B4-BE49-F238E27FC236}">
                <a16:creationId xmlns:a16="http://schemas.microsoft.com/office/drawing/2014/main" id="{D259C9CF-93A0-4FAA-B3C5-0368D03CB304}"/>
              </a:ext>
            </a:extLst>
          </p:cNvPr>
          <p:cNvGrpSpPr>
            <a:grpSpLocks/>
          </p:cNvGrpSpPr>
          <p:nvPr/>
        </p:nvGrpSpPr>
        <p:grpSpPr>
          <a:xfrm>
            <a:off x="5725989" y="3090180"/>
            <a:ext cx="770971" cy="639107"/>
            <a:chOff x="6651370" y="3040539"/>
            <a:chExt cx="770971" cy="639107"/>
          </a:xfrm>
        </p:grpSpPr>
        <p:grpSp>
          <p:nvGrpSpPr>
            <p:cNvPr id="163" name="Group 162">
              <a:extLst>
                <a:ext uri="{FF2B5EF4-FFF2-40B4-BE49-F238E27FC236}">
                  <a16:creationId xmlns:a16="http://schemas.microsoft.com/office/drawing/2014/main" id="{0C76097B-D6BA-4724-AC35-25F740C0C120}"/>
                </a:ext>
              </a:extLst>
            </p:cNvPr>
            <p:cNvGrpSpPr/>
            <p:nvPr/>
          </p:nvGrpSpPr>
          <p:grpSpPr>
            <a:xfrm>
              <a:off x="6760827" y="3040539"/>
              <a:ext cx="108000" cy="365677"/>
              <a:chOff x="6760827" y="3040539"/>
              <a:chExt cx="108000" cy="365677"/>
            </a:xfrm>
          </p:grpSpPr>
          <p:sp>
            <p:nvSpPr>
              <p:cNvPr id="165" name="Oval 164">
                <a:extLst>
                  <a:ext uri="{FF2B5EF4-FFF2-40B4-BE49-F238E27FC236}">
                    <a16:creationId xmlns:a16="http://schemas.microsoft.com/office/drawing/2014/main" id="{5D6009B8-E724-4B03-A022-7580A4E271D5}"/>
                  </a:ext>
                </a:extLst>
              </p:cNvPr>
              <p:cNvSpPr/>
              <p:nvPr/>
            </p:nvSpPr>
            <p:spPr>
              <a:xfrm>
                <a:off x="6760827" y="3040539"/>
                <a:ext cx="108000" cy="10800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7000"/>
                  </a:lnSpc>
                </a:pPr>
                <a:endParaRPr lang="en-US" dirty="0">
                  <a:solidFill>
                    <a:schemeClr val="accent2"/>
                  </a:solidFill>
                </a:endParaRPr>
              </a:p>
            </p:txBody>
          </p:sp>
          <p:cxnSp>
            <p:nvCxnSpPr>
              <p:cNvPr id="166" name="Straight Connector 165">
                <a:extLst>
                  <a:ext uri="{FF2B5EF4-FFF2-40B4-BE49-F238E27FC236}">
                    <a16:creationId xmlns:a16="http://schemas.microsoft.com/office/drawing/2014/main" id="{C3EA9CA1-59FB-45D4-8E84-EC6B577ED77F}"/>
                  </a:ext>
                </a:extLst>
              </p:cNvPr>
              <p:cNvCxnSpPr>
                <a:cxnSpLocks/>
              </p:cNvCxnSpPr>
              <p:nvPr/>
            </p:nvCxnSpPr>
            <p:spPr>
              <a:xfrm>
                <a:off x="6809172" y="3127646"/>
                <a:ext cx="0" cy="278570"/>
              </a:xfrm>
              <a:prstGeom prst="line">
                <a:avLst/>
              </a:prstGeom>
              <a:ln w="12700" cap="rnd">
                <a:solidFill>
                  <a:schemeClr val="tx1"/>
                </a:solidFill>
                <a:round/>
              </a:ln>
            </p:spPr>
            <p:style>
              <a:lnRef idx="1">
                <a:schemeClr val="accent1"/>
              </a:lnRef>
              <a:fillRef idx="0">
                <a:schemeClr val="accent1"/>
              </a:fillRef>
              <a:effectRef idx="0">
                <a:schemeClr val="accent1"/>
              </a:effectRef>
              <a:fontRef idx="minor">
                <a:schemeClr val="tx1"/>
              </a:fontRef>
            </p:style>
          </p:cxnSp>
        </p:grpSp>
        <p:sp>
          <p:nvSpPr>
            <p:cNvPr id="164" name="TextBox 163">
              <a:extLst>
                <a:ext uri="{FF2B5EF4-FFF2-40B4-BE49-F238E27FC236}">
                  <a16:creationId xmlns:a16="http://schemas.microsoft.com/office/drawing/2014/main" id="{EDE2AE0F-1230-4D53-89DC-391933A8984B}"/>
                </a:ext>
              </a:extLst>
            </p:cNvPr>
            <p:cNvSpPr txBox="1"/>
            <p:nvPr/>
          </p:nvSpPr>
          <p:spPr>
            <a:xfrm>
              <a:off x="6651370" y="3406948"/>
              <a:ext cx="770971" cy="272698"/>
            </a:xfrm>
            <a:prstGeom prst="rect">
              <a:avLst/>
            </a:prstGeom>
            <a:noFill/>
          </p:spPr>
          <p:txBody>
            <a:bodyPr wrap="none" lIns="36000" tIns="18000" rIns="36000" bIns="18000" rtlCol="0">
              <a:spAutoFit/>
            </a:bodyPr>
            <a:lstStyle/>
            <a:p>
              <a:pPr>
                <a:lnSpc>
                  <a:spcPct val="96000"/>
                </a:lnSpc>
              </a:pPr>
              <a:r>
                <a:rPr lang="en-US" sz="800" b="1" spc="-20" dirty="0">
                  <a:solidFill>
                    <a:schemeClr val="accent2"/>
                  </a:solidFill>
                </a:rPr>
                <a:t>Le </a:t>
              </a:r>
              <a:r>
                <a:rPr lang="en-US" sz="800" b="1" spc="-20" dirty="0" err="1">
                  <a:solidFill>
                    <a:schemeClr val="accent2"/>
                  </a:solidFill>
                </a:rPr>
                <a:t>Peq</a:t>
              </a:r>
              <a:r>
                <a:rPr lang="en-US" sz="800" b="1" spc="-20" dirty="0">
                  <a:solidFill>
                    <a:schemeClr val="accent2"/>
                  </a:solidFill>
                </a:rPr>
                <a:t>, France</a:t>
              </a:r>
              <a:br>
                <a:rPr lang="en-US" sz="800" b="1" spc="-20" dirty="0">
                  <a:solidFill>
                    <a:schemeClr val="accent2"/>
                  </a:solidFill>
                </a:rPr>
              </a:br>
              <a:r>
                <a:rPr lang="en-US" sz="800" spc="-20" dirty="0">
                  <a:solidFill>
                    <a:schemeClr val="accent2"/>
                  </a:solidFill>
                </a:rPr>
                <a:t>- R&amp;D office</a:t>
              </a:r>
            </a:p>
          </p:txBody>
        </p:sp>
      </p:grpSp>
      <p:grpSp>
        <p:nvGrpSpPr>
          <p:cNvPr id="167" name="Group 166">
            <a:extLst>
              <a:ext uri="{FF2B5EF4-FFF2-40B4-BE49-F238E27FC236}">
                <a16:creationId xmlns:a16="http://schemas.microsoft.com/office/drawing/2014/main" id="{208375B3-66F8-4D66-9019-8569FA465220}"/>
              </a:ext>
            </a:extLst>
          </p:cNvPr>
          <p:cNvGrpSpPr>
            <a:grpSpLocks/>
          </p:cNvGrpSpPr>
          <p:nvPr/>
        </p:nvGrpSpPr>
        <p:grpSpPr>
          <a:xfrm>
            <a:off x="5188100" y="2234183"/>
            <a:ext cx="669341" cy="712649"/>
            <a:chOff x="7235272" y="2769645"/>
            <a:chExt cx="669341" cy="712649"/>
          </a:xfrm>
        </p:grpSpPr>
        <p:grpSp>
          <p:nvGrpSpPr>
            <p:cNvPr id="168" name="Group 167">
              <a:extLst>
                <a:ext uri="{FF2B5EF4-FFF2-40B4-BE49-F238E27FC236}">
                  <a16:creationId xmlns:a16="http://schemas.microsoft.com/office/drawing/2014/main" id="{CD43F548-824A-421D-BF73-EC663B6A74AB}"/>
                </a:ext>
              </a:extLst>
            </p:cNvPr>
            <p:cNvGrpSpPr/>
            <p:nvPr/>
          </p:nvGrpSpPr>
          <p:grpSpPr>
            <a:xfrm>
              <a:off x="7520466" y="3041654"/>
              <a:ext cx="108000" cy="440640"/>
              <a:chOff x="7520466" y="3041654"/>
              <a:chExt cx="108000" cy="440640"/>
            </a:xfrm>
          </p:grpSpPr>
          <p:sp>
            <p:nvSpPr>
              <p:cNvPr id="170" name="Oval 169">
                <a:extLst>
                  <a:ext uri="{FF2B5EF4-FFF2-40B4-BE49-F238E27FC236}">
                    <a16:creationId xmlns:a16="http://schemas.microsoft.com/office/drawing/2014/main" id="{0DD7015E-F8C8-4D4C-B9C7-BD506EC785DE}"/>
                  </a:ext>
                </a:extLst>
              </p:cNvPr>
              <p:cNvSpPr/>
              <p:nvPr/>
            </p:nvSpPr>
            <p:spPr>
              <a:xfrm>
                <a:off x="7520466" y="3374294"/>
                <a:ext cx="108000" cy="10800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7000"/>
                  </a:lnSpc>
                </a:pPr>
                <a:endParaRPr lang="en-US" sz="800" dirty="0">
                  <a:solidFill>
                    <a:schemeClr val="accent2"/>
                  </a:solidFill>
                </a:endParaRPr>
              </a:p>
            </p:txBody>
          </p:sp>
          <p:cxnSp>
            <p:nvCxnSpPr>
              <p:cNvPr id="171" name="Straight Connector 170">
                <a:extLst>
                  <a:ext uri="{FF2B5EF4-FFF2-40B4-BE49-F238E27FC236}">
                    <a16:creationId xmlns:a16="http://schemas.microsoft.com/office/drawing/2014/main" id="{54706A8B-6DA3-45CE-B598-6CB32C498888}"/>
                  </a:ext>
                </a:extLst>
              </p:cNvPr>
              <p:cNvCxnSpPr>
                <a:cxnSpLocks/>
              </p:cNvCxnSpPr>
              <p:nvPr/>
            </p:nvCxnSpPr>
            <p:spPr>
              <a:xfrm flipV="1">
                <a:off x="7567503" y="3041654"/>
                <a:ext cx="0" cy="369222"/>
              </a:xfrm>
              <a:prstGeom prst="line">
                <a:avLst/>
              </a:prstGeom>
              <a:ln w="12700" cap="rnd">
                <a:solidFill>
                  <a:schemeClr val="tx1"/>
                </a:solidFill>
                <a:round/>
              </a:ln>
            </p:spPr>
            <p:style>
              <a:lnRef idx="1">
                <a:schemeClr val="accent1"/>
              </a:lnRef>
              <a:fillRef idx="0">
                <a:schemeClr val="accent1"/>
              </a:fillRef>
              <a:effectRef idx="0">
                <a:schemeClr val="accent1"/>
              </a:effectRef>
              <a:fontRef idx="minor">
                <a:schemeClr val="tx1"/>
              </a:fontRef>
            </p:style>
          </p:cxnSp>
        </p:grpSp>
        <p:sp>
          <p:nvSpPr>
            <p:cNvPr id="169" name="TextBox 168">
              <a:extLst>
                <a:ext uri="{FF2B5EF4-FFF2-40B4-BE49-F238E27FC236}">
                  <a16:creationId xmlns:a16="http://schemas.microsoft.com/office/drawing/2014/main" id="{2546A1C9-1F59-4ADA-ACE9-5156611D6447}"/>
                </a:ext>
              </a:extLst>
            </p:cNvPr>
            <p:cNvSpPr txBox="1"/>
            <p:nvPr/>
          </p:nvSpPr>
          <p:spPr>
            <a:xfrm>
              <a:off x="7235272" y="2769645"/>
              <a:ext cx="669341" cy="272698"/>
            </a:xfrm>
            <a:prstGeom prst="rect">
              <a:avLst/>
            </a:prstGeom>
            <a:noFill/>
          </p:spPr>
          <p:txBody>
            <a:bodyPr wrap="none" lIns="36000" tIns="18000" rIns="36000" bIns="18000" rtlCol="0">
              <a:spAutoFit/>
            </a:bodyPr>
            <a:lstStyle/>
            <a:p>
              <a:pPr>
                <a:lnSpc>
                  <a:spcPct val="96000"/>
                </a:lnSpc>
              </a:pPr>
              <a:r>
                <a:rPr lang="en-US" sz="800" b="1" spc="-20" dirty="0">
                  <a:solidFill>
                    <a:schemeClr val="accent2"/>
                  </a:solidFill>
                </a:rPr>
                <a:t>Cork, Ireland</a:t>
              </a:r>
            </a:p>
            <a:p>
              <a:pPr indent="-90000">
                <a:lnSpc>
                  <a:spcPct val="96000"/>
                </a:lnSpc>
                <a:buFont typeface="Arial" panose="020B0604020202020204" pitchFamily="34" charset="0"/>
                <a:buChar char="–"/>
              </a:pPr>
              <a:r>
                <a:rPr lang="en-US" sz="800" spc="-20" dirty="0">
                  <a:solidFill>
                    <a:schemeClr val="accent2"/>
                  </a:solidFill>
                </a:rPr>
                <a:t>R&amp;D office</a:t>
              </a:r>
            </a:p>
          </p:txBody>
        </p:sp>
      </p:grpSp>
      <p:grpSp>
        <p:nvGrpSpPr>
          <p:cNvPr id="172" name="Group 171">
            <a:extLst>
              <a:ext uri="{FF2B5EF4-FFF2-40B4-BE49-F238E27FC236}">
                <a16:creationId xmlns:a16="http://schemas.microsoft.com/office/drawing/2014/main" id="{56FC7418-4B04-40C5-AB77-E7D8FC53BDA4}"/>
              </a:ext>
            </a:extLst>
          </p:cNvPr>
          <p:cNvGrpSpPr>
            <a:grpSpLocks/>
          </p:cNvGrpSpPr>
          <p:nvPr/>
        </p:nvGrpSpPr>
        <p:grpSpPr>
          <a:xfrm>
            <a:off x="2556671" y="3472614"/>
            <a:ext cx="719317" cy="390872"/>
            <a:chOff x="3167053" y="2986970"/>
            <a:chExt cx="775694" cy="390872"/>
          </a:xfrm>
        </p:grpSpPr>
        <p:grpSp>
          <p:nvGrpSpPr>
            <p:cNvPr id="173" name="Group 172">
              <a:extLst>
                <a:ext uri="{FF2B5EF4-FFF2-40B4-BE49-F238E27FC236}">
                  <a16:creationId xmlns:a16="http://schemas.microsoft.com/office/drawing/2014/main" id="{1106EAB1-4CD4-4F61-BE34-D955B1508585}"/>
                </a:ext>
              </a:extLst>
            </p:cNvPr>
            <p:cNvGrpSpPr/>
            <p:nvPr/>
          </p:nvGrpSpPr>
          <p:grpSpPr>
            <a:xfrm>
              <a:off x="3653898" y="3062990"/>
              <a:ext cx="286717" cy="108000"/>
              <a:chOff x="3653898" y="3062990"/>
              <a:chExt cx="286717" cy="108000"/>
            </a:xfrm>
          </p:grpSpPr>
          <p:sp>
            <p:nvSpPr>
              <p:cNvPr id="175" name="Oval 174">
                <a:extLst>
                  <a:ext uri="{FF2B5EF4-FFF2-40B4-BE49-F238E27FC236}">
                    <a16:creationId xmlns:a16="http://schemas.microsoft.com/office/drawing/2014/main" id="{BF14F235-1A57-400C-9EF5-0076089CF6C7}"/>
                  </a:ext>
                </a:extLst>
              </p:cNvPr>
              <p:cNvSpPr/>
              <p:nvPr/>
            </p:nvSpPr>
            <p:spPr>
              <a:xfrm rot="10800000" flipH="1" flipV="1">
                <a:off x="3832615" y="3062990"/>
                <a:ext cx="108000" cy="10800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7000"/>
                  </a:lnSpc>
                </a:pPr>
                <a:endParaRPr lang="en-US" dirty="0">
                  <a:solidFill>
                    <a:schemeClr val="accent2"/>
                  </a:solidFill>
                </a:endParaRPr>
              </a:p>
            </p:txBody>
          </p:sp>
          <p:cxnSp>
            <p:nvCxnSpPr>
              <p:cNvPr id="176" name="Straight Connector 175">
                <a:extLst>
                  <a:ext uri="{FF2B5EF4-FFF2-40B4-BE49-F238E27FC236}">
                    <a16:creationId xmlns:a16="http://schemas.microsoft.com/office/drawing/2014/main" id="{50FDEF6D-1C24-411C-80E4-B705D3DA49A2}"/>
                  </a:ext>
                </a:extLst>
              </p:cNvPr>
              <p:cNvCxnSpPr>
                <a:cxnSpLocks/>
              </p:cNvCxnSpPr>
              <p:nvPr/>
            </p:nvCxnSpPr>
            <p:spPr>
              <a:xfrm flipV="1">
                <a:off x="3653898" y="3116991"/>
                <a:ext cx="184395" cy="1"/>
              </a:xfrm>
              <a:prstGeom prst="line">
                <a:avLst/>
              </a:prstGeom>
              <a:ln w="12700" cap="rnd">
                <a:solidFill>
                  <a:schemeClr val="tx1"/>
                </a:solidFill>
                <a:round/>
              </a:ln>
            </p:spPr>
            <p:style>
              <a:lnRef idx="1">
                <a:schemeClr val="accent1"/>
              </a:lnRef>
              <a:fillRef idx="0">
                <a:schemeClr val="accent1"/>
              </a:fillRef>
              <a:effectRef idx="0">
                <a:schemeClr val="accent1"/>
              </a:effectRef>
              <a:fontRef idx="minor">
                <a:schemeClr val="tx1"/>
              </a:fontRef>
            </p:style>
          </p:cxnSp>
        </p:grpSp>
        <p:sp>
          <p:nvSpPr>
            <p:cNvPr id="174" name="TextBox 173">
              <a:extLst>
                <a:ext uri="{FF2B5EF4-FFF2-40B4-BE49-F238E27FC236}">
                  <a16:creationId xmlns:a16="http://schemas.microsoft.com/office/drawing/2014/main" id="{5DDA1D40-D520-4CE8-B32F-676C3209D2BA}"/>
                </a:ext>
              </a:extLst>
            </p:cNvPr>
            <p:cNvSpPr txBox="1"/>
            <p:nvPr/>
          </p:nvSpPr>
          <p:spPr>
            <a:xfrm>
              <a:off x="3167053" y="2986970"/>
              <a:ext cx="775694" cy="390872"/>
            </a:xfrm>
            <a:prstGeom prst="rect">
              <a:avLst/>
            </a:prstGeom>
            <a:noFill/>
          </p:spPr>
          <p:txBody>
            <a:bodyPr wrap="square" lIns="36000" tIns="18000" rIns="36000" bIns="18000" rtlCol="0">
              <a:spAutoFit/>
            </a:bodyPr>
            <a:lstStyle/>
            <a:p>
              <a:pPr>
                <a:lnSpc>
                  <a:spcPct val="96000"/>
                </a:lnSpc>
              </a:pPr>
              <a:r>
                <a:rPr lang="en-US" sz="800" b="1" spc="-20" dirty="0">
                  <a:solidFill>
                    <a:schemeClr val="accent2"/>
                  </a:solidFill>
                </a:rPr>
                <a:t>Fayetteville, Arkansas</a:t>
              </a:r>
            </a:p>
            <a:p>
              <a:pPr indent="-90000">
                <a:lnSpc>
                  <a:spcPct val="96000"/>
                </a:lnSpc>
                <a:buFont typeface="Arial" panose="020B0604020202020204" pitchFamily="34" charset="0"/>
                <a:buChar char="–"/>
              </a:pPr>
              <a:r>
                <a:rPr lang="en-US" sz="800" spc="-20" dirty="0">
                  <a:solidFill>
                    <a:schemeClr val="accent2"/>
                  </a:solidFill>
                </a:rPr>
                <a:t>R&amp;D</a:t>
              </a:r>
            </a:p>
          </p:txBody>
        </p:sp>
      </p:grpSp>
      <p:grpSp>
        <p:nvGrpSpPr>
          <p:cNvPr id="178" name="Group 177">
            <a:extLst>
              <a:ext uri="{FF2B5EF4-FFF2-40B4-BE49-F238E27FC236}">
                <a16:creationId xmlns:a16="http://schemas.microsoft.com/office/drawing/2014/main" id="{6A8C708C-3328-418F-BF5E-A264B18DDDDF}"/>
              </a:ext>
            </a:extLst>
          </p:cNvPr>
          <p:cNvGrpSpPr>
            <a:grpSpLocks/>
          </p:cNvGrpSpPr>
          <p:nvPr/>
        </p:nvGrpSpPr>
        <p:grpSpPr>
          <a:xfrm>
            <a:off x="3079482" y="3663080"/>
            <a:ext cx="100151" cy="346325"/>
            <a:chOff x="3832614" y="3062990"/>
            <a:chExt cx="108001" cy="346325"/>
          </a:xfrm>
        </p:grpSpPr>
        <p:sp>
          <p:nvSpPr>
            <p:cNvPr id="180" name="Oval 179">
              <a:extLst>
                <a:ext uri="{FF2B5EF4-FFF2-40B4-BE49-F238E27FC236}">
                  <a16:creationId xmlns:a16="http://schemas.microsoft.com/office/drawing/2014/main" id="{10D3D14C-1BBF-43D1-ADB8-96C341953453}"/>
                </a:ext>
              </a:extLst>
            </p:cNvPr>
            <p:cNvSpPr/>
            <p:nvPr/>
          </p:nvSpPr>
          <p:spPr>
            <a:xfrm rot="10800000" flipH="1" flipV="1">
              <a:off x="3832614" y="3062990"/>
              <a:ext cx="108001" cy="9544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7000"/>
                </a:lnSpc>
              </a:pPr>
              <a:endParaRPr lang="en-US" dirty="0">
                <a:solidFill>
                  <a:schemeClr val="accent2"/>
                </a:solidFill>
              </a:endParaRPr>
            </a:p>
          </p:txBody>
        </p:sp>
        <p:cxnSp>
          <p:nvCxnSpPr>
            <p:cNvPr id="181" name="Straight Connector 180">
              <a:extLst>
                <a:ext uri="{FF2B5EF4-FFF2-40B4-BE49-F238E27FC236}">
                  <a16:creationId xmlns:a16="http://schemas.microsoft.com/office/drawing/2014/main" id="{9B2B1966-71F4-48FB-9C34-DC1D3D9EB933}"/>
                </a:ext>
              </a:extLst>
            </p:cNvPr>
            <p:cNvCxnSpPr>
              <a:cxnSpLocks/>
            </p:cNvCxnSpPr>
            <p:nvPr/>
          </p:nvCxnSpPr>
          <p:spPr>
            <a:xfrm flipV="1">
              <a:off x="3880435" y="3123341"/>
              <a:ext cx="0" cy="285974"/>
            </a:xfrm>
            <a:prstGeom prst="line">
              <a:avLst/>
            </a:prstGeom>
            <a:ln w="12700" cap="rnd">
              <a:solidFill>
                <a:schemeClr val="tx1"/>
              </a:solidFill>
              <a:round/>
            </a:ln>
          </p:spPr>
          <p:style>
            <a:lnRef idx="1">
              <a:schemeClr val="accent1"/>
            </a:lnRef>
            <a:fillRef idx="0">
              <a:schemeClr val="accent1"/>
            </a:fillRef>
            <a:effectRef idx="0">
              <a:schemeClr val="accent1"/>
            </a:effectRef>
            <a:fontRef idx="minor">
              <a:schemeClr val="tx1"/>
            </a:fontRef>
          </p:style>
        </p:cxnSp>
      </p:grpSp>
      <p:sp>
        <p:nvSpPr>
          <p:cNvPr id="184" name="TextBox 183">
            <a:extLst>
              <a:ext uri="{FF2B5EF4-FFF2-40B4-BE49-F238E27FC236}">
                <a16:creationId xmlns:a16="http://schemas.microsoft.com/office/drawing/2014/main" id="{D08F1739-BBB5-4500-AAA9-A7AA6A6AEEF1}"/>
              </a:ext>
            </a:extLst>
          </p:cNvPr>
          <p:cNvSpPr txBox="1">
            <a:spLocks/>
          </p:cNvSpPr>
          <p:nvPr/>
        </p:nvSpPr>
        <p:spPr>
          <a:xfrm>
            <a:off x="3062114" y="4013433"/>
            <a:ext cx="909792" cy="272698"/>
          </a:xfrm>
          <a:prstGeom prst="rect">
            <a:avLst/>
          </a:prstGeom>
          <a:noFill/>
        </p:spPr>
        <p:txBody>
          <a:bodyPr wrap="none" lIns="36000" tIns="18000" rIns="36000" bIns="18000" rtlCol="0">
            <a:spAutoFit/>
          </a:bodyPr>
          <a:lstStyle/>
          <a:p>
            <a:pPr>
              <a:lnSpc>
                <a:spcPct val="96000"/>
              </a:lnSpc>
            </a:pPr>
            <a:r>
              <a:rPr lang="en-US" sz="800" b="1" spc="-20" dirty="0">
                <a:solidFill>
                  <a:schemeClr val="accent2"/>
                </a:solidFill>
              </a:rPr>
              <a:t>Houston, Texas</a:t>
            </a:r>
          </a:p>
          <a:p>
            <a:pPr indent="-90000">
              <a:lnSpc>
                <a:spcPct val="96000"/>
              </a:lnSpc>
              <a:buFont typeface="Arial" panose="020B0604020202020204" pitchFamily="34" charset="0"/>
              <a:buChar char="–"/>
            </a:pPr>
            <a:r>
              <a:rPr lang="en-US" sz="800" spc="-20" dirty="0" err="1">
                <a:solidFill>
                  <a:schemeClr val="accent2"/>
                </a:solidFill>
              </a:rPr>
              <a:t>BioAg</a:t>
            </a:r>
            <a:r>
              <a:rPr lang="en-US" sz="800" spc="-20" dirty="0">
                <a:solidFill>
                  <a:schemeClr val="accent2"/>
                </a:solidFill>
              </a:rPr>
              <a:t> production</a:t>
            </a:r>
          </a:p>
        </p:txBody>
      </p:sp>
      <p:sp>
        <p:nvSpPr>
          <p:cNvPr id="187" name="Title 2">
            <a:extLst>
              <a:ext uri="{FF2B5EF4-FFF2-40B4-BE49-F238E27FC236}">
                <a16:creationId xmlns:a16="http://schemas.microsoft.com/office/drawing/2014/main" id="{789D3B4C-5D97-4C2C-B750-CB6BBB17343F}"/>
              </a:ext>
            </a:extLst>
          </p:cNvPr>
          <p:cNvSpPr txBox="1">
            <a:spLocks/>
          </p:cNvSpPr>
          <p:nvPr/>
        </p:nvSpPr>
        <p:spPr>
          <a:xfrm>
            <a:off x="253111" y="5926566"/>
            <a:ext cx="3182164" cy="767005"/>
          </a:xfrm>
          <a:prstGeom prst="rect">
            <a:avLst/>
          </a:prstGeom>
        </p:spPr>
        <p:txBody>
          <a:bodyPr wrap="square" lIns="0" tIns="0" rIns="0" bIns="0">
            <a:spAutoFit/>
          </a:bodyPr>
          <a:lstStyle>
            <a:lvl1pPr algn="l" defTabSz="914400" rtl="0" eaLnBrk="1" latinLnBrk="0" hangingPunct="1">
              <a:lnSpc>
                <a:spcPct val="89000"/>
              </a:lnSpc>
              <a:spcBef>
                <a:spcPct val="0"/>
              </a:spcBef>
              <a:buNone/>
              <a:defRPr sz="3000" b="1" kern="1200">
                <a:solidFill>
                  <a:schemeClr val="tx1"/>
                </a:solidFill>
                <a:latin typeface="+mj-lt"/>
                <a:ea typeface="+mj-ea"/>
                <a:cs typeface="+mj-cs"/>
              </a:defRPr>
            </a:lvl1pPr>
          </a:lstStyle>
          <a:p>
            <a:pPr marL="0" marR="0" lvl="0" indent="0" algn="l" defTabSz="914400" rtl="0" eaLnBrk="1" fontAlgn="auto" latinLnBrk="0" hangingPunct="1">
              <a:lnSpc>
                <a:spcPct val="89000"/>
              </a:lnSpc>
              <a:spcBef>
                <a:spcPct val="0"/>
              </a:spcBef>
              <a:spcAft>
                <a:spcPts val="0"/>
              </a:spcAft>
              <a:buClrTx/>
              <a:buSzTx/>
              <a:buFontTx/>
              <a:buNone/>
              <a:tabLst/>
              <a:defRPr/>
            </a:pPr>
            <a:r>
              <a:rPr lang="en-US" sz="2800" dirty="0">
                <a:solidFill>
                  <a:srgbClr val="2D0028"/>
                </a:solidFill>
                <a:latin typeface="Novozymes" panose="020F0503040000020004" pitchFamily="34" charset="0"/>
                <a:sym typeface="Novozymes" panose="020F0503040000020004" pitchFamily="34" charset="0"/>
              </a:rPr>
              <a:t>20</a:t>
            </a:r>
            <a:r>
              <a:rPr kumimoji="0" lang="en-US" sz="1800" b="1" i="0" u="none" strike="noStrike" kern="1200" cap="none" spc="0" normalizeH="0" baseline="0" noProof="0" dirty="0">
                <a:ln>
                  <a:noFill/>
                </a:ln>
                <a:solidFill>
                  <a:srgbClr val="2D0028"/>
                </a:solidFill>
                <a:effectLst/>
                <a:uLnTx/>
                <a:uFillTx/>
                <a:latin typeface="Novozymes" panose="020F0503040000020004" pitchFamily="34" charset="0"/>
                <a:ea typeface="+mj-ea"/>
                <a:cs typeface="+mj-cs"/>
                <a:sym typeface="Novozymes" panose="020F0503040000020004" pitchFamily="34" charset="0"/>
              </a:rPr>
              <a:t> </a:t>
            </a:r>
            <a:r>
              <a:rPr kumimoji="0" lang="en-US" sz="2000" b="0" i="0" u="none" strike="noStrike" kern="1200" cap="none" spc="0" normalizeH="0" baseline="0" noProof="0" dirty="0">
                <a:ln>
                  <a:noFill/>
                </a:ln>
                <a:solidFill>
                  <a:srgbClr val="2D0028"/>
                </a:solidFill>
                <a:effectLst/>
                <a:uLnTx/>
                <a:uFillTx/>
                <a:latin typeface="Novozymes" panose="020F0503040000020004" pitchFamily="34" charset="0"/>
                <a:ea typeface="+mj-ea"/>
                <a:cs typeface="+mj-cs"/>
                <a:sym typeface="Novozymes" panose="020F0503040000020004" pitchFamily="34" charset="0"/>
              </a:rPr>
              <a:t>R&amp;D sites </a:t>
            </a:r>
            <a:r>
              <a:rPr kumimoji="0" lang="en-US" sz="1050" b="0" i="0" u="none" strike="noStrike" kern="1200" cap="none" spc="0" normalizeH="0" baseline="0" noProof="0" dirty="0">
                <a:ln>
                  <a:noFill/>
                </a:ln>
                <a:effectLst/>
                <a:uLnTx/>
                <a:uFillTx/>
                <a:latin typeface="Novozymes" panose="020F0503040000020004" pitchFamily="34" charset="0"/>
                <a:ea typeface="+mj-ea"/>
                <a:cs typeface="+mj-cs"/>
                <a:sym typeface="Novozymes" panose="020F0503040000020004" pitchFamily="34" charset="0"/>
              </a:rPr>
              <a:t>(10 labs, 10 offices)</a:t>
            </a:r>
          </a:p>
          <a:p>
            <a:pPr marL="0" marR="0" lvl="0" indent="0" algn="l" defTabSz="914400" rtl="0" eaLnBrk="1" fontAlgn="auto" latinLnBrk="0" hangingPunct="1">
              <a:lnSpc>
                <a:spcPct val="89000"/>
              </a:lnSpc>
              <a:spcBef>
                <a:spcPct val="0"/>
              </a:spcBef>
              <a:spcAft>
                <a:spcPts val="0"/>
              </a:spcAft>
              <a:buClrTx/>
              <a:buSzTx/>
              <a:buFontTx/>
              <a:buNone/>
              <a:tabLst>
                <a:tab pos="514350" algn="l"/>
              </a:tabLst>
              <a:defRPr/>
            </a:pPr>
            <a:r>
              <a:rPr kumimoji="0" lang="en-US" altLang="zh-CN" sz="2800" b="1" i="0" u="none" strike="noStrike" kern="1200" cap="none" spc="0" normalizeH="0" baseline="0" noProof="0" dirty="0">
                <a:ln>
                  <a:noFill/>
                </a:ln>
                <a:solidFill>
                  <a:srgbClr val="2D0028"/>
                </a:solidFill>
                <a:effectLst/>
                <a:uLnTx/>
                <a:uFillTx/>
                <a:latin typeface="Novozymes" panose="020F0503040000020004" pitchFamily="34" charset="0"/>
                <a:ea typeface="+mj-ea"/>
                <a:cs typeface="+mj-cs"/>
                <a:sym typeface="Novozymes" panose="020F0503040000020004" pitchFamily="34" charset="0"/>
              </a:rPr>
              <a:t>16</a:t>
            </a:r>
            <a:r>
              <a:rPr kumimoji="0" lang="en-US" sz="1800" b="1" i="0" u="none" strike="noStrike" kern="1200" cap="none" spc="0" normalizeH="0" baseline="0" noProof="0" dirty="0">
                <a:ln>
                  <a:noFill/>
                </a:ln>
                <a:solidFill>
                  <a:srgbClr val="2D0028"/>
                </a:solidFill>
                <a:effectLst/>
                <a:uLnTx/>
                <a:uFillTx/>
                <a:latin typeface="Novozymes" panose="020F0503040000020004" pitchFamily="34" charset="0"/>
                <a:ea typeface="+mj-ea"/>
                <a:cs typeface="+mj-cs"/>
                <a:sym typeface="Novozymes" panose="020F0503040000020004" pitchFamily="34" charset="0"/>
              </a:rPr>
              <a:t> </a:t>
            </a:r>
            <a:r>
              <a:rPr kumimoji="0" lang="en-US" sz="2000" b="0" i="0" u="none" strike="noStrike" kern="1200" cap="none" spc="0" normalizeH="0" baseline="0" noProof="0" dirty="0">
                <a:ln>
                  <a:noFill/>
                </a:ln>
                <a:solidFill>
                  <a:srgbClr val="2D0028"/>
                </a:solidFill>
                <a:effectLst/>
                <a:uLnTx/>
                <a:uFillTx/>
                <a:latin typeface="Novozymes" panose="020F0503040000020004" pitchFamily="34" charset="0"/>
                <a:ea typeface="+mj-ea"/>
                <a:cs typeface="+mj-cs"/>
                <a:sym typeface="Novozymes" panose="020F0503040000020004" pitchFamily="34" charset="0"/>
              </a:rPr>
              <a:t>Production sites</a:t>
            </a:r>
          </a:p>
        </p:txBody>
      </p:sp>
      <p:sp>
        <p:nvSpPr>
          <p:cNvPr id="188" name="Oval 187">
            <a:extLst>
              <a:ext uri="{FF2B5EF4-FFF2-40B4-BE49-F238E27FC236}">
                <a16:creationId xmlns:a16="http://schemas.microsoft.com/office/drawing/2014/main" id="{72B9A5B7-6F22-4E90-9A62-E90D89786BC2}"/>
              </a:ext>
            </a:extLst>
          </p:cNvPr>
          <p:cNvSpPr>
            <a:spLocks/>
          </p:cNvSpPr>
          <p:nvPr/>
        </p:nvSpPr>
        <p:spPr>
          <a:xfrm rot="10800000" flipH="1" flipV="1">
            <a:off x="3437147" y="3569128"/>
            <a:ext cx="117957" cy="117957"/>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7000"/>
              </a:lnSpc>
            </a:pPr>
            <a:endParaRPr lang="en-US" dirty="0">
              <a:solidFill>
                <a:schemeClr val="accent2"/>
              </a:solidFill>
            </a:endParaRPr>
          </a:p>
        </p:txBody>
      </p:sp>
    </p:spTree>
    <p:custDataLst>
      <p:tags r:id="rId1"/>
    </p:custDataLst>
    <p:extLst>
      <p:ext uri="{BB962C8B-B14F-4D97-AF65-F5344CB8AC3E}">
        <p14:creationId xmlns:p14="http://schemas.microsoft.com/office/powerpoint/2010/main" val="28544373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E69C8AA-EF3C-47B4-B335-52967ABA287D}"/>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0" y="0"/>
            <a:ext cx="12192000" cy="6858000"/>
          </a:xfrm>
          <a:prstGeom prst="rect">
            <a:avLst/>
          </a:prstGeom>
        </p:spPr>
      </p:pic>
      <p:pic>
        <p:nvPicPr>
          <p:cNvPr id="6" name="Picture 5">
            <a:extLst>
              <a:ext uri="{FF2B5EF4-FFF2-40B4-BE49-F238E27FC236}">
                <a16:creationId xmlns:a16="http://schemas.microsoft.com/office/drawing/2014/main" id="{7C2A83E1-74B6-47CF-9A00-81723A60F2EB}"/>
              </a:ext>
            </a:extLst>
          </p:cNvPr>
          <p:cNvPicPr>
            <a:picLocks noChangeAspect="1"/>
          </p:cNvPicPr>
          <p:nvPr/>
        </p:nvPicPr>
        <p:blipFill rotWithShape="1">
          <a:blip r:embed="rId4" cstate="screen">
            <a:extLst>
              <a:ext uri="{28A0092B-C50C-407E-A947-70E740481C1C}">
                <a14:useLocalDpi xmlns:a14="http://schemas.microsoft.com/office/drawing/2010/main" val="0"/>
              </a:ext>
            </a:extLst>
          </a:blip>
          <a:srcRect/>
          <a:stretch/>
        </p:blipFill>
        <p:spPr>
          <a:xfrm>
            <a:off x="10224000" y="6238800"/>
            <a:ext cx="1476320" cy="434959"/>
          </a:xfrm>
          <a:prstGeom prst="rect">
            <a:avLst/>
          </a:prstGeom>
        </p:spPr>
      </p:pic>
      <p:pic>
        <p:nvPicPr>
          <p:cNvPr id="7" name="Picture 6">
            <a:extLst>
              <a:ext uri="{FF2B5EF4-FFF2-40B4-BE49-F238E27FC236}">
                <a16:creationId xmlns:a16="http://schemas.microsoft.com/office/drawing/2014/main" id="{62564ED2-2E88-4DF3-9E25-A616420FD9B5}"/>
              </a:ext>
            </a:extLst>
          </p:cNvPr>
          <p:cNvPicPr>
            <a:picLocks noChangeAspect="1"/>
          </p:cNvPicPr>
          <p:nvPr/>
        </p:nvPicPr>
        <p:blipFill rotWithShape="1">
          <a:blip r:embed="rId5"/>
          <a:srcRect/>
          <a:stretch/>
        </p:blipFill>
        <p:spPr>
          <a:xfrm>
            <a:off x="221603" y="431663"/>
            <a:ext cx="5200339" cy="816935"/>
          </a:xfrm>
          <a:prstGeom prst="rect">
            <a:avLst/>
          </a:prstGeom>
        </p:spPr>
      </p:pic>
    </p:spTree>
    <p:extLst>
      <p:ext uri="{BB962C8B-B14F-4D97-AF65-F5344CB8AC3E}">
        <p14:creationId xmlns:p14="http://schemas.microsoft.com/office/powerpoint/2010/main" val="232545277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9B352DC-8D70-4110-877E-B3D60BC22C91}"/>
              </a:ext>
            </a:extLst>
          </p:cNvPr>
          <p:cNvPicPr>
            <a:picLocks noChangeAspect="1"/>
          </p:cNvPicPr>
          <p:nvPr/>
        </p:nvPicPr>
        <p:blipFill rotWithShape="1">
          <a:blip r:embed="rId3"/>
          <a:srcRect/>
          <a:stretch/>
        </p:blipFill>
        <p:spPr>
          <a:xfrm>
            <a:off x="0" y="0"/>
            <a:ext cx="12192000" cy="6708342"/>
          </a:xfrm>
          <a:prstGeom prst="rect">
            <a:avLst/>
          </a:prstGeom>
        </p:spPr>
      </p:pic>
      <p:sp>
        <p:nvSpPr>
          <p:cNvPr id="4" name="Title 1" hidden="1">
            <a:extLst>
              <a:ext uri="{FF2B5EF4-FFF2-40B4-BE49-F238E27FC236}">
                <a16:creationId xmlns:a16="http://schemas.microsoft.com/office/drawing/2014/main" id="{0F0004AD-684F-4241-AE6C-B98132190697}"/>
              </a:ext>
            </a:extLst>
          </p:cNvPr>
          <p:cNvSpPr>
            <a:spLocks noGrp="1"/>
          </p:cNvSpPr>
          <p:nvPr>
            <p:ph type="title"/>
          </p:nvPr>
        </p:nvSpPr>
        <p:spPr>
          <a:xfrm>
            <a:off x="423004" y="217157"/>
            <a:ext cx="3772478" cy="324156"/>
          </a:xfrm>
        </p:spPr>
        <p:txBody>
          <a:bodyPr/>
          <a:lstStyle/>
          <a:p>
            <a:r>
              <a:rPr lang="en-US" sz="1050" dirty="0">
                <a:solidFill>
                  <a:schemeClr val="bg1"/>
                </a:solidFill>
              </a:rPr>
              <a:t>Sustainability drives how we do business</a:t>
            </a:r>
          </a:p>
        </p:txBody>
      </p:sp>
    </p:spTree>
    <p:extLst>
      <p:ext uri="{BB962C8B-B14F-4D97-AF65-F5344CB8AC3E}">
        <p14:creationId xmlns:p14="http://schemas.microsoft.com/office/powerpoint/2010/main" val="358494664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1B20E35-5BDF-421D-9A80-E718103471B1}"/>
              </a:ext>
            </a:extLst>
          </p:cNvPr>
          <p:cNvSpPr>
            <a:spLocks noGrp="1"/>
          </p:cNvSpPr>
          <p:nvPr>
            <p:ph type="ctrTitle"/>
          </p:nvPr>
        </p:nvSpPr>
        <p:spPr>
          <a:xfrm>
            <a:off x="1184910" y="1652269"/>
            <a:ext cx="5365180" cy="1770063"/>
          </a:xfrm>
        </p:spPr>
        <p:txBody>
          <a:bodyPr/>
          <a:lstStyle/>
          <a:p>
            <a:r>
              <a:rPr lang="en-US" sz="3200" dirty="0"/>
              <a:t>Novozymes </a:t>
            </a:r>
            <a:r>
              <a:rPr lang="en-US" sz="3200" dirty="0" err="1"/>
              <a:t>Fuglebakken</a:t>
            </a:r>
            <a:br>
              <a:rPr lang="en-US" sz="3200" dirty="0"/>
            </a:br>
            <a:r>
              <a:rPr lang="en-US" sz="3200" dirty="0"/>
              <a:t>Energy</a:t>
            </a:r>
          </a:p>
        </p:txBody>
      </p:sp>
      <p:sp>
        <p:nvSpPr>
          <p:cNvPr id="4" name="Subtitle 3">
            <a:extLst>
              <a:ext uri="{FF2B5EF4-FFF2-40B4-BE49-F238E27FC236}">
                <a16:creationId xmlns:a16="http://schemas.microsoft.com/office/drawing/2014/main" id="{74B5A1E4-12B6-45F9-89B6-9E8CDBFB9139}"/>
              </a:ext>
            </a:extLst>
          </p:cNvPr>
          <p:cNvSpPr>
            <a:spLocks noGrp="1"/>
          </p:cNvSpPr>
          <p:nvPr>
            <p:ph type="subTitle" idx="1"/>
          </p:nvPr>
        </p:nvSpPr>
        <p:spPr/>
        <p:txBody>
          <a:bodyPr/>
          <a:lstStyle/>
          <a:p>
            <a:r>
              <a:rPr lang="en-US" dirty="0"/>
              <a:t>LAJH/LTBC</a:t>
            </a:r>
          </a:p>
        </p:txBody>
      </p:sp>
      <p:sp>
        <p:nvSpPr>
          <p:cNvPr id="5" name="Text Placeholder 4">
            <a:extLst>
              <a:ext uri="{FF2B5EF4-FFF2-40B4-BE49-F238E27FC236}">
                <a16:creationId xmlns:a16="http://schemas.microsoft.com/office/drawing/2014/main" id="{7F6D1D44-6E3F-4483-AAB7-79396CE3ADAC}"/>
              </a:ext>
            </a:extLst>
          </p:cNvPr>
          <p:cNvSpPr>
            <a:spLocks noGrp="1"/>
          </p:cNvSpPr>
          <p:nvPr>
            <p:ph type="body" sz="quarter" idx="13"/>
          </p:nvPr>
        </p:nvSpPr>
        <p:spPr/>
        <p:txBody>
          <a:bodyPr/>
          <a:lstStyle/>
          <a:p>
            <a:r>
              <a:rPr lang="en-US" dirty="0"/>
              <a:t>11.10.2021</a:t>
            </a:r>
          </a:p>
        </p:txBody>
      </p:sp>
    </p:spTree>
    <p:extLst>
      <p:ext uri="{BB962C8B-B14F-4D97-AF65-F5344CB8AC3E}">
        <p14:creationId xmlns:p14="http://schemas.microsoft.com/office/powerpoint/2010/main" val="18194248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p:cNvSpPr/>
          <p:nvPr/>
        </p:nvSpPr>
        <p:spPr>
          <a:xfrm rot="21220608">
            <a:off x="-733654" y="-716553"/>
            <a:ext cx="13049026" cy="17406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7000"/>
              </a:lnSpc>
            </a:pPr>
            <a:endParaRPr lang="da-DK" dirty="0" err="1">
              <a:solidFill>
                <a:schemeClr val="tx1"/>
              </a:solidFill>
            </a:endParaRPr>
          </a:p>
        </p:txBody>
      </p:sp>
      <p:sp>
        <p:nvSpPr>
          <p:cNvPr id="21" name="Flowchart: Manual Input 20"/>
          <p:cNvSpPr/>
          <p:nvPr/>
        </p:nvSpPr>
        <p:spPr>
          <a:xfrm>
            <a:off x="6103620" y="809614"/>
            <a:ext cx="6065520" cy="3262257"/>
          </a:xfrm>
          <a:prstGeom prst="flowChartManualInpu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7000"/>
              </a:lnSpc>
            </a:pPr>
            <a:endParaRPr lang="en-GB" dirty="0" err="1">
              <a:solidFill>
                <a:schemeClr val="tx1"/>
              </a:solidFill>
            </a:endParaRPr>
          </a:p>
        </p:txBody>
      </p:sp>
      <p:sp>
        <p:nvSpPr>
          <p:cNvPr id="23" name="Flowchart: Manual Input 22"/>
          <p:cNvSpPr/>
          <p:nvPr/>
        </p:nvSpPr>
        <p:spPr>
          <a:xfrm rot="10800000" flipH="1">
            <a:off x="6103620" y="3702423"/>
            <a:ext cx="6065520" cy="3262257"/>
          </a:xfrm>
          <a:prstGeom prst="flowChartManualInpu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7000"/>
              </a:lnSpc>
            </a:pPr>
            <a:endParaRPr lang="en-GB" dirty="0" err="1">
              <a:solidFill>
                <a:schemeClr val="tx1"/>
              </a:solidFill>
            </a:endParaRPr>
          </a:p>
        </p:txBody>
      </p:sp>
      <p:sp>
        <p:nvSpPr>
          <p:cNvPr id="2" name="TextBox 1"/>
          <p:cNvSpPr txBox="1"/>
          <p:nvPr/>
        </p:nvSpPr>
        <p:spPr>
          <a:xfrm>
            <a:off x="549215" y="2449502"/>
            <a:ext cx="3826842" cy="3940502"/>
          </a:xfrm>
          <a:prstGeom prst="rect">
            <a:avLst/>
          </a:prstGeom>
          <a:noFill/>
        </p:spPr>
        <p:txBody>
          <a:bodyPr wrap="square" lIns="0" tIns="0" rIns="0" bIns="0" rtlCol="0">
            <a:spAutoFit/>
          </a:bodyPr>
          <a:lstStyle/>
          <a:p>
            <a:pPr>
              <a:lnSpc>
                <a:spcPct val="97000"/>
              </a:lnSpc>
            </a:pPr>
            <a:r>
              <a:rPr lang="en-GB" u="sng" dirty="0" err="1"/>
              <a:t>Bagsværd</a:t>
            </a:r>
            <a:r>
              <a:rPr lang="en-GB" sz="1400" u="sng" dirty="0"/>
              <a:t> </a:t>
            </a:r>
            <a:br>
              <a:rPr lang="en-GB" sz="1400" u="sng" dirty="0"/>
            </a:br>
            <a:endParaRPr lang="en-GB" sz="1400" u="sng" dirty="0"/>
          </a:p>
          <a:p>
            <a:pPr marL="285750" indent="-285750">
              <a:lnSpc>
                <a:spcPct val="97000"/>
              </a:lnSpc>
              <a:buFont typeface="Arial" panose="020B0604020202020204" pitchFamily="34" charset="0"/>
              <a:buChar char="•"/>
            </a:pPr>
            <a:r>
              <a:rPr lang="en-GB" sz="1400" dirty="0"/>
              <a:t>Novozymes headquarter</a:t>
            </a:r>
          </a:p>
          <a:p>
            <a:pPr marL="285750" indent="-285750">
              <a:lnSpc>
                <a:spcPct val="97000"/>
              </a:lnSpc>
              <a:buFont typeface="Arial" panose="020B0604020202020204" pitchFamily="34" charset="0"/>
              <a:buChar char="•"/>
            </a:pPr>
            <a:r>
              <a:rPr lang="en-GB" sz="1400" dirty="0"/>
              <a:t>Established in 1965</a:t>
            </a:r>
          </a:p>
          <a:p>
            <a:pPr>
              <a:lnSpc>
                <a:spcPct val="97000"/>
              </a:lnSpc>
            </a:pPr>
            <a:endParaRPr lang="en-GB" sz="1400" dirty="0"/>
          </a:p>
          <a:p>
            <a:pPr>
              <a:lnSpc>
                <a:spcPct val="97000"/>
              </a:lnSpc>
            </a:pPr>
            <a:endParaRPr lang="en-GB" sz="1400" dirty="0"/>
          </a:p>
          <a:p>
            <a:pPr>
              <a:lnSpc>
                <a:spcPct val="97000"/>
              </a:lnSpc>
            </a:pPr>
            <a:r>
              <a:rPr lang="en-GB" u="sng" dirty="0" err="1"/>
              <a:t>Kalundborg</a:t>
            </a:r>
            <a:br>
              <a:rPr lang="en-GB" sz="1400" u="sng" dirty="0"/>
            </a:br>
            <a:endParaRPr lang="en-GB" sz="1400" u="sng" dirty="0"/>
          </a:p>
          <a:p>
            <a:pPr marL="285750" indent="-285750">
              <a:lnSpc>
                <a:spcPct val="97000"/>
              </a:lnSpc>
              <a:buFont typeface="Arial" panose="020B0604020202020204" pitchFamily="34" charset="0"/>
              <a:buChar char="•"/>
            </a:pPr>
            <a:r>
              <a:rPr lang="en-US" sz="1400" dirty="0"/>
              <a:t>The world's largest and most high-tech enzyme plant</a:t>
            </a:r>
          </a:p>
          <a:p>
            <a:pPr marL="285750" indent="-285750">
              <a:lnSpc>
                <a:spcPct val="97000"/>
              </a:lnSpc>
              <a:buFont typeface="Arial" panose="020B0604020202020204" pitchFamily="34" charset="0"/>
              <a:buChar char="•"/>
            </a:pPr>
            <a:r>
              <a:rPr lang="da-DK" sz="1400" dirty="0" err="1"/>
              <a:t>Established</a:t>
            </a:r>
            <a:r>
              <a:rPr lang="da-DK" sz="1400" dirty="0"/>
              <a:t> in 1969</a:t>
            </a:r>
          </a:p>
          <a:p>
            <a:pPr marL="285750" indent="-285750">
              <a:lnSpc>
                <a:spcPct val="97000"/>
              </a:lnSpc>
              <a:buFont typeface="Arial" panose="020B0604020202020204" pitchFamily="34" charset="0"/>
              <a:buChar char="•"/>
            </a:pPr>
            <a:r>
              <a:rPr lang="da-DK" sz="1400" dirty="0"/>
              <a:t>600+ employés</a:t>
            </a:r>
            <a:br>
              <a:rPr lang="en-GB" sz="1400" dirty="0"/>
            </a:br>
            <a:endParaRPr lang="en-GB" sz="1400" dirty="0"/>
          </a:p>
          <a:p>
            <a:pPr>
              <a:lnSpc>
                <a:spcPct val="97000"/>
              </a:lnSpc>
            </a:pPr>
            <a:endParaRPr lang="en-GB" sz="1400" dirty="0"/>
          </a:p>
          <a:p>
            <a:pPr>
              <a:lnSpc>
                <a:spcPct val="97000"/>
              </a:lnSpc>
            </a:pPr>
            <a:r>
              <a:rPr lang="en-GB" u="sng" dirty="0" err="1"/>
              <a:t>Fuglebakken</a:t>
            </a:r>
            <a:br>
              <a:rPr lang="en-GB" sz="1400" u="sng" dirty="0"/>
            </a:br>
            <a:endParaRPr lang="en-GB" sz="1400" u="sng" dirty="0"/>
          </a:p>
          <a:p>
            <a:pPr marL="285750" indent="-285750">
              <a:lnSpc>
                <a:spcPct val="97000"/>
              </a:lnSpc>
              <a:buFont typeface="Arial" panose="020B0604020202020204" pitchFamily="34" charset="0"/>
              <a:buChar char="•"/>
            </a:pPr>
            <a:r>
              <a:rPr lang="en-GB" sz="1400" dirty="0"/>
              <a:t>Novozymes first enzyme site</a:t>
            </a:r>
          </a:p>
          <a:p>
            <a:pPr marL="285750" indent="-285750">
              <a:lnSpc>
                <a:spcPct val="97000"/>
              </a:lnSpc>
              <a:buFont typeface="Arial" panose="020B0604020202020204" pitchFamily="34" charset="0"/>
              <a:buChar char="•"/>
            </a:pPr>
            <a:r>
              <a:rPr lang="da-DK" sz="1400" dirty="0" err="1"/>
              <a:t>Established</a:t>
            </a:r>
            <a:r>
              <a:rPr lang="da-DK" sz="1400" dirty="0"/>
              <a:t> in the 1930’s</a:t>
            </a:r>
            <a:endParaRPr lang="en-GB" sz="1400" dirty="0"/>
          </a:p>
        </p:txBody>
      </p:sp>
      <p:pic>
        <p:nvPicPr>
          <p:cNvPr id="1029" name="Picture 5" descr="http://kort.krak.dk/borgerdk.kortsoegning/images_png/oversigt.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278880" y="1486217"/>
            <a:ext cx="5829300" cy="4829176"/>
          </a:xfrm>
          <a:prstGeom prst="rect">
            <a:avLst/>
          </a:prstGeom>
          <a:noFill/>
          <a:extLst>
            <a:ext uri="{909E8E84-426E-40DD-AFC4-6F175D3DCCD1}">
              <a14:hiddenFill xmlns:a14="http://schemas.microsoft.com/office/drawing/2010/main">
                <a:solidFill>
                  <a:srgbClr val="FFFFFF"/>
                </a:solidFill>
              </a14:hiddenFill>
            </a:ext>
          </a:extLst>
        </p:spPr>
      </p:pic>
      <p:pic>
        <p:nvPicPr>
          <p:cNvPr id="1033" name="Picture 9" descr="http://www.novozymes.com/en/news/image/PublishingImages/NZ_Secondary_Purple_RGB.png"/>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a:stretch/>
        </p:blipFill>
        <p:spPr bwMode="auto">
          <a:xfrm>
            <a:off x="8648454" y="4491162"/>
            <a:ext cx="236465" cy="228218"/>
          </a:xfrm>
          <a:prstGeom prst="rect">
            <a:avLst/>
          </a:prstGeom>
          <a:noFill/>
          <a:ln>
            <a:noFill/>
          </a:ln>
          <a:effectLst>
            <a:glow rad="25400">
              <a:srgbClr val="FF0000">
                <a:alpha val="40000"/>
              </a:srgbClr>
            </a:glow>
          </a:effectLst>
          <a:extLst>
            <a:ext uri="{909E8E84-426E-40DD-AFC4-6F175D3DCCD1}">
              <a14:hiddenFill xmlns:a14="http://schemas.microsoft.com/office/drawing/2010/main">
                <a:solidFill>
                  <a:srgbClr val="FFFFFF"/>
                </a:solidFill>
              </a14:hiddenFill>
            </a:ext>
          </a:extLst>
        </p:spPr>
      </p:pic>
      <p:pic>
        <p:nvPicPr>
          <p:cNvPr id="1039" name="Picture 15" descr="https://upload.wikimedia.org/wikipedia/en/c/c1/Novozymes_Bagsvaerd,_Copenhagen_HQ.jp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0423708" y="807711"/>
            <a:ext cx="1778786" cy="1174846"/>
          </a:xfrm>
          <a:prstGeom prst="rect">
            <a:avLst/>
          </a:prstGeom>
          <a:noFill/>
          <a:ln w="34925">
            <a:solidFill>
              <a:schemeClr val="accent1"/>
            </a:solidFill>
          </a:ln>
          <a:extLst>
            <a:ext uri="{909E8E84-426E-40DD-AFC4-6F175D3DCCD1}">
              <a14:hiddenFill xmlns:a14="http://schemas.microsoft.com/office/drawing/2010/main">
                <a:solidFill>
                  <a:srgbClr val="FFFFFF"/>
                </a:solidFill>
              </a14:hiddenFill>
            </a:ext>
          </a:extLst>
        </p:spPr>
      </p:pic>
      <p:pic>
        <p:nvPicPr>
          <p:cNvPr id="16" name="Picture 9" descr="http://www.novozymes.com/en/news/image/PublishingImages/NZ_Secondary_Purple_RGB.png"/>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a:stretch/>
        </p:blipFill>
        <p:spPr bwMode="auto">
          <a:xfrm>
            <a:off x="9726806" y="4440804"/>
            <a:ext cx="236465" cy="228218"/>
          </a:xfrm>
          <a:prstGeom prst="rect">
            <a:avLst/>
          </a:prstGeom>
          <a:noFill/>
          <a:effectLst>
            <a:glow rad="25400">
              <a:srgbClr val="92D050">
                <a:alpha val="40000"/>
              </a:srgbClr>
            </a:glow>
          </a:effectLst>
          <a:extLst>
            <a:ext uri="{909E8E84-426E-40DD-AFC4-6F175D3DCCD1}">
              <a14:hiddenFill xmlns:a14="http://schemas.microsoft.com/office/drawing/2010/main">
                <a:solidFill>
                  <a:srgbClr val="FFFFFF"/>
                </a:solidFill>
              </a14:hiddenFill>
            </a:ext>
          </a:extLst>
        </p:spPr>
      </p:pic>
      <p:pic>
        <p:nvPicPr>
          <p:cNvPr id="17" name="Picture 9" descr="http://www.novozymes.com/en/news/image/PublishingImages/NZ_Secondary_Purple_RGB.png"/>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a:stretch/>
        </p:blipFill>
        <p:spPr bwMode="auto">
          <a:xfrm>
            <a:off x="9623814" y="4319075"/>
            <a:ext cx="236465" cy="228218"/>
          </a:xfrm>
          <a:prstGeom prst="rect">
            <a:avLst/>
          </a:prstGeom>
          <a:noFill/>
          <a:effectLst>
            <a:glow rad="25400">
              <a:srgbClr val="00B0F0">
                <a:alpha val="40000"/>
              </a:srgbClr>
            </a:glow>
          </a:effectLst>
          <a:extLst>
            <a:ext uri="{909E8E84-426E-40DD-AFC4-6F175D3DCCD1}">
              <a14:hiddenFill xmlns:a14="http://schemas.microsoft.com/office/drawing/2010/main">
                <a:solidFill>
                  <a:srgbClr val="FFFFFF"/>
                </a:solidFill>
              </a14:hiddenFill>
            </a:ext>
          </a:extLst>
        </p:spPr>
      </p:pic>
      <p:pic>
        <p:nvPicPr>
          <p:cNvPr id="1035" name="Picture 11" descr="http://www.novozymes.com/en/news/image/Pictures/sitekabig.jp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0423708" y="1982557"/>
            <a:ext cx="1775277" cy="1344448"/>
          </a:xfrm>
          <a:prstGeom prst="rect">
            <a:avLst/>
          </a:prstGeom>
          <a:noFill/>
          <a:ln w="34925">
            <a:solidFill>
              <a:srgbClr val="C5DA00"/>
            </a:solidFill>
          </a:ln>
          <a:extLst>
            <a:ext uri="{909E8E84-426E-40DD-AFC4-6F175D3DCCD1}">
              <a14:hiddenFill xmlns:a14="http://schemas.microsoft.com/office/drawing/2010/main">
                <a:solidFill>
                  <a:srgbClr val="FFFFFF"/>
                </a:solidFill>
              </a14:hiddenFill>
            </a:ext>
          </a:extLst>
        </p:spPr>
      </p:pic>
      <p:pic>
        <p:nvPicPr>
          <p:cNvPr id="1037" name="Picture 13" descr="http://www.novozymes.com/en/news/image/Pictures/headquarters_5a.jpg"/>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a:stretch/>
        </p:blipFill>
        <p:spPr bwMode="auto">
          <a:xfrm>
            <a:off x="10423708" y="3319385"/>
            <a:ext cx="1767657" cy="1057707"/>
          </a:xfrm>
          <a:prstGeom prst="rect">
            <a:avLst/>
          </a:prstGeom>
          <a:noFill/>
          <a:ln w="34925">
            <a:solidFill>
              <a:srgbClr val="C5DA00"/>
            </a:solidFill>
          </a:ln>
          <a:extLst>
            <a:ext uri="{909E8E84-426E-40DD-AFC4-6F175D3DCCD1}">
              <a14:hiddenFill xmlns:a14="http://schemas.microsoft.com/office/drawing/2010/main">
                <a:solidFill>
                  <a:srgbClr val="FFFFFF"/>
                </a:solidFill>
              </a14:hiddenFill>
            </a:ext>
          </a:extLst>
        </p:spPr>
      </p:pic>
      <p:sp>
        <p:nvSpPr>
          <p:cNvPr id="10" name="Rectangle 9"/>
          <p:cNvSpPr/>
          <p:nvPr/>
        </p:nvSpPr>
        <p:spPr>
          <a:xfrm rot="21226731">
            <a:off x="9520948" y="577156"/>
            <a:ext cx="2707005" cy="345786"/>
          </a:xfrm>
          <a:prstGeom prst="rect">
            <a:avLst/>
          </a:prstGeom>
          <a:solidFill>
            <a:srgbClr val="DBDDDB"/>
          </a:solidFill>
          <a:ln w="34925">
            <a:solidFill>
              <a:srgbClr val="DBDDDB"/>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7000"/>
              </a:lnSpc>
            </a:pPr>
            <a:endParaRPr lang="en-GB" dirty="0" err="1">
              <a:solidFill>
                <a:schemeClr val="tx1"/>
              </a:solidFill>
            </a:endParaRPr>
          </a:p>
        </p:txBody>
      </p:sp>
      <p:pic>
        <p:nvPicPr>
          <p:cNvPr id="19" name="Picture 9" descr="http://www.novozymes.com/en/news/image/PublishingImages/NZ_Secondary_Purple_RGB.png"/>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a:stretch/>
        </p:blipFill>
        <p:spPr bwMode="auto">
          <a:xfrm>
            <a:off x="268013" y="3792320"/>
            <a:ext cx="236465" cy="228218"/>
          </a:xfrm>
          <a:prstGeom prst="rect">
            <a:avLst/>
          </a:prstGeom>
          <a:noFill/>
          <a:ln>
            <a:noFill/>
          </a:ln>
          <a:effectLst>
            <a:glow rad="25400">
              <a:srgbClr val="FF0000">
                <a:alpha val="40000"/>
              </a:srgbClr>
            </a:glow>
          </a:effectLst>
          <a:extLst>
            <a:ext uri="{909E8E84-426E-40DD-AFC4-6F175D3DCCD1}">
              <a14:hiddenFill xmlns:a14="http://schemas.microsoft.com/office/drawing/2010/main">
                <a:solidFill>
                  <a:srgbClr val="FFFFFF"/>
                </a:solidFill>
              </a14:hiddenFill>
            </a:ext>
          </a:extLst>
        </p:spPr>
      </p:pic>
      <p:pic>
        <p:nvPicPr>
          <p:cNvPr id="20" name="Picture 9" descr="http://www.novozymes.com/en/news/image/PublishingImages/NZ_Secondary_Purple_RGB.png"/>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a:stretch/>
        </p:blipFill>
        <p:spPr bwMode="auto">
          <a:xfrm>
            <a:off x="268012" y="2443862"/>
            <a:ext cx="236465" cy="228218"/>
          </a:xfrm>
          <a:prstGeom prst="rect">
            <a:avLst/>
          </a:prstGeom>
          <a:noFill/>
          <a:effectLst>
            <a:glow rad="25400">
              <a:srgbClr val="00B0F0">
                <a:alpha val="40000"/>
              </a:srgbClr>
            </a:glow>
          </a:effectLst>
          <a:extLst>
            <a:ext uri="{909E8E84-426E-40DD-AFC4-6F175D3DCCD1}">
              <a14:hiddenFill xmlns:a14="http://schemas.microsoft.com/office/drawing/2010/main">
                <a:solidFill>
                  <a:srgbClr val="FFFFFF"/>
                </a:solidFill>
              </a14:hiddenFill>
            </a:ext>
          </a:extLst>
        </p:spPr>
      </p:pic>
      <p:pic>
        <p:nvPicPr>
          <p:cNvPr id="22" name="Picture 9" descr="http://www.novozymes.com/en/news/image/PublishingImages/NZ_Secondary_Purple_RGB.png"/>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a:stretch/>
        </p:blipFill>
        <p:spPr bwMode="auto">
          <a:xfrm>
            <a:off x="268011" y="5294260"/>
            <a:ext cx="236465" cy="228218"/>
          </a:xfrm>
          <a:prstGeom prst="rect">
            <a:avLst/>
          </a:prstGeom>
          <a:noFill/>
          <a:effectLst>
            <a:glow rad="25400">
              <a:srgbClr val="92D050">
                <a:alpha val="40000"/>
              </a:srgbClr>
            </a:glow>
          </a:effectLst>
          <a:extLst>
            <a:ext uri="{909E8E84-426E-40DD-AFC4-6F175D3DCCD1}">
              <a14:hiddenFill xmlns:a14="http://schemas.microsoft.com/office/drawing/2010/main">
                <a:solidFill>
                  <a:srgbClr val="FFFFFF"/>
                </a:solidFill>
              </a14:hiddenFill>
            </a:ext>
          </a:extLst>
        </p:spPr>
      </p:pic>
      <p:sp>
        <p:nvSpPr>
          <p:cNvPr id="3" name="Rectangle 2"/>
          <p:cNvSpPr/>
          <p:nvPr/>
        </p:nvSpPr>
        <p:spPr>
          <a:xfrm>
            <a:off x="447325" y="1771195"/>
            <a:ext cx="2095445" cy="569964"/>
          </a:xfrm>
          <a:prstGeom prst="rect">
            <a:avLst/>
          </a:prstGeom>
        </p:spPr>
        <p:txBody>
          <a:bodyPr wrap="none">
            <a:spAutoFit/>
          </a:bodyPr>
          <a:lstStyle/>
          <a:p>
            <a:pPr>
              <a:lnSpc>
                <a:spcPct val="97000"/>
              </a:lnSpc>
            </a:pPr>
            <a:r>
              <a:rPr lang="en-GB" dirty="0"/>
              <a:t>3 sites in Denmark</a:t>
            </a:r>
          </a:p>
          <a:p>
            <a:pPr marL="285750" indent="-285750">
              <a:lnSpc>
                <a:spcPct val="97000"/>
              </a:lnSpc>
              <a:buFont typeface="Arial" panose="020B0604020202020204" pitchFamily="34" charset="0"/>
              <a:buChar char="•"/>
            </a:pPr>
            <a:r>
              <a:rPr lang="en-GB" sz="1400" dirty="0"/>
              <a:t>2.500+ employees </a:t>
            </a:r>
          </a:p>
        </p:txBody>
      </p:sp>
      <p:sp>
        <p:nvSpPr>
          <p:cNvPr id="25" name="Title 1"/>
          <p:cNvSpPr txBox="1">
            <a:spLocks/>
          </p:cNvSpPr>
          <p:nvPr/>
        </p:nvSpPr>
        <p:spPr>
          <a:xfrm>
            <a:off x="465712" y="438578"/>
            <a:ext cx="8360788" cy="863235"/>
          </a:xfrm>
          <a:prstGeom prst="rect">
            <a:avLst/>
          </a:prstGeom>
        </p:spPr>
        <p:txBody>
          <a:bodyPr vert="horz" lIns="0" tIns="0" rIns="0" bIns="0" rtlCol="0" anchor="t" anchorCtr="0">
            <a:noAutofit/>
          </a:bodyPr>
          <a:lstStyle>
            <a:lvl1pPr algn="l" defTabSz="914400" rtl="0" eaLnBrk="1" latinLnBrk="0" hangingPunct="1">
              <a:lnSpc>
                <a:spcPct val="89000"/>
              </a:lnSpc>
              <a:spcBef>
                <a:spcPct val="0"/>
              </a:spcBef>
              <a:buNone/>
              <a:defRPr sz="3000" b="1" kern="1200">
                <a:solidFill>
                  <a:schemeClr val="tx1"/>
                </a:solidFill>
                <a:latin typeface="+mj-lt"/>
                <a:ea typeface="+mj-ea"/>
                <a:cs typeface="+mj-cs"/>
              </a:defRPr>
            </a:lvl1pPr>
          </a:lstStyle>
          <a:p>
            <a:pPr>
              <a:lnSpc>
                <a:spcPct val="97000"/>
              </a:lnSpc>
            </a:pPr>
            <a:r>
              <a:rPr lang="en-GB" sz="2600" dirty="0"/>
              <a:t>Novozymes Denmark</a:t>
            </a:r>
          </a:p>
        </p:txBody>
      </p:sp>
    </p:spTree>
    <p:custDataLst>
      <p:tags r:id="rId1"/>
    </p:custDataLst>
    <p:extLst>
      <p:ext uri="{BB962C8B-B14F-4D97-AF65-F5344CB8AC3E}">
        <p14:creationId xmlns:p14="http://schemas.microsoft.com/office/powerpoint/2010/main" val="135258352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CONTAINEDIMAGEPATH" val="C:\Users\lajh\AppData\Local\SkabelonDesign\AddIns\CacheImage\API\Skyfish\16825657_1600px.jpg"/>
</p:tagLst>
</file>

<file path=ppt/tags/tag4.xml><?xml version="1.0" encoding="utf-8"?>
<p:tagLst xmlns:a="http://schemas.openxmlformats.org/drawingml/2006/main" xmlns:r="http://schemas.openxmlformats.org/officeDocument/2006/relationships" xmlns:p="http://schemas.openxmlformats.org/presentationml/2006/main">
  <p:tag name="KEEPSOURCEFORMATTING" val="KeepSourceFormatting"/>
</p:tagLst>
</file>

<file path=ppt/tags/tag5.xml><?xml version="1.0" encoding="utf-8"?>
<p:tagLst xmlns:a="http://schemas.openxmlformats.org/drawingml/2006/main" xmlns:r="http://schemas.openxmlformats.org/officeDocument/2006/relationships" xmlns:p="http://schemas.openxmlformats.org/presentationml/2006/main">
  <p:tag name="KEEPSOURCEFORMATTING" val="KeepSourceFormatting"/>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Novozymes Template 2020">
  <a:themeElements>
    <a:clrScheme name="Novozymes">
      <a:dk1>
        <a:srgbClr val="000000"/>
      </a:dk1>
      <a:lt1>
        <a:srgbClr val="FFFFFF"/>
      </a:lt1>
      <a:dk2>
        <a:srgbClr val="545F54"/>
      </a:dk2>
      <a:lt2>
        <a:srgbClr val="DBDDDB"/>
      </a:lt2>
      <a:accent1>
        <a:srgbClr val="C5DA00"/>
      </a:accent1>
      <a:accent2>
        <a:srgbClr val="2D0028"/>
      </a:accent2>
      <a:accent3>
        <a:srgbClr val="A0C8F0"/>
      </a:accent3>
      <a:accent4>
        <a:srgbClr val="7C1839"/>
      </a:accent4>
      <a:accent5>
        <a:srgbClr val="9BA08C"/>
      </a:accent5>
      <a:accent6>
        <a:srgbClr val="892DA0"/>
      </a:accent6>
      <a:hlink>
        <a:srgbClr val="0000FF"/>
      </a:hlink>
      <a:folHlink>
        <a:srgbClr val="800080"/>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olidFill>
            <a:srgbClr val="C5DA00"/>
          </a:solid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lnSpc>
            <a:spcPct val="97000"/>
          </a:lnSpc>
          <a:defRPr dirty="0" err="1" smtClean="0">
            <a:solidFill>
              <a:schemeClr val="accent2"/>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rgbClr val="2D0028"/>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lnSpc>
            <a:spcPct val="97000"/>
          </a:lnSpc>
          <a:defRPr dirty="0" err="1" smtClean="0">
            <a:solidFill>
              <a:schemeClr val="accent2"/>
            </a:solidFill>
          </a:defRPr>
        </a:defPPr>
      </a:lstStyle>
    </a:txDef>
  </a:objectDefaults>
  <a:extraClrSchemeLst/>
  <a:custClrLst>
    <a:custClr name="Signal Green">
      <a:srgbClr val="55A500"/>
    </a:custClr>
    <a:custClr name="Signal Yellow">
      <a:srgbClr val="FFB400"/>
    </a:custClr>
    <a:custClr name="Signal Red">
      <a:srgbClr val="E40521"/>
    </a:custClr>
  </a:custClrLst>
  <a:extLst>
    <a:ext uri="{05A4C25C-085E-4340-85A3-A5531E510DB2}">
      <thm15:themeFamily xmlns:thm15="http://schemas.microsoft.com/office/thememl/2012/main" name="Basic Template.pptx" id="{41AD6A75-98E6-401A-B0F6-C8E522D191EF}" vid="{91337312-C0AD-418F-B8BC-9D79947110CE}"/>
    </a:ext>
  </a:extLst>
</a:theme>
</file>

<file path=ppt/theme/theme2.xml><?xml version="1.0" encoding="utf-8"?>
<a:theme xmlns:a="http://schemas.openxmlformats.org/drawingml/2006/main" name="Office Theme">
  <a:themeElements>
    <a:clrScheme name="Office">
      <a:dk1>
        <a:srgbClr val="000000"/>
      </a:dk1>
      <a:lt1>
        <a:srgbClr val="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Signal Green">
      <a:srgbClr val="55A500"/>
    </a:custClr>
    <a:custClr name="Signal Yellow">
      <a:srgbClr val="FFB400"/>
    </a:custClr>
    <a:custClr name="Signal Red">
      <a:srgbClr val="E40521"/>
    </a:custClr>
  </a:custClr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DE16A684F50F9644ADA7186C7FA154E4" ma:contentTypeVersion="16" ma:contentTypeDescription="Create a new document." ma:contentTypeScope="" ma:versionID="e1c9cc30310ba430c6696305edfcffaf">
  <xsd:schema xmlns:xsd="http://www.w3.org/2001/XMLSchema" xmlns:xs="http://www.w3.org/2001/XMLSchema" xmlns:p="http://schemas.microsoft.com/office/2006/metadata/properties" xmlns:ns2="adc6f7d2-2fd4-4c58-add3-50ea831b733c" xmlns:ns3="fe0e463f-46c1-4b5a-aeae-2e65b5901510" targetNamespace="http://schemas.microsoft.com/office/2006/metadata/properties" ma:root="true" ma:fieldsID="fdf9a27d99484485bd3bf6c84b37b2b4" ns2:_="" ns3:_="">
    <xsd:import namespace="adc6f7d2-2fd4-4c58-add3-50ea831b733c"/>
    <xsd:import namespace="fe0e463f-46c1-4b5a-aeae-2e65b5901510"/>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DateTaken" minOccurs="0"/>
                <xsd:element ref="ns3:MediaServiceAutoTags" minOccurs="0"/>
                <xsd:element ref="ns3:MediaServiceLocation" minOccurs="0"/>
                <xsd:element ref="ns3:MediaServiceOCR" minOccurs="0"/>
                <xsd:element ref="ns3:MediaServiceGenerationTime" minOccurs="0"/>
                <xsd:element ref="ns3:MediaServiceEventHashCode" minOccurs="0"/>
                <xsd:element ref="ns3:Picture" minOccurs="0"/>
                <xsd:element ref="ns3:Hyperlink"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dc6f7d2-2fd4-4c58-add3-50ea831b733c"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fe0e463f-46c1-4b5a-aeae-2e65b5901510" elementFormDefault="qualified">
    <xsd:import namespace="http://schemas.microsoft.com/office/2006/documentManagement/types"/>
    <xsd:import namespace="http://schemas.microsoft.com/office/infopath/2007/PartnerControls"/>
    <xsd:element name="MediaServiceMetadata" ma:index="10" nillable="true" ma:displayName="MediaServiceMetadata" ma:description="" ma:hidden="true" ma:internalName="MediaServiceMetadata" ma:readOnly="true">
      <xsd:simpleType>
        <xsd:restriction base="dms:Note"/>
      </xsd:simpleType>
    </xsd:element>
    <xsd:element name="MediaServiceFastMetadata" ma:index="11" nillable="true" ma:displayName="MediaServiceFastMetadata" ma:description="" ma:hidden="true" ma:internalName="MediaServiceFastMetadata" ma:readOnly="true">
      <xsd:simpleType>
        <xsd:restriction base="dms:Note"/>
      </xsd:simpleType>
    </xsd:element>
    <xsd:element name="MediaServiceDateTaken" ma:index="12" nillable="true" ma:displayName="MediaServiceDateTaken" ma:description="" ma:hidden="true" ma:internalName="MediaServiceDateTaken" ma:readOnly="true">
      <xsd:simpleType>
        <xsd:restriction base="dms:Text"/>
      </xsd:simpleType>
    </xsd:element>
    <xsd:element name="MediaServiceAutoTags" ma:index="13" nillable="true" ma:displayName="MediaServiceAutoTags" ma:description="" ma:internalName="MediaServiceAutoTags" ma:readOnly="true">
      <xsd:simpleType>
        <xsd:restriction base="dms:Text"/>
      </xsd:simpleType>
    </xsd:element>
    <xsd:element name="MediaServiceLocation" ma:index="14" nillable="true" ma:displayName="MediaServiceLocation" ma:internalName="MediaServiceLocation" ma:readOnly="true">
      <xsd:simpleType>
        <xsd:restriction base="dms:Text"/>
      </xsd:simpleType>
    </xsd:element>
    <xsd:element name="MediaServiceOCR" ma:index="15" nillable="true" ma:displayName="MediaServiceOCR"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Picture" ma:index="18" nillable="true" ma:displayName="Picture" ma:format="Image" ma:internalName="Picture">
      <xsd:complexType>
        <xsd:complexContent>
          <xsd:extension base="dms:URL">
            <xsd:sequence>
              <xsd:element name="Url" type="dms:ValidUrl" minOccurs="0" nillable="true"/>
              <xsd:element name="Description" type="xsd:string" nillable="true"/>
            </xsd:sequence>
          </xsd:extension>
        </xsd:complexContent>
      </xsd:complexType>
    </xsd:element>
    <xsd:element name="Hyperlink" ma:index="19" nillable="true" ma:displayName="Hyperlink" ma:format="Hyperlink" ma:internalName="Hyperlink">
      <xsd:complexType>
        <xsd:complexContent>
          <xsd:extension base="dms:URL">
            <xsd:sequence>
              <xsd:element name="Url" type="dms:ValidUrl" minOccurs="0" nillable="true"/>
              <xsd:element name="Description" type="xsd:string"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icture xmlns="fe0e463f-46c1-4b5a-aeae-2e65b5901510">
      <Url xsi:nil="true"/>
      <Description xsi:nil="true"/>
    </Picture>
    <Hyperlink xmlns="fe0e463f-46c1-4b5a-aeae-2e65b5901510">
      <Url xsi:nil="true"/>
      <Description xsi:nil="true"/>
    </Hyperlink>
  </documentManagement>
</p:properties>
</file>

<file path=customXml/itemProps1.xml><?xml version="1.0" encoding="utf-8"?>
<ds:datastoreItem xmlns:ds="http://schemas.openxmlformats.org/officeDocument/2006/customXml" ds:itemID="{318C8F1B-F18C-4507-A441-860B292AA9D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dc6f7d2-2fd4-4c58-add3-50ea831b733c"/>
    <ds:schemaRef ds:uri="fe0e463f-46c1-4b5a-aeae-2e65b590151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C915411C-0EFA-4B30-ADB2-85B57FE68BA4}">
  <ds:schemaRefs>
    <ds:schemaRef ds:uri="http://schemas.microsoft.com/sharepoint/v3/contenttype/forms"/>
  </ds:schemaRefs>
</ds:datastoreItem>
</file>

<file path=customXml/itemProps3.xml><?xml version="1.0" encoding="utf-8"?>
<ds:datastoreItem xmlns:ds="http://schemas.openxmlformats.org/officeDocument/2006/customXml" ds:itemID="{40428083-3C91-4018-A2E7-096BC545995B}">
  <ds:schemaRefs>
    <ds:schemaRef ds:uri="fe0e463f-46c1-4b5a-aeae-2e65b5901510"/>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schemas.microsoft.com/office/2006/metadata/properties"/>
    <ds:schemaRef ds:uri="adc6f7d2-2fd4-4c58-add3-50ea831b733c"/>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blank</Template>
  <TotalTime>1147</TotalTime>
  <Words>1313</Words>
  <Application>Microsoft Office PowerPoint</Application>
  <PresentationFormat>Widescreen</PresentationFormat>
  <Paragraphs>159</Paragraphs>
  <Slides>11</Slides>
  <Notes>8</Notes>
  <HiddenSlides>0</HiddenSlides>
  <MMClips>0</MMClips>
  <ScaleCrop>false</ScaleCrop>
  <HeadingPairs>
    <vt:vector size="8"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11</vt:i4>
      </vt:variant>
    </vt:vector>
  </HeadingPairs>
  <TitlesOfParts>
    <vt:vector size="15" baseType="lpstr">
      <vt:lpstr>Novozymes</vt:lpstr>
      <vt:lpstr>Arial</vt:lpstr>
      <vt:lpstr>Novozymes Template 2020</vt:lpstr>
      <vt:lpstr>think-cell Slide</vt:lpstr>
      <vt:lpstr>PowerPoint Presentation</vt:lpstr>
      <vt:lpstr>When science goes big scale</vt:lpstr>
      <vt:lpstr>PowerPoint Presentation</vt:lpstr>
      <vt:lpstr>PowerPoint Presentation</vt:lpstr>
      <vt:lpstr>Novozymes production sites</vt:lpstr>
      <vt:lpstr>PowerPoint Presentation</vt:lpstr>
      <vt:lpstr>Sustainability drives how we do business</vt:lpstr>
      <vt:lpstr>Novozymes Fuglebakken Energy</vt:lpstr>
      <vt:lpstr>PowerPoint Presentation</vt:lpstr>
      <vt:lpstr>Enzymes- Production overview</vt:lpstr>
      <vt:lpstr>PowerPoint Presentation</vt:lpstr>
    </vt:vector>
  </TitlesOfParts>
  <Company>Novozyme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Novozymes Fuglebakken Energy</dc:title>
  <dc:creator>LTBC (Lisa Ter-Borch)</dc:creator>
  <cp:lastModifiedBy>LAJH (Lars Johansen)</cp:lastModifiedBy>
  <cp:revision>2</cp:revision>
  <dcterms:created xsi:type="dcterms:W3CDTF">2021-10-10T19:21:49Z</dcterms:created>
  <dcterms:modified xsi:type="dcterms:W3CDTF">2021-10-11T18:03:3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reated by">
    <vt:lpwstr>www.skabelondesign.dk</vt:lpwstr>
  </property>
  <property fmtid="{D5CDD505-2E9C-101B-9397-08002B2CF9AE}" pid="3" name="DocumentInfoFinished">
    <vt:lpwstr>True</vt:lpwstr>
  </property>
  <property fmtid="{D5CDD505-2E9C-101B-9397-08002B2CF9AE}" pid="4" name="ContentTypeId">
    <vt:lpwstr>0x010100DE16A684F50F9644ADA7186C7FA154E4</vt:lpwstr>
  </property>
  <property fmtid="{D5CDD505-2E9C-101B-9397-08002B2CF9AE}" pid="5" name="SD_DocumentLanguage">
    <vt:lpwstr>en-US</vt:lpwstr>
  </property>
</Properties>
</file>